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2.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3.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5.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5447" r:id="rId4"/>
    <p:sldMasterId id="2147485850" r:id="rId5"/>
    <p:sldMasterId id="2147485923" r:id="rId6"/>
    <p:sldMasterId id="2147485996" r:id="rId7"/>
    <p:sldMasterId id="2147486069" r:id="rId8"/>
    <p:sldMasterId id="2147486095" r:id="rId9"/>
  </p:sldMasterIdLst>
  <p:notesMasterIdLst>
    <p:notesMasterId r:id="rId54"/>
  </p:notesMasterIdLst>
  <p:handoutMasterIdLst>
    <p:handoutMasterId r:id="rId55"/>
  </p:handoutMasterIdLst>
  <p:sldIdLst>
    <p:sldId id="2147482451" r:id="rId10"/>
    <p:sldId id="2147482459" r:id="rId11"/>
    <p:sldId id="2147482463" r:id="rId12"/>
    <p:sldId id="2147482466" r:id="rId13"/>
    <p:sldId id="2147482478" r:id="rId14"/>
    <p:sldId id="331" r:id="rId15"/>
    <p:sldId id="2147483634" r:id="rId16"/>
    <p:sldId id="2147483635" r:id="rId17"/>
    <p:sldId id="2147482154" r:id="rId18"/>
    <p:sldId id="2147483557" r:id="rId19"/>
    <p:sldId id="2147483641" r:id="rId20"/>
    <p:sldId id="2147483424" r:id="rId21"/>
    <p:sldId id="258" r:id="rId22"/>
    <p:sldId id="268" r:id="rId23"/>
    <p:sldId id="260" r:id="rId24"/>
    <p:sldId id="295" r:id="rId25"/>
    <p:sldId id="292" r:id="rId26"/>
    <p:sldId id="264" r:id="rId27"/>
    <p:sldId id="259" r:id="rId28"/>
    <p:sldId id="261" r:id="rId29"/>
    <p:sldId id="377" r:id="rId30"/>
    <p:sldId id="2147483642" r:id="rId31"/>
    <p:sldId id="283" r:id="rId32"/>
    <p:sldId id="280" r:id="rId33"/>
    <p:sldId id="2147483647" r:id="rId34"/>
    <p:sldId id="256" r:id="rId35"/>
    <p:sldId id="2147482218" r:id="rId36"/>
    <p:sldId id="257" r:id="rId37"/>
    <p:sldId id="278" r:id="rId38"/>
    <p:sldId id="267" r:id="rId39"/>
    <p:sldId id="266" r:id="rId40"/>
    <p:sldId id="263" r:id="rId41"/>
    <p:sldId id="285" r:id="rId42"/>
    <p:sldId id="274" r:id="rId43"/>
    <p:sldId id="275" r:id="rId44"/>
    <p:sldId id="270" r:id="rId45"/>
    <p:sldId id="269" r:id="rId46"/>
    <p:sldId id="262" r:id="rId47"/>
    <p:sldId id="333" r:id="rId48"/>
    <p:sldId id="271" r:id="rId49"/>
    <p:sldId id="2147482462" r:id="rId50"/>
    <p:sldId id="272" r:id="rId51"/>
    <p:sldId id="273" r:id="rId52"/>
    <p:sldId id="2147482470" r:id="rId53"/>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MW Customer Hub slides" id="{0CB07BD8-A729-44C3-AF36-735DAE1433D6}">
          <p14:sldIdLst>
            <p14:sldId id="2147482451"/>
            <p14:sldId id="2147482459"/>
            <p14:sldId id="2147482463"/>
            <p14:sldId id="2147482466"/>
            <p14:sldId id="2147482478"/>
            <p14:sldId id="331"/>
            <p14:sldId id="2147483634"/>
          </p14:sldIdLst>
        </p14:section>
        <p14:section name="Fundamentals of Agent Creation" id="{AB5CF685-922D-4B9B-91CF-000CE1F37F20}">
          <p14:sldIdLst>
            <p14:sldId id="2147483635"/>
            <p14:sldId id="2147482154"/>
            <p14:sldId id="2147483557"/>
            <p14:sldId id="2147483641"/>
            <p14:sldId id="2147483424"/>
            <p14:sldId id="258"/>
            <p14:sldId id="268"/>
          </p14:sldIdLst>
        </p14:section>
        <p14:section name="Prebuilt agents" id="{32200BCE-F4B2-47FF-9507-DBD0119E6270}">
          <p14:sldIdLst>
            <p14:sldId id="260"/>
            <p14:sldId id="295"/>
            <p14:sldId id="292"/>
            <p14:sldId id="264"/>
            <p14:sldId id="259"/>
          </p14:sldIdLst>
        </p14:section>
        <p14:section name="Discover agents" id="{55D874DE-E20D-4009-AEC5-3E98BDB962A4}">
          <p14:sldIdLst>
            <p14:sldId id="261"/>
            <p14:sldId id="377"/>
          </p14:sldIdLst>
        </p14:section>
        <p14:section name="Agent Templates in Agent Builder" id="{78DF4EB4-3DF4-4D6F-9482-0288263250D1}">
          <p14:sldIdLst>
            <p14:sldId id="2147483642"/>
            <p14:sldId id="283"/>
            <p14:sldId id="280"/>
            <p14:sldId id="2147483647"/>
            <p14:sldId id="256"/>
            <p14:sldId id="2147482218"/>
            <p14:sldId id="257"/>
          </p14:sldIdLst>
        </p14:section>
        <p14:section name="Quick Starts" id="{A02DD46E-B4A7-4373-8670-474356D1D81A}">
          <p14:sldIdLst>
            <p14:sldId id="278"/>
            <p14:sldId id="267"/>
            <p14:sldId id="266"/>
            <p14:sldId id="263"/>
            <p14:sldId id="285"/>
            <p14:sldId id="274"/>
          </p14:sldIdLst>
        </p14:section>
        <p14:section name="Sharing Agents" id="{E1A91D9A-A3AA-44E5-ADDB-B0F28D87DFA4}">
          <p14:sldIdLst>
            <p14:sldId id="275"/>
          </p14:sldIdLst>
        </p14:section>
        <p14:section name="QnA" id="{D2C90F3F-931C-4D1C-99A9-8C6D567B43B7}">
          <p14:sldIdLst>
            <p14:sldId id="270"/>
            <p14:sldId id="269"/>
            <p14:sldId id="262"/>
            <p14:sldId id="333"/>
            <p14:sldId id="271"/>
            <p14:sldId id="2147482462"/>
            <p14:sldId id="272"/>
            <p14:sldId id="273"/>
            <p14:sldId id="2147482470"/>
          </p14:sldIdLst>
        </p14:section>
      </p14:sectionLst>
    </p:ext>
    <p:ext uri="{EFAFB233-063F-42B5-8137-9DF3F51BA10A}">
      <p15:sldGuideLst xmlns:p15="http://schemas.microsoft.com/office/powerpoint/2012/main">
        <p15:guide id="1" orient="horz" pos="2400" userDrawn="1">
          <p15:clr>
            <a:srgbClr val="A4A3A4"/>
          </p15:clr>
        </p15:guide>
        <p15:guide id="2" orient="horz" pos="2688" userDrawn="1">
          <p15:clr>
            <a:srgbClr val="A4A3A4"/>
          </p15:clr>
        </p15:guide>
        <p15:guide id="3" pos="552" userDrawn="1">
          <p15:clr>
            <a:srgbClr val="A4A3A4"/>
          </p15:clr>
        </p15:guide>
        <p15:guide id="4" pos="1680" userDrawn="1">
          <p15:clr>
            <a:srgbClr val="A4A3A4"/>
          </p15:clr>
        </p15:guide>
        <p15:guide id="5" orient="horz" pos="3312" userDrawn="1">
          <p15:clr>
            <a:srgbClr val="A4A3A4"/>
          </p15:clr>
        </p15:guide>
        <p15:guide id="6" pos="568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E47"/>
    <a:srgbClr val="091F2C"/>
    <a:srgbClr val="3F3C3E"/>
    <a:srgbClr val="FEFEFF"/>
    <a:srgbClr val="E9F2F8"/>
    <a:srgbClr val="2A446F"/>
    <a:srgbClr val="94D8FE"/>
    <a:srgbClr val="C03BC4"/>
    <a:srgbClr val="FF5C39"/>
    <a:srgbClr val="FFE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8E0C4B6-30D8-4299-A958-07872CD3BB3E}" v="4" dt="2026-02-06T18:36:14.9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2" d="100"/>
          <a:sy n="92" d="100"/>
        </p:scale>
        <p:origin x="1392" y="78"/>
      </p:cViewPr>
      <p:guideLst>
        <p:guide orient="horz" pos="2400"/>
        <p:guide orient="horz" pos="2688"/>
        <p:guide pos="552"/>
        <p:guide pos="1680"/>
        <p:guide orient="horz" pos="3312"/>
        <p:guide pos="5688"/>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handoutMaster" Target="handoutMasters/handout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viewProps" Target="viewProps.xml"/><Relationship Id="rId5" Type="http://schemas.openxmlformats.org/officeDocument/2006/relationships/slideMaster" Target="slideMasters/slideMaster2.xml"/><Relationship Id="rId61" Type="http://schemas.microsoft.com/office/2015/10/relationships/revisionInfo" Target="revisionInfo.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theme" Target="theme/theme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notesMaster" Target="notesMasters/notesMaster1.xml"/><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presProps" Target="presProps.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933CAA-A1D9-4D4B-B53E-CA6E62FE2037}"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A2EA2622-F66A-4CA1-BC7C-2F199A55667F}">
      <dgm:prSet phldrT="[Text]"/>
      <dgm:spPr/>
      <dgm:t>
        <a:bodyPr/>
        <a:lstStyle/>
        <a:p>
          <a:r>
            <a:rPr lang="en-GB"/>
            <a:t>Choose a template</a:t>
          </a:r>
        </a:p>
      </dgm:t>
    </dgm:pt>
    <dgm:pt modelId="{AFC1E8CA-129C-40DD-B1DE-6E8AAEE112E2}" type="parTrans" cxnId="{CFDBDF4C-2239-4425-8C8E-8EB4E96C1512}">
      <dgm:prSet/>
      <dgm:spPr/>
      <dgm:t>
        <a:bodyPr/>
        <a:lstStyle/>
        <a:p>
          <a:endParaRPr lang="en-GB"/>
        </a:p>
      </dgm:t>
    </dgm:pt>
    <dgm:pt modelId="{4C41760F-573C-46F4-92B5-6379E0743E0F}" type="sibTrans" cxnId="{CFDBDF4C-2239-4425-8C8E-8EB4E96C1512}">
      <dgm:prSet/>
      <dgm:spPr/>
      <dgm:t>
        <a:bodyPr/>
        <a:lstStyle/>
        <a:p>
          <a:endParaRPr lang="en-GB"/>
        </a:p>
      </dgm:t>
    </dgm:pt>
    <dgm:pt modelId="{D2663C3B-17EE-47C1-94DC-E34440523C41}">
      <dgm:prSet phldrT="[Text]"/>
      <dgm:spPr/>
      <dgm:t>
        <a:bodyPr/>
        <a:lstStyle/>
        <a:p>
          <a:r>
            <a:rPr lang="en-GB"/>
            <a:t>Customise the agent</a:t>
          </a:r>
        </a:p>
      </dgm:t>
    </dgm:pt>
    <dgm:pt modelId="{1A164E95-DECC-4039-9200-075D07A4AF01}" type="parTrans" cxnId="{9D2C9CE0-2C17-4A2D-8941-CB6621261AD7}">
      <dgm:prSet/>
      <dgm:spPr/>
      <dgm:t>
        <a:bodyPr/>
        <a:lstStyle/>
        <a:p>
          <a:endParaRPr lang="en-GB"/>
        </a:p>
      </dgm:t>
    </dgm:pt>
    <dgm:pt modelId="{6E795047-8575-4817-B591-27AC89C5E852}" type="sibTrans" cxnId="{9D2C9CE0-2C17-4A2D-8941-CB6621261AD7}">
      <dgm:prSet/>
      <dgm:spPr/>
      <dgm:t>
        <a:bodyPr/>
        <a:lstStyle/>
        <a:p>
          <a:endParaRPr lang="en-GB"/>
        </a:p>
      </dgm:t>
    </dgm:pt>
    <dgm:pt modelId="{8E6EFD08-DA68-40BE-AFA3-22F68ADF3B2D}">
      <dgm:prSet phldrT="[Text]"/>
      <dgm:spPr/>
      <dgm:t>
        <a:bodyPr/>
        <a:lstStyle/>
        <a:p>
          <a:r>
            <a:rPr lang="en-GB"/>
            <a:t>Test and Create </a:t>
          </a:r>
        </a:p>
      </dgm:t>
    </dgm:pt>
    <dgm:pt modelId="{681BA7A1-F5EB-43DB-890A-9EA4270490C1}" type="parTrans" cxnId="{5DB41CB1-9BB4-4ECD-9881-C315BB9F2545}">
      <dgm:prSet/>
      <dgm:spPr/>
      <dgm:t>
        <a:bodyPr/>
        <a:lstStyle/>
        <a:p>
          <a:endParaRPr lang="en-GB"/>
        </a:p>
      </dgm:t>
    </dgm:pt>
    <dgm:pt modelId="{D8F8CC93-0E82-4E1F-B8D1-61D3F303D35A}" type="sibTrans" cxnId="{5DB41CB1-9BB4-4ECD-9881-C315BB9F2545}">
      <dgm:prSet/>
      <dgm:spPr/>
      <dgm:t>
        <a:bodyPr/>
        <a:lstStyle/>
        <a:p>
          <a:endParaRPr lang="en-GB"/>
        </a:p>
      </dgm:t>
    </dgm:pt>
    <dgm:pt modelId="{43ECF8B9-FD5E-41C1-A125-ADE1752A072D}">
      <dgm:prSet phldrT="[Text]"/>
      <dgm:spPr/>
      <dgm:t>
        <a:bodyPr/>
        <a:lstStyle/>
        <a:p>
          <a:r>
            <a:rPr lang="en-GB"/>
            <a:t>Share with your colleagues</a:t>
          </a:r>
        </a:p>
      </dgm:t>
    </dgm:pt>
    <dgm:pt modelId="{F801964D-64B7-4242-8A60-4F34CD9E7A21}" type="parTrans" cxnId="{0B422A6B-DDDD-4DC9-8432-0E3D81F41929}">
      <dgm:prSet/>
      <dgm:spPr/>
      <dgm:t>
        <a:bodyPr/>
        <a:lstStyle/>
        <a:p>
          <a:endParaRPr lang="en-GB"/>
        </a:p>
      </dgm:t>
    </dgm:pt>
    <dgm:pt modelId="{4A16D698-2E7D-48D4-850F-520E43821621}" type="sibTrans" cxnId="{0B422A6B-DDDD-4DC9-8432-0E3D81F41929}">
      <dgm:prSet/>
      <dgm:spPr/>
      <dgm:t>
        <a:bodyPr/>
        <a:lstStyle/>
        <a:p>
          <a:endParaRPr lang="en-GB"/>
        </a:p>
      </dgm:t>
    </dgm:pt>
    <dgm:pt modelId="{30B4A193-DB1B-46E8-BF31-2FA022D11677}" type="pres">
      <dgm:prSet presAssocID="{45933CAA-A1D9-4D4B-B53E-CA6E62FE2037}" presName="Name0" presStyleCnt="0">
        <dgm:presLayoutVars>
          <dgm:dir/>
          <dgm:resizeHandles val="exact"/>
        </dgm:presLayoutVars>
      </dgm:prSet>
      <dgm:spPr/>
    </dgm:pt>
    <dgm:pt modelId="{797A44EF-AB7F-4E87-A56A-A990963C2E4C}" type="pres">
      <dgm:prSet presAssocID="{A2EA2622-F66A-4CA1-BC7C-2F199A55667F}" presName="composite" presStyleCnt="0"/>
      <dgm:spPr/>
    </dgm:pt>
    <dgm:pt modelId="{490B312B-0A9C-4905-8F7D-317D204A17D2}" type="pres">
      <dgm:prSet presAssocID="{A2EA2622-F66A-4CA1-BC7C-2F199A55667F}" presName="bgChev" presStyleLbl="node1" presStyleIdx="0" presStyleCnt="4"/>
      <dgm:spPr/>
    </dgm:pt>
    <dgm:pt modelId="{4415B2E5-72D5-42CA-A72C-8FF93BD24DF4}" type="pres">
      <dgm:prSet presAssocID="{A2EA2622-F66A-4CA1-BC7C-2F199A55667F}" presName="txNode" presStyleLbl="fgAcc1" presStyleIdx="0" presStyleCnt="4">
        <dgm:presLayoutVars>
          <dgm:bulletEnabled val="1"/>
        </dgm:presLayoutVars>
      </dgm:prSet>
      <dgm:spPr/>
    </dgm:pt>
    <dgm:pt modelId="{DD805693-44A7-4572-9A5D-7E19EE78B9A8}" type="pres">
      <dgm:prSet presAssocID="{4C41760F-573C-46F4-92B5-6379E0743E0F}" presName="compositeSpace" presStyleCnt="0"/>
      <dgm:spPr/>
    </dgm:pt>
    <dgm:pt modelId="{653D6DBE-7614-495A-A66B-2D234C13841C}" type="pres">
      <dgm:prSet presAssocID="{D2663C3B-17EE-47C1-94DC-E34440523C41}" presName="composite" presStyleCnt="0"/>
      <dgm:spPr/>
    </dgm:pt>
    <dgm:pt modelId="{06762F46-CE81-4029-B08F-20CAC932DEE7}" type="pres">
      <dgm:prSet presAssocID="{D2663C3B-17EE-47C1-94DC-E34440523C41}" presName="bgChev" presStyleLbl="node1" presStyleIdx="1" presStyleCnt="4"/>
      <dgm:spPr/>
    </dgm:pt>
    <dgm:pt modelId="{DA95FE54-2262-430C-A049-C336A2F0EB55}" type="pres">
      <dgm:prSet presAssocID="{D2663C3B-17EE-47C1-94DC-E34440523C41}" presName="txNode" presStyleLbl="fgAcc1" presStyleIdx="1" presStyleCnt="4">
        <dgm:presLayoutVars>
          <dgm:bulletEnabled val="1"/>
        </dgm:presLayoutVars>
      </dgm:prSet>
      <dgm:spPr/>
    </dgm:pt>
    <dgm:pt modelId="{5478907B-1AB4-41ED-86AD-2619BBD68499}" type="pres">
      <dgm:prSet presAssocID="{6E795047-8575-4817-B591-27AC89C5E852}" presName="compositeSpace" presStyleCnt="0"/>
      <dgm:spPr/>
    </dgm:pt>
    <dgm:pt modelId="{FF489BA9-586F-4148-BC63-C10A0A096F02}" type="pres">
      <dgm:prSet presAssocID="{8E6EFD08-DA68-40BE-AFA3-22F68ADF3B2D}" presName="composite" presStyleCnt="0"/>
      <dgm:spPr/>
    </dgm:pt>
    <dgm:pt modelId="{2D684C11-C10F-429D-8500-993E9952D340}" type="pres">
      <dgm:prSet presAssocID="{8E6EFD08-DA68-40BE-AFA3-22F68ADF3B2D}" presName="bgChev" presStyleLbl="node1" presStyleIdx="2" presStyleCnt="4"/>
      <dgm:spPr/>
    </dgm:pt>
    <dgm:pt modelId="{F21AE406-4CEF-4CE0-B979-3A99C9468924}" type="pres">
      <dgm:prSet presAssocID="{8E6EFD08-DA68-40BE-AFA3-22F68ADF3B2D}" presName="txNode" presStyleLbl="fgAcc1" presStyleIdx="2" presStyleCnt="4">
        <dgm:presLayoutVars>
          <dgm:bulletEnabled val="1"/>
        </dgm:presLayoutVars>
      </dgm:prSet>
      <dgm:spPr/>
    </dgm:pt>
    <dgm:pt modelId="{ACA8A13E-340C-423B-B485-B1A94C2108BA}" type="pres">
      <dgm:prSet presAssocID="{D8F8CC93-0E82-4E1F-B8D1-61D3F303D35A}" presName="compositeSpace" presStyleCnt="0"/>
      <dgm:spPr/>
    </dgm:pt>
    <dgm:pt modelId="{8524B2FB-7B23-46E3-99E9-6B1B03EF5B80}" type="pres">
      <dgm:prSet presAssocID="{43ECF8B9-FD5E-41C1-A125-ADE1752A072D}" presName="composite" presStyleCnt="0"/>
      <dgm:spPr/>
    </dgm:pt>
    <dgm:pt modelId="{A29C4894-4DFE-4E21-8101-A75982503850}" type="pres">
      <dgm:prSet presAssocID="{43ECF8B9-FD5E-41C1-A125-ADE1752A072D}" presName="bgChev" presStyleLbl="node1" presStyleIdx="3" presStyleCnt="4"/>
      <dgm:spPr/>
    </dgm:pt>
    <dgm:pt modelId="{62EF82E8-860D-457E-AD51-2E5DFD4A988D}" type="pres">
      <dgm:prSet presAssocID="{43ECF8B9-FD5E-41C1-A125-ADE1752A072D}" presName="txNode" presStyleLbl="fgAcc1" presStyleIdx="3" presStyleCnt="4">
        <dgm:presLayoutVars>
          <dgm:bulletEnabled val="1"/>
        </dgm:presLayoutVars>
      </dgm:prSet>
      <dgm:spPr/>
    </dgm:pt>
  </dgm:ptLst>
  <dgm:cxnLst>
    <dgm:cxn modelId="{A3D4140F-35A2-4101-A78F-AF8C27657F23}" type="presOf" srcId="{45933CAA-A1D9-4D4B-B53E-CA6E62FE2037}" destId="{30B4A193-DB1B-46E8-BF31-2FA022D11677}" srcOrd="0" destOrd="0" presId="urn:microsoft.com/office/officeart/2005/8/layout/chevronAccent+Icon"/>
    <dgm:cxn modelId="{64ABAA60-468D-4479-944F-1F594BA8CC80}" type="presOf" srcId="{43ECF8B9-FD5E-41C1-A125-ADE1752A072D}" destId="{62EF82E8-860D-457E-AD51-2E5DFD4A988D}" srcOrd="0" destOrd="0" presId="urn:microsoft.com/office/officeart/2005/8/layout/chevronAccent+Icon"/>
    <dgm:cxn modelId="{9CA2BC44-1FAB-4BF5-BF94-4AE29F638EEB}" type="presOf" srcId="{D2663C3B-17EE-47C1-94DC-E34440523C41}" destId="{DA95FE54-2262-430C-A049-C336A2F0EB55}" srcOrd="0" destOrd="0" presId="urn:microsoft.com/office/officeart/2005/8/layout/chevronAccent+Icon"/>
    <dgm:cxn modelId="{0B422A6B-DDDD-4DC9-8432-0E3D81F41929}" srcId="{45933CAA-A1D9-4D4B-B53E-CA6E62FE2037}" destId="{43ECF8B9-FD5E-41C1-A125-ADE1752A072D}" srcOrd="3" destOrd="0" parTransId="{F801964D-64B7-4242-8A60-4F34CD9E7A21}" sibTransId="{4A16D698-2E7D-48D4-850F-520E43821621}"/>
    <dgm:cxn modelId="{CFDBDF4C-2239-4425-8C8E-8EB4E96C1512}" srcId="{45933CAA-A1D9-4D4B-B53E-CA6E62FE2037}" destId="{A2EA2622-F66A-4CA1-BC7C-2F199A55667F}" srcOrd="0" destOrd="0" parTransId="{AFC1E8CA-129C-40DD-B1DE-6E8AAEE112E2}" sibTransId="{4C41760F-573C-46F4-92B5-6379E0743E0F}"/>
    <dgm:cxn modelId="{3D5F4483-4A9B-484D-883B-2810705AD706}" type="presOf" srcId="{8E6EFD08-DA68-40BE-AFA3-22F68ADF3B2D}" destId="{F21AE406-4CEF-4CE0-B979-3A99C9468924}" srcOrd="0" destOrd="0" presId="urn:microsoft.com/office/officeart/2005/8/layout/chevronAccent+Icon"/>
    <dgm:cxn modelId="{5DB41CB1-9BB4-4ECD-9881-C315BB9F2545}" srcId="{45933CAA-A1D9-4D4B-B53E-CA6E62FE2037}" destId="{8E6EFD08-DA68-40BE-AFA3-22F68ADF3B2D}" srcOrd="2" destOrd="0" parTransId="{681BA7A1-F5EB-43DB-890A-9EA4270490C1}" sibTransId="{D8F8CC93-0E82-4E1F-B8D1-61D3F303D35A}"/>
    <dgm:cxn modelId="{706C87D0-9C30-42AC-B5CF-CB4D9FCC7561}" type="presOf" srcId="{A2EA2622-F66A-4CA1-BC7C-2F199A55667F}" destId="{4415B2E5-72D5-42CA-A72C-8FF93BD24DF4}" srcOrd="0" destOrd="0" presId="urn:microsoft.com/office/officeart/2005/8/layout/chevronAccent+Icon"/>
    <dgm:cxn modelId="{9D2C9CE0-2C17-4A2D-8941-CB6621261AD7}" srcId="{45933CAA-A1D9-4D4B-B53E-CA6E62FE2037}" destId="{D2663C3B-17EE-47C1-94DC-E34440523C41}" srcOrd="1" destOrd="0" parTransId="{1A164E95-DECC-4039-9200-075D07A4AF01}" sibTransId="{6E795047-8575-4817-B591-27AC89C5E852}"/>
    <dgm:cxn modelId="{F4ECE903-07DC-44D1-8BF2-4F4652C91221}" type="presParOf" srcId="{30B4A193-DB1B-46E8-BF31-2FA022D11677}" destId="{797A44EF-AB7F-4E87-A56A-A990963C2E4C}" srcOrd="0" destOrd="0" presId="urn:microsoft.com/office/officeart/2005/8/layout/chevronAccent+Icon"/>
    <dgm:cxn modelId="{2E6154BA-5E05-4B81-9947-D948A9142974}" type="presParOf" srcId="{797A44EF-AB7F-4E87-A56A-A990963C2E4C}" destId="{490B312B-0A9C-4905-8F7D-317D204A17D2}" srcOrd="0" destOrd="0" presId="urn:microsoft.com/office/officeart/2005/8/layout/chevronAccent+Icon"/>
    <dgm:cxn modelId="{20A13F38-1697-414F-B689-3332B470E4A7}" type="presParOf" srcId="{797A44EF-AB7F-4E87-A56A-A990963C2E4C}" destId="{4415B2E5-72D5-42CA-A72C-8FF93BD24DF4}" srcOrd="1" destOrd="0" presId="urn:microsoft.com/office/officeart/2005/8/layout/chevronAccent+Icon"/>
    <dgm:cxn modelId="{CC9C536B-6FCA-4320-91CB-0E2043D1AA58}" type="presParOf" srcId="{30B4A193-DB1B-46E8-BF31-2FA022D11677}" destId="{DD805693-44A7-4572-9A5D-7E19EE78B9A8}" srcOrd="1" destOrd="0" presId="urn:microsoft.com/office/officeart/2005/8/layout/chevronAccent+Icon"/>
    <dgm:cxn modelId="{D7E034FA-9D05-456C-8F0E-24462AA142F7}" type="presParOf" srcId="{30B4A193-DB1B-46E8-BF31-2FA022D11677}" destId="{653D6DBE-7614-495A-A66B-2D234C13841C}" srcOrd="2" destOrd="0" presId="urn:microsoft.com/office/officeart/2005/8/layout/chevronAccent+Icon"/>
    <dgm:cxn modelId="{AC35E146-E60E-4EE8-B0FF-4ABCF5E874F4}" type="presParOf" srcId="{653D6DBE-7614-495A-A66B-2D234C13841C}" destId="{06762F46-CE81-4029-B08F-20CAC932DEE7}" srcOrd="0" destOrd="0" presId="urn:microsoft.com/office/officeart/2005/8/layout/chevronAccent+Icon"/>
    <dgm:cxn modelId="{12DAFF7D-9E7C-452D-BCB7-DDF244B4E3BD}" type="presParOf" srcId="{653D6DBE-7614-495A-A66B-2D234C13841C}" destId="{DA95FE54-2262-430C-A049-C336A2F0EB55}" srcOrd="1" destOrd="0" presId="urn:microsoft.com/office/officeart/2005/8/layout/chevronAccent+Icon"/>
    <dgm:cxn modelId="{178225B7-380D-49D5-9A69-8C970988468D}" type="presParOf" srcId="{30B4A193-DB1B-46E8-BF31-2FA022D11677}" destId="{5478907B-1AB4-41ED-86AD-2619BBD68499}" srcOrd="3" destOrd="0" presId="urn:microsoft.com/office/officeart/2005/8/layout/chevronAccent+Icon"/>
    <dgm:cxn modelId="{925EBC92-B4A2-4AB0-8359-9D6826109133}" type="presParOf" srcId="{30B4A193-DB1B-46E8-BF31-2FA022D11677}" destId="{FF489BA9-586F-4148-BC63-C10A0A096F02}" srcOrd="4" destOrd="0" presId="urn:microsoft.com/office/officeart/2005/8/layout/chevronAccent+Icon"/>
    <dgm:cxn modelId="{3B05ADFE-90B9-4DE2-B0AE-D0E10815FF98}" type="presParOf" srcId="{FF489BA9-586F-4148-BC63-C10A0A096F02}" destId="{2D684C11-C10F-429D-8500-993E9952D340}" srcOrd="0" destOrd="0" presId="urn:microsoft.com/office/officeart/2005/8/layout/chevronAccent+Icon"/>
    <dgm:cxn modelId="{F4FF9241-A913-4745-AD07-09497CF99428}" type="presParOf" srcId="{FF489BA9-586F-4148-BC63-C10A0A096F02}" destId="{F21AE406-4CEF-4CE0-B979-3A99C9468924}" srcOrd="1" destOrd="0" presId="urn:microsoft.com/office/officeart/2005/8/layout/chevronAccent+Icon"/>
    <dgm:cxn modelId="{3A6B0AB7-3833-45C6-AE60-B7A70AC39EFC}" type="presParOf" srcId="{30B4A193-DB1B-46E8-BF31-2FA022D11677}" destId="{ACA8A13E-340C-423B-B485-B1A94C2108BA}" srcOrd="5" destOrd="0" presId="urn:microsoft.com/office/officeart/2005/8/layout/chevronAccent+Icon"/>
    <dgm:cxn modelId="{5F43298A-A13A-4FE1-A74B-9668290C1CAC}" type="presParOf" srcId="{30B4A193-DB1B-46E8-BF31-2FA022D11677}" destId="{8524B2FB-7B23-46E3-99E9-6B1B03EF5B80}" srcOrd="6" destOrd="0" presId="urn:microsoft.com/office/officeart/2005/8/layout/chevronAccent+Icon"/>
    <dgm:cxn modelId="{C2215D17-0B05-480C-9FE1-D22B2F207B80}" type="presParOf" srcId="{8524B2FB-7B23-46E3-99E9-6B1B03EF5B80}" destId="{A29C4894-4DFE-4E21-8101-A75982503850}" srcOrd="0" destOrd="0" presId="urn:microsoft.com/office/officeart/2005/8/layout/chevronAccent+Icon"/>
    <dgm:cxn modelId="{DBE0AC4B-A9CA-44DF-AFCA-DFF5DAB8B230}" type="presParOf" srcId="{8524B2FB-7B23-46E3-99E9-6B1B03EF5B80}" destId="{62EF82E8-860D-457E-AD51-2E5DFD4A988D}" srcOrd="1" destOrd="0" presId="urn:microsoft.com/office/officeart/2005/8/layout/chevronAccen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0B312B-0A9C-4905-8F7D-317D204A17D2}">
      <dsp:nvSpPr>
        <dsp:cNvPr id="0" name=""/>
        <dsp:cNvSpPr/>
      </dsp:nvSpPr>
      <dsp:spPr>
        <a:xfrm>
          <a:off x="5198" y="450757"/>
          <a:ext cx="2446575" cy="944378"/>
        </a:xfrm>
        <a:prstGeom prst="chevron">
          <a:avLst>
            <a:gd name="adj" fmla="val 4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15B2E5-72D5-42CA-A72C-8FF93BD24DF4}">
      <dsp:nvSpPr>
        <dsp:cNvPr id="0" name=""/>
        <dsp:cNvSpPr/>
      </dsp:nvSpPr>
      <dsp:spPr>
        <a:xfrm>
          <a:off x="657618" y="686852"/>
          <a:ext cx="2065997" cy="944378"/>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GB" sz="1900" kern="1200"/>
            <a:t>Choose a template</a:t>
          </a:r>
        </a:p>
      </dsp:txBody>
      <dsp:txXfrm>
        <a:off x="685278" y="714512"/>
        <a:ext cx="2010677" cy="889058"/>
      </dsp:txXfrm>
    </dsp:sp>
    <dsp:sp modelId="{06762F46-CE81-4029-B08F-20CAC932DEE7}">
      <dsp:nvSpPr>
        <dsp:cNvPr id="0" name=""/>
        <dsp:cNvSpPr/>
      </dsp:nvSpPr>
      <dsp:spPr>
        <a:xfrm>
          <a:off x="2799730" y="450757"/>
          <a:ext cx="2446575" cy="944378"/>
        </a:xfrm>
        <a:prstGeom prst="chevron">
          <a:avLst>
            <a:gd name="adj" fmla="val 4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A95FE54-2262-430C-A049-C336A2F0EB55}">
      <dsp:nvSpPr>
        <dsp:cNvPr id="0" name=""/>
        <dsp:cNvSpPr/>
      </dsp:nvSpPr>
      <dsp:spPr>
        <a:xfrm>
          <a:off x="3452151" y="686852"/>
          <a:ext cx="2065997" cy="944378"/>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GB" sz="1900" kern="1200"/>
            <a:t>Customise the agent</a:t>
          </a:r>
        </a:p>
      </dsp:txBody>
      <dsp:txXfrm>
        <a:off x="3479811" y="714512"/>
        <a:ext cx="2010677" cy="889058"/>
      </dsp:txXfrm>
    </dsp:sp>
    <dsp:sp modelId="{2D684C11-C10F-429D-8500-993E9952D340}">
      <dsp:nvSpPr>
        <dsp:cNvPr id="0" name=""/>
        <dsp:cNvSpPr/>
      </dsp:nvSpPr>
      <dsp:spPr>
        <a:xfrm>
          <a:off x="5594263" y="450757"/>
          <a:ext cx="2446575" cy="944378"/>
        </a:xfrm>
        <a:prstGeom prst="chevron">
          <a:avLst>
            <a:gd name="adj" fmla="val 4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21AE406-4CEF-4CE0-B979-3A99C9468924}">
      <dsp:nvSpPr>
        <dsp:cNvPr id="0" name=""/>
        <dsp:cNvSpPr/>
      </dsp:nvSpPr>
      <dsp:spPr>
        <a:xfrm>
          <a:off x="6246683" y="686852"/>
          <a:ext cx="2065997" cy="944378"/>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GB" sz="1900" kern="1200"/>
            <a:t>Test and Create </a:t>
          </a:r>
        </a:p>
      </dsp:txBody>
      <dsp:txXfrm>
        <a:off x="6274343" y="714512"/>
        <a:ext cx="2010677" cy="889058"/>
      </dsp:txXfrm>
    </dsp:sp>
    <dsp:sp modelId="{A29C4894-4DFE-4E21-8101-A75982503850}">
      <dsp:nvSpPr>
        <dsp:cNvPr id="0" name=""/>
        <dsp:cNvSpPr/>
      </dsp:nvSpPr>
      <dsp:spPr>
        <a:xfrm>
          <a:off x="8388796" y="450757"/>
          <a:ext cx="2446575" cy="944378"/>
        </a:xfrm>
        <a:prstGeom prst="chevron">
          <a:avLst>
            <a:gd name="adj" fmla="val 4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2EF82E8-860D-457E-AD51-2E5DFD4A988D}">
      <dsp:nvSpPr>
        <dsp:cNvPr id="0" name=""/>
        <dsp:cNvSpPr/>
      </dsp:nvSpPr>
      <dsp:spPr>
        <a:xfrm>
          <a:off x="9041216" y="686852"/>
          <a:ext cx="2065997" cy="944378"/>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GB" sz="1900" kern="1200"/>
            <a:t>Share with your colleagues</a:t>
          </a:r>
        </a:p>
      </dsp:txBody>
      <dsp:txXfrm>
        <a:off x="9068876" y="714512"/>
        <a:ext cx="2010677" cy="889058"/>
      </dsp:txXfrm>
    </dsp:sp>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Sans Display" pitchFamily="2"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Sans Display" pitchFamily="2" charset="0"/>
              </a:rPr>
              <a:t>2/10/2026 8:07 AM</a:t>
            </a:fld>
            <a:endParaRPr lang="en-US">
              <a:latin typeface="Segoe Sans Display" pitchFamily="2"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Sans Display" pitchFamily="2" charset="0"/>
              </a:rPr>
              <a:t>‹#›</a:t>
            </a:fld>
            <a:endParaRPr lang="en-US">
              <a:latin typeface="Segoe Sans Display" pitchFamily="2"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Sans Display" pitchFamily="2"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atin typeface="Segoe Sans Display" pitchFamily="2" charset="0"/>
                <a:cs typeface="Segoe Sans Display" pitchFamily="2" charset="0"/>
              </a:defRPr>
            </a:lvl1p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Sans Display" pitchFamily="2" charset="0"/>
              </a:defRPr>
            </a:lvl1pPr>
          </a:lstStyle>
          <a:p>
            <a:fld id="{386CE63F-9E7F-4C04-9D0D-FCA25A8E9E86}" type="datetime8">
              <a:rPr lang="en-US" smtClean="0"/>
              <a:pPr/>
              <a:t>2/10/2026 8:06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Sans Display" pitchFamily="2"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Sans Display" pitchFamily="2"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2/10/2026 8:0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1630726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843222-70F9-5EB7-670D-E40D5D0F6A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C53000-99C8-2B73-49AE-42A340A36A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15E01E-AF18-EB42-2AD0-D3AC3FC01A92}"/>
              </a:ext>
            </a:extLst>
          </p:cNvPr>
          <p:cNvSpPr>
            <a:spLocks noGrp="1"/>
          </p:cNvSpPr>
          <p:nvPr>
            <p:ph type="body" idx="1"/>
          </p:nvPr>
        </p:nvSpPr>
        <p:spPr/>
        <p:txBody>
          <a:bodyPr/>
          <a:lstStyle/>
          <a:p>
            <a:pPr>
              <a:spcAft>
                <a:spcPts val="361"/>
              </a:spcAft>
            </a:pPr>
            <a:endParaRPr lang="en-US" sz="850">
              <a:cs typeface="Segoe Sans Display"/>
            </a:endParaRPr>
          </a:p>
        </p:txBody>
      </p:sp>
      <p:sp>
        <p:nvSpPr>
          <p:cNvPr id="4" name="Header Placeholder 3">
            <a:extLst>
              <a:ext uri="{FF2B5EF4-FFF2-40B4-BE49-F238E27FC236}">
                <a16:creationId xmlns:a16="http://schemas.microsoft.com/office/drawing/2014/main" id="{CEED772D-9D19-0382-298B-3F9C376610F1}"/>
              </a:ext>
            </a:extLst>
          </p:cNvPr>
          <p:cNvSpPr>
            <a:spLocks noGrp="1"/>
          </p:cNvSpPr>
          <p:nvPr>
            <p:ph type="hdr" sz="quarter"/>
          </p:nvPr>
        </p:nvSpPr>
        <p:spPr/>
        <p:txBody>
          <a:bodyPr/>
          <a:lstStyle/>
          <a:p>
            <a:pPr marL="0" marR="0" lvl="0" indent="0" algn="l" defTabSz="99071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917A547-D8A2-BCC2-01D4-2EA0850C0556}"/>
              </a:ext>
            </a:extLst>
          </p:cNvPr>
          <p:cNvSpPr>
            <a:spLocks noGrp="1"/>
          </p:cNvSpPr>
          <p:nvPr>
            <p:ph type="ftr" sz="quarter" idx="4"/>
          </p:nvPr>
        </p:nvSpPr>
        <p:spPr/>
        <p:txBody>
          <a:bodyPr/>
          <a:lstStyle/>
          <a:p>
            <a:pPr marL="619220" marR="0" lvl="0" indent="0" algn="l" defTabSz="99042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0D78B76-A091-9809-6A58-7DDED9B10E0D}"/>
              </a:ext>
            </a:extLst>
          </p:cNvPr>
          <p:cNvSpPr>
            <a:spLocks noGrp="1"/>
          </p:cNvSpPr>
          <p:nvPr>
            <p:ph type="dt" idx="1"/>
          </p:nvPr>
        </p:nvSpPr>
        <p:spPr/>
        <p:txBody>
          <a:bodyPr/>
          <a:lstStyle/>
          <a:p>
            <a:pPr marL="0" marR="0" lvl="0" indent="0" algn="r" defTabSz="990717" rtl="0" eaLnBrk="1" fontAlgn="auto" latinLnBrk="0" hangingPunct="1">
              <a:lnSpc>
                <a:spcPct val="100000"/>
              </a:lnSpc>
              <a:spcBef>
                <a:spcPts val="0"/>
              </a:spcBef>
              <a:spcAft>
                <a:spcPts val="0"/>
              </a:spcAft>
              <a:buClrTx/>
              <a:buSzTx/>
              <a:buFontTx/>
              <a:buNone/>
              <a:tabLst/>
              <a:defRPr/>
            </a:pPr>
            <a:fld id="{2E0231D8-9D10-4A56-A725-A587A7DED06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90717" rtl="0" eaLnBrk="1" fontAlgn="auto" latinLnBrk="0" hangingPunct="1">
                <a:lnSpc>
                  <a:spcPct val="100000"/>
                </a:lnSpc>
                <a:spcBef>
                  <a:spcPts val="0"/>
                </a:spcBef>
                <a:spcAft>
                  <a:spcPts val="0"/>
                </a:spcAft>
                <a:buClrTx/>
                <a:buSzTx/>
                <a:buFontTx/>
                <a:buNone/>
                <a:tabLst/>
                <a:defRPr/>
              </a:pPr>
              <a:t>2/10/2026 8:07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791563FC-E1DB-EF88-532F-F16D9233DC84}"/>
              </a:ext>
            </a:extLst>
          </p:cNvPr>
          <p:cNvSpPr>
            <a:spLocks noGrp="1"/>
          </p:cNvSpPr>
          <p:nvPr>
            <p:ph type="sldNum" sz="quarter" idx="5"/>
          </p:nvPr>
        </p:nvSpPr>
        <p:spPr/>
        <p:txBody>
          <a:bodyPr/>
          <a:lstStyle/>
          <a:p>
            <a:pPr marL="0" marR="0" lvl="0" indent="0" algn="r" defTabSz="99071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90717"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828049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D121CF-AFD2-1281-D846-D07B34A86C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E22DFC-9B43-953C-C0A4-3CD09DB574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1189BD-F7DD-DEB1-A81C-6FE85F7F03F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D33F76E-AC4D-C908-9206-FD03902B49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330983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A3E915-7ED3-45B4-293B-44F1AFE9E4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035EF2-7E76-71D9-F21E-7BDEDE6E67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240970-042A-4DA8-3177-B1A4DAD4D69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7DCE3B5-E4AD-77D4-6D9A-AF01DFB8B42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33783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2/10/2026 8: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8560628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E35C2-993B-EBD3-8B03-94863AECDF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FB0889-D6F0-00A0-F897-6E624B13B6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432E42-F07C-6702-366A-2E987A28E598}"/>
              </a:ext>
            </a:extLst>
          </p:cNvPr>
          <p:cNvSpPr>
            <a:spLocks noGrp="1"/>
          </p:cNvSpPr>
          <p:nvPr>
            <p:ph type="body" idx="1"/>
          </p:nvPr>
        </p:nvSpPr>
        <p:spPr/>
        <p:txBody>
          <a:bodyPr/>
          <a:lstStyle/>
          <a:p>
            <a:pPr marL="285750" indent="-285750">
              <a:buFont typeface="Arial" panose="020B0604020202020204" pitchFamily="34" charset="0"/>
              <a:buChar char="•"/>
            </a:pPr>
            <a:endParaRPr lang="en-US"/>
          </a:p>
        </p:txBody>
      </p:sp>
      <p:sp>
        <p:nvSpPr>
          <p:cNvPr id="4" name="Slide Number Placeholder 3">
            <a:extLst>
              <a:ext uri="{FF2B5EF4-FFF2-40B4-BE49-F238E27FC236}">
                <a16:creationId xmlns:a16="http://schemas.microsoft.com/office/drawing/2014/main" id="{A57005DE-AEAA-9A8E-971C-A7F777AA6A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46346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C872F-2FBC-BFEE-AF81-F9B7BC8453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037C15-FB61-6114-D950-9DB074B0B5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C219C6-DF46-B66F-1901-E85D75CD0BF9}"/>
              </a:ext>
            </a:extLst>
          </p:cNvPr>
          <p:cNvSpPr>
            <a:spLocks noGrp="1"/>
          </p:cNvSpPr>
          <p:nvPr>
            <p:ph type="body" idx="1"/>
          </p:nvPr>
        </p:nvSpPr>
        <p:spPr/>
        <p:txBody>
          <a:bodyPr/>
          <a:lstStyle/>
          <a:p>
            <a:pPr marL="285750" indent="-285750">
              <a:buFont typeface="Arial" panose="020B0604020202020204" pitchFamily="34" charset="0"/>
              <a:buChar char="•"/>
            </a:pPr>
            <a:endParaRPr lang="en-US"/>
          </a:p>
        </p:txBody>
      </p:sp>
      <p:sp>
        <p:nvSpPr>
          <p:cNvPr id="4" name="Slide Number Placeholder 3">
            <a:extLst>
              <a:ext uri="{FF2B5EF4-FFF2-40B4-BE49-F238E27FC236}">
                <a16:creationId xmlns:a16="http://schemas.microsoft.com/office/drawing/2014/main" id="{1617038E-BEE2-8637-12B2-2114DE20E69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00217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74CE2-9604-2062-D5B6-0B3F6B4ECE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3629D3-9CB0-5061-729D-309518B8B5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5D1871-60A0-96FE-0292-7DB2A62E6034}"/>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135C4405-7E6C-6F02-C1E2-9005C2B0198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44477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BFBB55-DF85-340C-1D2A-A8657C32C2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D9DDBB-D73E-B016-BA00-7209B55AAD83}"/>
              </a:ext>
            </a:extLst>
          </p:cNvPr>
          <p:cNvSpPr>
            <a:spLocks noGrp="1" noRot="1" noChangeAspect="1"/>
          </p:cNvSpPr>
          <p:nvPr>
            <p:ph type="sldImg"/>
          </p:nvPr>
        </p:nvSpPr>
        <p:spPr>
          <a:xfrm>
            <a:off x="747713" y="1181100"/>
            <a:ext cx="5667375" cy="3189288"/>
          </a:xfrm>
        </p:spPr>
      </p:sp>
      <p:sp>
        <p:nvSpPr>
          <p:cNvPr id="3" name="Notes Placeholder 2">
            <a:extLst>
              <a:ext uri="{FF2B5EF4-FFF2-40B4-BE49-F238E27FC236}">
                <a16:creationId xmlns:a16="http://schemas.microsoft.com/office/drawing/2014/main" id="{F7C6FA4A-6762-045C-4B7D-70EA557EEBA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8CA6FF6-9038-7AF8-6D44-478C083070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0CD717-BA3E-410B-AAE6-2C9310D382A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480017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2/10/2026 8: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9251602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54014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2/10/2026 8: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2982105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2/10/2026 8: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7952919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991423-F160-E8D1-D345-B9B41F7CD5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AEED69-99B7-C828-D2E6-6034C67BC9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34D21B-CE48-630A-92E4-73C11C90F652}"/>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F68220F-2AB4-5941-E242-B91E0C13C9B8}"/>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F1215C6D-BC8A-A893-63E3-7FFA1A2F6915}"/>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7FB442C-8C55-593A-73CB-2C2BADB01782}"/>
              </a:ext>
            </a:extLst>
          </p:cNvPr>
          <p:cNvSpPr>
            <a:spLocks noGrp="1"/>
          </p:cNvSpPr>
          <p:nvPr>
            <p:ph type="dt" idx="1"/>
          </p:nvPr>
        </p:nvSpPr>
        <p:spPr/>
        <p:txBody>
          <a:bodyPr/>
          <a:lstStyle/>
          <a:p>
            <a:fld id="{386CE63F-9E7F-4C04-9D0D-FCA25A8E9E86}" type="datetime8">
              <a:rPr lang="en-US" smtClean="0"/>
              <a:pPr/>
              <a:t>2/10/2026 8:07 AM</a:t>
            </a:fld>
            <a:endParaRPr lang="en-US"/>
          </a:p>
        </p:txBody>
      </p:sp>
      <p:sp>
        <p:nvSpPr>
          <p:cNvPr id="7" name="Slide Number Placeholder 6">
            <a:extLst>
              <a:ext uri="{FF2B5EF4-FFF2-40B4-BE49-F238E27FC236}">
                <a16:creationId xmlns:a16="http://schemas.microsoft.com/office/drawing/2014/main" id="{69A50F65-87F0-B0DC-7ED0-0E649A48460A}"/>
              </a:ext>
            </a:extLst>
          </p:cNvPr>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10971293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135301-7BB2-DAA7-238C-69A8E682D0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311FA8-009D-1C21-199D-F0D0F828F1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245769-B93B-8428-46C1-D1E29F20FCEE}"/>
              </a:ext>
            </a:extLst>
          </p:cNvPr>
          <p:cNvSpPr>
            <a:spLocks noGrp="1"/>
          </p:cNvSpPr>
          <p:nvPr>
            <p:ph type="body" idx="1"/>
          </p:nvPr>
        </p:nvSpPr>
        <p:spPr/>
        <p:txBody>
          <a:bodyPr/>
          <a:lstStyle/>
          <a:p>
            <a:endParaRPr lang="en-US">
              <a:latin typeface="Calibri"/>
              <a:ea typeface="Calibri"/>
              <a:cs typeface="Calibri"/>
            </a:endParaRPr>
          </a:p>
        </p:txBody>
      </p:sp>
      <p:sp>
        <p:nvSpPr>
          <p:cNvPr id="4" name="Header Placeholder 3">
            <a:extLst>
              <a:ext uri="{FF2B5EF4-FFF2-40B4-BE49-F238E27FC236}">
                <a16:creationId xmlns:a16="http://schemas.microsoft.com/office/drawing/2014/main" id="{642D60D2-CFF5-D8F5-413B-67374D09440B}"/>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795B3CBD-22FC-F2A7-F66C-467D5C23B278}"/>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7CBDFC9-994D-5D10-AA73-B3257531C266}"/>
              </a:ext>
            </a:extLst>
          </p:cNvPr>
          <p:cNvSpPr>
            <a:spLocks noGrp="1"/>
          </p:cNvSpPr>
          <p:nvPr>
            <p:ph type="dt" idx="1"/>
          </p:nvPr>
        </p:nvSpPr>
        <p:spPr/>
        <p:txBody>
          <a:bodyPr/>
          <a:lstStyle/>
          <a:p>
            <a:fld id="{386CE63F-9E7F-4C04-9D0D-FCA25A8E9E86}" type="datetime8">
              <a:rPr lang="en-US" smtClean="0"/>
              <a:pPr/>
              <a:t>2/10/2026 8:07 AM</a:t>
            </a:fld>
            <a:endParaRPr lang="en-US"/>
          </a:p>
        </p:txBody>
      </p:sp>
      <p:sp>
        <p:nvSpPr>
          <p:cNvPr id="7" name="Slide Number Placeholder 6">
            <a:extLst>
              <a:ext uri="{FF2B5EF4-FFF2-40B4-BE49-F238E27FC236}">
                <a16:creationId xmlns:a16="http://schemas.microsoft.com/office/drawing/2014/main" id="{37F611C4-525E-4645-C430-6AAB46EDE38F}"/>
              </a:ext>
            </a:extLst>
          </p:cNvPr>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25929821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7B275-A748-8D91-7509-9935E0C090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20B5D2-8F7E-D955-A979-4ADC2D6E35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6DE39F-3973-4527-9213-A768C719EBFD}"/>
              </a:ext>
            </a:extLst>
          </p:cNvPr>
          <p:cNvSpPr>
            <a:spLocks noGrp="1"/>
          </p:cNvSpPr>
          <p:nvPr>
            <p:ph type="body" idx="1"/>
          </p:nvPr>
        </p:nvSpPr>
        <p:spPr/>
        <p:txBody>
          <a:bodyPr/>
          <a:lstStyle/>
          <a:p>
            <a:endParaRPr lang="en-US" b="1"/>
          </a:p>
        </p:txBody>
      </p:sp>
      <p:sp>
        <p:nvSpPr>
          <p:cNvPr id="4" name="Slide Number Placeholder 3">
            <a:extLst>
              <a:ext uri="{FF2B5EF4-FFF2-40B4-BE49-F238E27FC236}">
                <a16:creationId xmlns:a16="http://schemas.microsoft.com/office/drawing/2014/main" id="{A9BF7F92-25E5-2BE6-DB62-4854C5C531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CF901-0983-4D47-BE4C-9E07E1C79155}"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119209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E6B7CA-1CD3-4EA2-D901-0748B2AEE9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61163A-1DD3-CB07-B871-8C928E985C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EE9F03-2BDB-FA84-A32A-C9AA50956D13}"/>
              </a:ext>
            </a:extLst>
          </p:cNvPr>
          <p:cNvSpPr>
            <a:spLocks noGrp="1"/>
          </p:cNvSpPr>
          <p:nvPr>
            <p:ph type="body" idx="1"/>
          </p:nvPr>
        </p:nvSpPr>
        <p:spPr/>
        <p:txBody>
          <a:bodyPr/>
          <a:lstStyle/>
          <a:p>
            <a:endParaRPr lang="en-US"/>
          </a:p>
        </p:txBody>
      </p:sp>
      <p:sp>
        <p:nvSpPr>
          <p:cNvPr id="7" name="Slide Number Placeholder 6">
            <a:extLst>
              <a:ext uri="{FF2B5EF4-FFF2-40B4-BE49-F238E27FC236}">
                <a16:creationId xmlns:a16="http://schemas.microsoft.com/office/drawing/2014/main" id="{9974A85E-BBE1-7018-D3AF-CF0D0ABC53E4}"/>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Date Placeholder 10">
            <a:extLst>
              <a:ext uri="{FF2B5EF4-FFF2-40B4-BE49-F238E27FC236}">
                <a16:creationId xmlns:a16="http://schemas.microsoft.com/office/drawing/2014/main" id="{1DB52775-2F4A-609C-209F-CB2710E541F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FBCFFA-9B06-4A63-A22F-3E29B68646D7}"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2026 8:07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 name="Footer Placeholder 3">
            <a:extLst>
              <a:ext uri="{FF2B5EF4-FFF2-40B4-BE49-F238E27FC236}">
                <a16:creationId xmlns:a16="http://schemas.microsoft.com/office/drawing/2014/main" id="{82D2BB1A-AD99-9854-B9E8-955BD351B9FB}"/>
              </a:ext>
            </a:extLst>
          </p:cNvPr>
          <p:cNvSpPr>
            <a:spLocks noGrp="1"/>
          </p:cNvSpPr>
          <p:nvPr>
            <p:ph type="ftr" sz="quarter" idx="15"/>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5" name="Header Placeholder 4">
            <a:extLst>
              <a:ext uri="{FF2B5EF4-FFF2-40B4-BE49-F238E27FC236}">
                <a16:creationId xmlns:a16="http://schemas.microsoft.com/office/drawing/2014/main" id="{7E2305A9-48EA-472B-E453-815B46469DC8}"/>
              </a:ext>
            </a:extLst>
          </p:cNvPr>
          <p:cNvSpPr>
            <a:spLocks noGrp="1"/>
          </p:cNvSpPr>
          <p:nvPr>
            <p:ph type="hd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376578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C0343-2245-AC13-CAC4-A20FAE89E2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8A67D2-A1F6-92CB-F0AC-EE1AC082F4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5AA1B2-DE26-33F3-0E2A-F2C109654404}"/>
              </a:ext>
            </a:extLst>
          </p:cNvPr>
          <p:cNvSpPr>
            <a:spLocks noGrp="1"/>
          </p:cNvSpPr>
          <p:nvPr>
            <p:ph type="body" idx="1"/>
          </p:nvPr>
        </p:nvSpPr>
        <p:spPr/>
        <p:txBody>
          <a:bodyPr/>
          <a:lstStyle/>
          <a:p>
            <a:endParaRPr lang="en-US"/>
          </a:p>
        </p:txBody>
      </p:sp>
      <p:sp>
        <p:nvSpPr>
          <p:cNvPr id="7" name="Slide Number Placeholder 6">
            <a:extLst>
              <a:ext uri="{FF2B5EF4-FFF2-40B4-BE49-F238E27FC236}">
                <a16:creationId xmlns:a16="http://schemas.microsoft.com/office/drawing/2014/main" id="{621914A6-A7C2-9B6B-0512-3018E87B337A}"/>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Date Placeholder 10">
            <a:extLst>
              <a:ext uri="{FF2B5EF4-FFF2-40B4-BE49-F238E27FC236}">
                <a16:creationId xmlns:a16="http://schemas.microsoft.com/office/drawing/2014/main" id="{A7D325B6-A61D-5128-7A88-07DE53056639}"/>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FBCFFA-9B06-4A63-A22F-3E29B68646D7}"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2026 8:07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 name="Footer Placeholder 3">
            <a:extLst>
              <a:ext uri="{FF2B5EF4-FFF2-40B4-BE49-F238E27FC236}">
                <a16:creationId xmlns:a16="http://schemas.microsoft.com/office/drawing/2014/main" id="{A3E7B3BF-26F6-5014-75B6-0880393FD09A}"/>
              </a:ext>
            </a:extLst>
          </p:cNvPr>
          <p:cNvSpPr>
            <a:spLocks noGrp="1"/>
          </p:cNvSpPr>
          <p:nvPr>
            <p:ph type="ftr" sz="quarter" idx="15"/>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5" name="Header Placeholder 4">
            <a:extLst>
              <a:ext uri="{FF2B5EF4-FFF2-40B4-BE49-F238E27FC236}">
                <a16:creationId xmlns:a16="http://schemas.microsoft.com/office/drawing/2014/main" id="{673C9D12-5A12-EF3B-395A-7CF15A65F6A5}"/>
              </a:ext>
            </a:extLst>
          </p:cNvPr>
          <p:cNvSpPr>
            <a:spLocks noGrp="1"/>
          </p:cNvSpPr>
          <p:nvPr>
            <p:ph type="hd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880954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2/10/2026 8: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28525157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2/10/2026 8: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35049933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1105D9-E37E-E512-CD5D-21A1760D2D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004E6A-93A9-C848-AC38-358219A9A1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3F3975-F788-E090-1D4C-90DD63460453}"/>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B1CFDCD6-92E8-ABD2-F58A-8DDD37C7B745}"/>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E7F3B12C-BCD8-2F15-DB8D-2F4ED4D4C58D}"/>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3BC24357-3CFF-34FE-8017-A1927E0FCB7D}"/>
              </a:ext>
            </a:extLst>
          </p:cNvPr>
          <p:cNvSpPr>
            <a:spLocks noGrp="1"/>
          </p:cNvSpPr>
          <p:nvPr>
            <p:ph type="dt" idx="1"/>
          </p:nvPr>
        </p:nvSpPr>
        <p:spPr/>
        <p:txBody>
          <a:bodyPr/>
          <a:lstStyle/>
          <a:p>
            <a:fld id="{386CE63F-9E7F-4C04-9D0D-FCA25A8E9E86}" type="datetime8">
              <a:rPr lang="en-US" smtClean="0"/>
              <a:pPr/>
              <a:t>2/10/2026 8:07 AM</a:t>
            </a:fld>
            <a:endParaRPr lang="en-US"/>
          </a:p>
        </p:txBody>
      </p:sp>
      <p:sp>
        <p:nvSpPr>
          <p:cNvPr id="7" name="Slide Number Placeholder 6">
            <a:extLst>
              <a:ext uri="{FF2B5EF4-FFF2-40B4-BE49-F238E27FC236}">
                <a16:creationId xmlns:a16="http://schemas.microsoft.com/office/drawing/2014/main" id="{1385CDC4-3E7D-AD8A-8E4B-8237A8763523}"/>
              </a:ext>
            </a:extLst>
          </p:cNvPr>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19096741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D8F3E0-06F8-6998-4EC8-602A3AB209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4754D5-4C25-40EE-529A-77D10AEFAD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D753FF-50AD-9517-6CA7-2DA2E11EAF03}"/>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8E735BF-8A33-DD71-D0D6-779DEAA33E3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F0903750-5528-8170-48DD-AD81B2A02720}"/>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5249A64-14C0-C484-EC91-CB34D484F2C1}"/>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0/2026 8:07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26B7CC82-233C-BD8F-B476-01CCDCF93DC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144241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2/10/2026 8: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23497498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F6D745-0250-DC7D-1049-01AAE22FF7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3C080D-BF2F-934E-BE24-0CBBED7F98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CED40E-0C0E-5D5E-FF58-1469B68925EE}"/>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8A81960F-019F-0B04-B716-515BAEFECE37}"/>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CE40380C-FC44-C2B0-ECB1-0DCB67EEDC9F}"/>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EFE1796-B66C-1F64-08E7-DE2561E48C6F}"/>
              </a:ext>
            </a:extLst>
          </p:cNvPr>
          <p:cNvSpPr>
            <a:spLocks noGrp="1"/>
          </p:cNvSpPr>
          <p:nvPr>
            <p:ph type="dt" idx="1"/>
          </p:nvPr>
        </p:nvSpPr>
        <p:spPr/>
        <p:txBody>
          <a:bodyPr/>
          <a:lstStyle/>
          <a:p>
            <a:fld id="{386CE63F-9E7F-4C04-9D0D-FCA25A8E9E86}" type="datetime8">
              <a:rPr lang="en-US" smtClean="0"/>
              <a:pPr/>
              <a:t>2/10/2026 8:07 AM</a:t>
            </a:fld>
            <a:endParaRPr lang="en-US"/>
          </a:p>
        </p:txBody>
      </p:sp>
      <p:sp>
        <p:nvSpPr>
          <p:cNvPr id="7" name="Slide Number Placeholder 6">
            <a:extLst>
              <a:ext uri="{FF2B5EF4-FFF2-40B4-BE49-F238E27FC236}">
                <a16:creationId xmlns:a16="http://schemas.microsoft.com/office/drawing/2014/main" id="{A2F2C4A2-4F91-ECA4-C57F-51E31367CACF}"/>
              </a:ext>
            </a:extLst>
          </p:cNvPr>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1553026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2/10/2026 8: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9604428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2/10/2026 8: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20378707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84FA68-8F4B-422B-AD27-9639E86175E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99164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2/10/2026 8: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23121201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92D6E7-4C55-4CB5-ACCD-27E1C87E86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CBCE55-51E4-2858-0C15-9EB19A9E47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B0AB13-3FB8-D1E7-9FDA-A544B7EA331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75C867E-9430-84F2-146C-B6652E60A10A}"/>
              </a:ext>
            </a:extLst>
          </p:cNvPr>
          <p:cNvSpPr>
            <a:spLocks noGrp="1"/>
          </p:cNvSpPr>
          <p:nvPr>
            <p:ph type="sldNum" sz="quarter" idx="5"/>
          </p:nvPr>
        </p:nvSpPr>
        <p:spPr/>
        <p:txBody>
          <a:bodyPr/>
          <a:lstStyle/>
          <a:p>
            <a:pPr marL="0" marR="0" lvl="0" indent="0" algn="r" defTabSz="1786473" rtl="0" eaLnBrk="1" fontAlgn="auto" latinLnBrk="0" hangingPunct="1">
              <a:lnSpc>
                <a:spcPct val="100000"/>
              </a:lnSpc>
              <a:spcBef>
                <a:spcPts val="0"/>
              </a:spcBef>
              <a:spcAft>
                <a:spcPts val="0"/>
              </a:spcAft>
              <a:buClrTx/>
              <a:buSzTx/>
              <a:buFontTx/>
              <a:buNone/>
              <a:tabLst/>
              <a:defRPr/>
            </a:pPr>
            <a:fld id="{760CD717-BA3E-410B-AAE6-2C9310D382A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86473"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92094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999"/>
              </a:spcAft>
              <a:defRPr/>
            </a:pPr>
            <a:endParaRPr lang="en-US"/>
          </a:p>
        </p:txBody>
      </p:sp>
      <p:sp>
        <p:nvSpPr>
          <p:cNvPr id="4" name="Header Placeholder 3"/>
          <p:cNvSpPr>
            <a:spLocks noGrp="1"/>
          </p:cNvSpPr>
          <p:nvPr>
            <p:ph type="hdr" sz="quarter"/>
          </p:nvPr>
        </p:nvSpPr>
        <p:spPr/>
        <p:txBody>
          <a:bodyPr/>
          <a:lstStyle/>
          <a:p>
            <a:pPr defTabSz="942255">
              <a:defRPr/>
            </a:pPr>
            <a:endParaRPr lang="en-US">
              <a:solidFill>
                <a:prstClr val="black"/>
              </a:solidFill>
              <a:latin typeface="Segoe UI" pitchFamily="34" charset="0"/>
            </a:endParaRPr>
          </a:p>
        </p:txBody>
      </p:sp>
      <p:sp>
        <p:nvSpPr>
          <p:cNvPr id="5" name="Footer Placeholder 4"/>
          <p:cNvSpPr>
            <a:spLocks noGrp="1"/>
          </p:cNvSpPr>
          <p:nvPr>
            <p:ph type="ftr" sz="quarter" idx="4"/>
          </p:nvPr>
        </p:nvSpPr>
        <p:spPr/>
        <p:txBody>
          <a:bodyPr/>
          <a:lstStyle/>
          <a:p>
            <a:pPr defTabSz="94197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942255">
              <a:defRPr/>
            </a:pPr>
            <a:fld id="{386CE63F-9E7F-4C04-9D0D-FCA25A8E9E86}" type="datetime8">
              <a:rPr lang="en-US">
                <a:solidFill>
                  <a:prstClr val="black"/>
                </a:solidFill>
                <a:latin typeface="Segoe UI" pitchFamily="34" charset="0"/>
              </a:rPr>
              <a:pPr defTabSz="942255">
                <a:defRPr/>
              </a:pPr>
              <a:t>2/10/2026 8:07 AM</a:t>
            </a:fld>
            <a:endParaRPr lang="en-US">
              <a:solidFill>
                <a:prstClr val="black"/>
              </a:solidFill>
              <a:latin typeface="Segoe UI" pitchFamily="34" charset="0"/>
            </a:endParaRPr>
          </a:p>
        </p:txBody>
      </p:sp>
      <p:sp>
        <p:nvSpPr>
          <p:cNvPr id="7" name="Slide Number Placeholder 6"/>
          <p:cNvSpPr>
            <a:spLocks noGrp="1"/>
          </p:cNvSpPr>
          <p:nvPr>
            <p:ph type="sldNum" sz="quarter" idx="5"/>
          </p:nvPr>
        </p:nvSpPr>
        <p:spPr/>
        <p:txBody>
          <a:bodyPr/>
          <a:lstStyle/>
          <a:p>
            <a:pPr defTabSz="942255">
              <a:defRPr/>
            </a:pPr>
            <a:fld id="{B4008EB6-D09E-4580-8CD6-DDB14511944F}" type="slidenum">
              <a:rPr lang="en-US">
                <a:solidFill>
                  <a:prstClr val="black"/>
                </a:solidFill>
                <a:latin typeface="Segoe UI" pitchFamily="34" charset="0"/>
              </a:rPr>
              <a:pPr defTabSz="942255">
                <a:defRPr/>
              </a:pPr>
              <a:t>7</a:t>
            </a:fld>
            <a:endParaRPr lang="en-US">
              <a:solidFill>
                <a:prstClr val="black"/>
              </a:solidFill>
              <a:latin typeface="Segoe UI" pitchFamily="34" charset="0"/>
            </a:endParaRPr>
          </a:p>
        </p:txBody>
      </p:sp>
    </p:spTree>
    <p:extLst>
      <p:ext uri="{BB962C8B-B14F-4D97-AF65-F5344CB8AC3E}">
        <p14:creationId xmlns:p14="http://schemas.microsoft.com/office/powerpoint/2010/main" val="20632017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2/10/2026 8: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40795281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42289">
              <a:defRPr/>
            </a:pPr>
            <a:fld id="{F7021451-1387-4CA6-816F-3879F97B5CBC}" type="slidenum">
              <a:rPr lang="en-US">
                <a:solidFill>
                  <a:prstClr val="black"/>
                </a:solidFill>
                <a:latin typeface="Calibri" panose="020F0502020204030204"/>
              </a:rPr>
              <a:pPr defTabSz="942289">
                <a:defRPr/>
              </a:pPr>
              <a:t>9</a:t>
            </a:fld>
            <a:endParaRPr lang="en-US">
              <a:solidFill>
                <a:prstClr val="black"/>
              </a:solidFill>
              <a:latin typeface="Calibri" panose="020F0502020204030204"/>
            </a:endParaRPr>
          </a:p>
        </p:txBody>
      </p:sp>
    </p:spTree>
    <p:extLst>
      <p:ext uri="{BB962C8B-B14F-4D97-AF65-F5344CB8AC3E}">
        <p14:creationId xmlns:p14="http://schemas.microsoft.com/office/powerpoint/2010/main" val="1024086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C3FA18-E77F-D72D-9CDE-0A5E18100D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BDC0DA-6828-742F-2FE2-36CC4E0117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F03DCA-BF22-FF75-EA11-9E26F121080D}"/>
              </a:ext>
            </a:extLst>
          </p:cNvPr>
          <p:cNvSpPr>
            <a:spLocks noGrp="1"/>
          </p:cNvSpPr>
          <p:nvPr>
            <p:ph type="body" idx="1"/>
          </p:nvPr>
        </p:nvSpPr>
        <p:spPr/>
        <p:txBody>
          <a:bodyPr/>
          <a:lstStyle/>
          <a:p>
            <a:pPr defTabSz="942289">
              <a:defRPr/>
            </a:pPr>
            <a:endParaRPr lang="en-US"/>
          </a:p>
        </p:txBody>
      </p:sp>
      <p:sp>
        <p:nvSpPr>
          <p:cNvPr id="4" name="Header Placeholder 3">
            <a:extLst>
              <a:ext uri="{FF2B5EF4-FFF2-40B4-BE49-F238E27FC236}">
                <a16:creationId xmlns:a16="http://schemas.microsoft.com/office/drawing/2014/main" id="{ED85A90E-B848-6463-C2F0-5FB855F544B4}"/>
              </a:ext>
            </a:extLst>
          </p:cNvPr>
          <p:cNvSpPr>
            <a:spLocks noGrp="1"/>
          </p:cNvSpPr>
          <p:nvPr>
            <p:ph type="hdr" sz="quarter"/>
          </p:nvPr>
        </p:nvSpPr>
        <p:spPr/>
        <p:txBody>
          <a:bodyPr/>
          <a:lstStyle/>
          <a:p>
            <a:pPr defTabSz="942255">
              <a:defRPr/>
            </a:pPr>
            <a:endParaRPr lang="en-US">
              <a:solidFill>
                <a:prstClr val="black"/>
              </a:solidFill>
              <a:latin typeface="Segoe UI" pitchFamily="34" charset="0"/>
            </a:endParaRPr>
          </a:p>
        </p:txBody>
      </p:sp>
      <p:sp>
        <p:nvSpPr>
          <p:cNvPr id="5" name="Footer Placeholder 4">
            <a:extLst>
              <a:ext uri="{FF2B5EF4-FFF2-40B4-BE49-F238E27FC236}">
                <a16:creationId xmlns:a16="http://schemas.microsoft.com/office/drawing/2014/main" id="{0D74575C-4DBF-8E84-3D76-D804FE87B340}"/>
              </a:ext>
            </a:extLst>
          </p:cNvPr>
          <p:cNvSpPr>
            <a:spLocks noGrp="1"/>
          </p:cNvSpPr>
          <p:nvPr>
            <p:ph type="ftr" sz="quarter" idx="4"/>
          </p:nvPr>
        </p:nvSpPr>
        <p:spPr/>
        <p:txBody>
          <a:bodyPr/>
          <a:lstStyle/>
          <a:p>
            <a:pPr defTabSz="94197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6A1849A-4C5E-33C4-42E2-755210F02947}"/>
              </a:ext>
            </a:extLst>
          </p:cNvPr>
          <p:cNvSpPr>
            <a:spLocks noGrp="1"/>
          </p:cNvSpPr>
          <p:nvPr>
            <p:ph type="dt" idx="1"/>
          </p:nvPr>
        </p:nvSpPr>
        <p:spPr/>
        <p:txBody>
          <a:bodyPr/>
          <a:lstStyle/>
          <a:p>
            <a:pPr defTabSz="942255">
              <a:defRPr/>
            </a:pPr>
            <a:fld id="{386CE63F-9E7F-4C04-9D0D-FCA25A8E9E86}" type="datetime8">
              <a:rPr lang="en-US">
                <a:solidFill>
                  <a:prstClr val="black"/>
                </a:solidFill>
                <a:latin typeface="Segoe UI" pitchFamily="34" charset="0"/>
              </a:rPr>
              <a:pPr defTabSz="942255">
                <a:defRPr/>
              </a:pPr>
              <a:t>2/10/2026 8:07 AM</a:t>
            </a:fld>
            <a:endParaRPr lang="en-US">
              <a:solidFill>
                <a:prstClr val="black"/>
              </a:solidFill>
              <a:latin typeface="Segoe UI" pitchFamily="34" charset="0"/>
            </a:endParaRPr>
          </a:p>
        </p:txBody>
      </p:sp>
      <p:sp>
        <p:nvSpPr>
          <p:cNvPr id="7" name="Slide Number Placeholder 6">
            <a:extLst>
              <a:ext uri="{FF2B5EF4-FFF2-40B4-BE49-F238E27FC236}">
                <a16:creationId xmlns:a16="http://schemas.microsoft.com/office/drawing/2014/main" id="{04C0B1FC-EE8C-946D-E912-69C320A24A10}"/>
              </a:ext>
            </a:extLst>
          </p:cNvPr>
          <p:cNvSpPr>
            <a:spLocks noGrp="1"/>
          </p:cNvSpPr>
          <p:nvPr>
            <p:ph type="sldNum" sz="quarter" idx="5"/>
          </p:nvPr>
        </p:nvSpPr>
        <p:spPr/>
        <p:txBody>
          <a:bodyPr/>
          <a:lstStyle/>
          <a:p>
            <a:pPr defTabSz="942255">
              <a:defRPr/>
            </a:pPr>
            <a:fld id="{B4008EB6-D09E-4580-8CD6-DDB14511944F}" type="slidenum">
              <a:rPr lang="en-US">
                <a:solidFill>
                  <a:prstClr val="black"/>
                </a:solidFill>
                <a:latin typeface="Segoe UI" pitchFamily="34" charset="0"/>
              </a:rPr>
              <a:pPr defTabSz="942255">
                <a:defRPr/>
              </a:pPr>
              <a:t>10</a:t>
            </a:fld>
            <a:endParaRPr lang="en-US">
              <a:solidFill>
                <a:prstClr val="black"/>
              </a:solidFill>
              <a:latin typeface="Segoe UI" pitchFamily="34" charset="0"/>
            </a:endParaRPr>
          </a:p>
        </p:txBody>
      </p:sp>
    </p:spTree>
    <p:extLst>
      <p:ext uri="{BB962C8B-B14F-4D97-AF65-F5344CB8AC3E}">
        <p14:creationId xmlns:p14="http://schemas.microsoft.com/office/powerpoint/2010/main" val="36218592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ACA4C-AC1C-8944-5775-92F987FC99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7F354B-C8B6-E5C5-518E-1E4E5C4519E4}"/>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4F175D39-64F5-50A5-6A48-337543E69EA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DD89E19-453C-2A72-D027-AF449274DF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A89867-10D3-408F-B5D4-6ED1302B31D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439281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emf"/><Relationship Id="rId2"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5.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eg"/><Relationship Id="rId1" Type="http://schemas.openxmlformats.org/officeDocument/2006/relationships/slideMaster" Target="../slideMasters/slideMaster2.xml"/><Relationship Id="rId4" Type="http://schemas.openxmlformats.org/officeDocument/2006/relationships/image" Target="../media/image50.pn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jpeg"/><Relationship Id="rId1" Type="http://schemas.openxmlformats.org/officeDocument/2006/relationships/slideMaster" Target="../slideMasters/slideMaster2.xml"/><Relationship Id="rId4" Type="http://schemas.openxmlformats.org/officeDocument/2006/relationships/image" Target="../media/image50.pn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1.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22.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jpe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8.jpe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jpeg"/><Relationship Id="rId1" Type="http://schemas.openxmlformats.org/officeDocument/2006/relationships/slideMaster" Target="../slideMasters/slideMaster3.xml"/><Relationship Id="rId4" Type="http://schemas.openxmlformats.org/officeDocument/2006/relationships/image" Target="../media/image59.jpe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62.png"/><Relationship Id="rId1" Type="http://schemas.openxmlformats.org/officeDocument/2006/relationships/slideMaster" Target="../slideMasters/slideMaster3.xml"/><Relationship Id="rId4" Type="http://schemas.openxmlformats.org/officeDocument/2006/relationships/image" Target="../media/image6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jpeg"/><Relationship Id="rId1" Type="http://schemas.openxmlformats.org/officeDocument/2006/relationships/slideMaster" Target="../slideMasters/slideMaster3.xml"/><Relationship Id="rId4" Type="http://schemas.openxmlformats.org/officeDocument/2006/relationships/image" Target="../media/image64.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Master" Target="../slideMasters/slideMaster3.xml"/><Relationship Id="rId6" Type="http://schemas.openxmlformats.org/officeDocument/2006/relationships/image" Target="../media/image70.png"/><Relationship Id="rId5" Type="http://schemas.openxmlformats.org/officeDocument/2006/relationships/image" Target="../media/image69.jpeg"/><Relationship Id="rId4" Type="http://schemas.microsoft.com/office/2007/relationships/hdphoto" Target="../media/hdphoto7.wdp"/></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71.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3.xml"/><Relationship Id="rId4" Type="http://schemas.openxmlformats.org/officeDocument/2006/relationships/image" Target="../media/image36.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jpeg"/><Relationship Id="rId1" Type="http://schemas.openxmlformats.org/officeDocument/2006/relationships/slideMaster" Target="../slideMasters/slideMaster3.xml"/><Relationship Id="rId5" Type="http://schemas.openxmlformats.org/officeDocument/2006/relationships/image" Target="../media/image77.jpeg"/><Relationship Id="rId4" Type="http://schemas.openxmlformats.org/officeDocument/2006/relationships/image" Target="../media/image76.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e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80.jpeg"/><Relationship Id="rId1" Type="http://schemas.openxmlformats.org/officeDocument/2006/relationships/slideMaster" Target="../slideMasters/slideMaster3.xml"/><Relationship Id="rId4" Type="http://schemas.openxmlformats.org/officeDocument/2006/relationships/image" Target="../media/image82.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jpeg"/><Relationship Id="rId1" Type="http://schemas.openxmlformats.org/officeDocument/2006/relationships/slideMaster" Target="../slideMasters/slideMaster3.xml"/><Relationship Id="rId5" Type="http://schemas.openxmlformats.org/officeDocument/2006/relationships/image" Target="../media/image86.jpeg"/><Relationship Id="rId4" Type="http://schemas.openxmlformats.org/officeDocument/2006/relationships/image" Target="../media/image85.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jpeg"/><Relationship Id="rId1" Type="http://schemas.openxmlformats.org/officeDocument/2006/relationships/slideMaster" Target="../slideMasters/slideMaster3.xml"/><Relationship Id="rId6" Type="http://schemas.openxmlformats.org/officeDocument/2006/relationships/image" Target="../media/image91.jpeg"/><Relationship Id="rId5" Type="http://schemas.openxmlformats.org/officeDocument/2006/relationships/image" Target="../media/image90.jpeg"/><Relationship Id="rId4" Type="http://schemas.openxmlformats.org/officeDocument/2006/relationships/image" Target="../media/image89.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jpeg"/><Relationship Id="rId1" Type="http://schemas.openxmlformats.org/officeDocument/2006/relationships/slideMaster" Target="../slideMasters/slideMaster3.xml"/><Relationship Id="rId4" Type="http://schemas.openxmlformats.org/officeDocument/2006/relationships/image" Target="../media/image94.pn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jpeg"/><Relationship Id="rId1" Type="http://schemas.openxmlformats.org/officeDocument/2006/relationships/slideMaster" Target="../slideMasters/slideMaster3.xml"/><Relationship Id="rId5" Type="http://schemas.openxmlformats.org/officeDocument/2006/relationships/image" Target="../media/image95.jpeg"/><Relationship Id="rId4" Type="http://schemas.openxmlformats.org/officeDocument/2006/relationships/image" Target="../media/image94.pn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jpeg"/><Relationship Id="rId1" Type="http://schemas.openxmlformats.org/officeDocument/2006/relationships/slideMaster" Target="../slideMasters/slideMaster3.xml"/><Relationship Id="rId6" Type="http://schemas.openxmlformats.org/officeDocument/2006/relationships/image" Target="../media/image100.jpeg"/><Relationship Id="rId5" Type="http://schemas.openxmlformats.org/officeDocument/2006/relationships/image" Target="../media/image99.jpeg"/><Relationship Id="rId4" Type="http://schemas.openxmlformats.org/officeDocument/2006/relationships/image" Target="../media/image98.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101.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image" Target="../media/image103.jpe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Master" Target="../slideMasters/slideMaster3.xml"/><Relationship Id="rId4" Type="http://schemas.microsoft.com/office/2007/relationships/hdphoto" Target="../media/hdphoto8.wdp"/></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Master" Target="../slideMasters/slideMaster3.xml"/><Relationship Id="rId4" Type="http://schemas.openxmlformats.org/officeDocument/2006/relationships/image" Target="../media/image118.svg"/></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22.png"/><Relationship Id="rId1" Type="http://schemas.openxmlformats.org/officeDocument/2006/relationships/slideMaster" Target="../slideMasters/slideMaster3.xml"/><Relationship Id="rId5" Type="http://schemas.openxmlformats.org/officeDocument/2006/relationships/image" Target="../media/image124.svg"/><Relationship Id="rId4" Type="http://schemas.openxmlformats.org/officeDocument/2006/relationships/image" Target="../media/image123.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26.svg"/><Relationship Id="rId2" Type="http://schemas.openxmlformats.org/officeDocument/2006/relationships/image" Target="../media/image125.pn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27.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55.jpe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58.jpe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55.jpeg"/><Relationship Id="rId1" Type="http://schemas.openxmlformats.org/officeDocument/2006/relationships/slideMaster" Target="../slideMasters/slideMaster4.xml"/><Relationship Id="rId4" Type="http://schemas.openxmlformats.org/officeDocument/2006/relationships/image" Target="../media/image59.jpeg"/></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emf"/><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0.png"/></Relationships>
</file>

<file path=ppt/slideLayouts/_rels/slideLayout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32.jpeg"/><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1.pn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33.png"/><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jpeg"/><Relationship Id="rId1" Type="http://schemas.openxmlformats.org/officeDocument/2006/relationships/slideMaster" Target="../slideMasters/slideMaster4.xml"/><Relationship Id="rId4" Type="http://schemas.openxmlformats.org/officeDocument/2006/relationships/image" Target="../media/image122.pn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Master" Target="../slideMasters/slideMaster4.xml"/><Relationship Id="rId6" Type="http://schemas.openxmlformats.org/officeDocument/2006/relationships/image" Target="../media/image70.png"/><Relationship Id="rId5" Type="http://schemas.openxmlformats.org/officeDocument/2006/relationships/image" Target="../media/image60.jpeg"/><Relationship Id="rId4" Type="http://schemas.microsoft.com/office/2007/relationships/hdphoto" Target="../media/hdphoto7.wdp"/></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71.png"/><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4.xml"/><Relationship Id="rId4" Type="http://schemas.openxmlformats.org/officeDocument/2006/relationships/image" Target="../media/image36.pn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jpeg"/><Relationship Id="rId1" Type="http://schemas.openxmlformats.org/officeDocument/2006/relationships/slideMaster" Target="../slideMasters/slideMaster4.xml"/><Relationship Id="rId5" Type="http://schemas.openxmlformats.org/officeDocument/2006/relationships/image" Target="../media/image77.jpeg"/><Relationship Id="rId4" Type="http://schemas.openxmlformats.org/officeDocument/2006/relationships/image" Target="../media/image76.pn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e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80.jpeg"/><Relationship Id="rId1" Type="http://schemas.openxmlformats.org/officeDocument/2006/relationships/slideMaster" Target="../slideMasters/slideMaster4.xml"/><Relationship Id="rId4" Type="http://schemas.openxmlformats.org/officeDocument/2006/relationships/image" Target="../media/image82.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jpeg"/><Relationship Id="rId1" Type="http://schemas.openxmlformats.org/officeDocument/2006/relationships/slideMaster" Target="../slideMasters/slideMaster4.xml"/><Relationship Id="rId5" Type="http://schemas.openxmlformats.org/officeDocument/2006/relationships/image" Target="../media/image86.jpeg"/><Relationship Id="rId4" Type="http://schemas.openxmlformats.org/officeDocument/2006/relationships/image" Target="../media/image85.pn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jpeg"/><Relationship Id="rId1" Type="http://schemas.openxmlformats.org/officeDocument/2006/relationships/slideMaster" Target="../slideMasters/slideMaster4.xml"/><Relationship Id="rId6" Type="http://schemas.openxmlformats.org/officeDocument/2006/relationships/image" Target="../media/image91.jpeg"/><Relationship Id="rId5" Type="http://schemas.openxmlformats.org/officeDocument/2006/relationships/image" Target="../media/image90.jpeg"/><Relationship Id="rId4" Type="http://schemas.openxmlformats.org/officeDocument/2006/relationships/image" Target="../media/image89.pn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jpeg"/><Relationship Id="rId1" Type="http://schemas.openxmlformats.org/officeDocument/2006/relationships/slideMaster" Target="../slideMasters/slideMaster4.xml"/><Relationship Id="rId4" Type="http://schemas.openxmlformats.org/officeDocument/2006/relationships/image" Target="../media/image9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8.jpeg"/><Relationship Id="rId1" Type="http://schemas.openxmlformats.org/officeDocument/2006/relationships/slideMaster" Target="../slideMasters/slideMaster1.xml"/><Relationship Id="rId4" Type="http://schemas.openxmlformats.org/officeDocument/2006/relationships/image" Target="../media/image29.emf"/></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jpeg"/><Relationship Id="rId1" Type="http://schemas.openxmlformats.org/officeDocument/2006/relationships/slideMaster" Target="../slideMasters/slideMaster4.xml"/><Relationship Id="rId5" Type="http://schemas.openxmlformats.org/officeDocument/2006/relationships/image" Target="../media/image95.jpeg"/><Relationship Id="rId4" Type="http://schemas.openxmlformats.org/officeDocument/2006/relationships/image" Target="../media/image94.pn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jpeg"/><Relationship Id="rId1" Type="http://schemas.openxmlformats.org/officeDocument/2006/relationships/slideMaster" Target="../slideMasters/slideMaster4.xml"/><Relationship Id="rId6" Type="http://schemas.openxmlformats.org/officeDocument/2006/relationships/image" Target="../media/image100.jpeg"/><Relationship Id="rId5" Type="http://schemas.openxmlformats.org/officeDocument/2006/relationships/image" Target="../media/image99.jpeg"/><Relationship Id="rId4" Type="http://schemas.openxmlformats.org/officeDocument/2006/relationships/image" Target="../media/image98.pn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image" Target="../media/image101.png"/><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image" Target="../media/image103.jpeg"/><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36.jpeg"/><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14.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Master" Target="../slideMasters/slideMaster4.xml"/><Relationship Id="rId4" Type="http://schemas.openxmlformats.org/officeDocument/2006/relationships/image" Target="../media/image118.svg"/></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0.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22.png"/><Relationship Id="rId1" Type="http://schemas.openxmlformats.org/officeDocument/2006/relationships/slideMaster" Target="../slideMasters/slideMaster4.xml"/><Relationship Id="rId5" Type="http://schemas.openxmlformats.org/officeDocument/2006/relationships/image" Target="../media/image124.svg"/><Relationship Id="rId4" Type="http://schemas.openxmlformats.org/officeDocument/2006/relationships/image" Target="../media/image123.pn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126.svg"/><Relationship Id="rId2" Type="http://schemas.openxmlformats.org/officeDocument/2006/relationships/image" Target="../media/image125.png"/><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27.jpeg"/><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4.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5.pn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57.png"/><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58.jpe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55.jpeg"/><Relationship Id="rId1" Type="http://schemas.openxmlformats.org/officeDocument/2006/relationships/slideMaster" Target="../slideMasters/slideMaster5.xml"/><Relationship Id="rId4" Type="http://schemas.openxmlformats.org/officeDocument/2006/relationships/image" Target="../media/image59.jpe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jpeg"/><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emf"/><Relationship Id="rId2" Type="http://schemas.openxmlformats.org/officeDocument/2006/relationships/image" Target="../media/image140.jpeg"/><Relationship Id="rId1" Type="http://schemas.openxmlformats.org/officeDocument/2006/relationships/slideMaster" Target="../slideMasters/slideMaster6.xml"/><Relationship Id="rId6" Type="http://schemas.openxmlformats.org/officeDocument/2006/relationships/image" Target="../media/image7.svg"/><Relationship Id="rId5" Type="http://schemas.openxmlformats.org/officeDocument/2006/relationships/image" Target="../media/image6.png"/><Relationship Id="rId4" Type="http://schemas.microsoft.com/office/2007/relationships/hdphoto" Target="../media/hdphoto1.wdp"/></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142.png"/><Relationship Id="rId7" Type="http://schemas.openxmlformats.org/officeDocument/2006/relationships/image" Target="../media/image1.emf"/><Relationship Id="rId2" Type="http://schemas.openxmlformats.org/officeDocument/2006/relationships/image" Target="../media/image141.jpeg"/><Relationship Id="rId1" Type="http://schemas.openxmlformats.org/officeDocument/2006/relationships/slideMaster" Target="../slideMasters/slideMaster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43.pn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jpeg"/><Relationship Id="rId1" Type="http://schemas.openxmlformats.org/officeDocument/2006/relationships/slideMaster" Target="../slideMasters/slideMaster6.xml"/><Relationship Id="rId6" Type="http://schemas.openxmlformats.org/officeDocument/2006/relationships/image" Target="../media/image1.emf"/><Relationship Id="rId5" Type="http://schemas.openxmlformats.org/officeDocument/2006/relationships/image" Target="../media/image14.svg"/><Relationship Id="rId4" Type="http://schemas.openxmlformats.org/officeDocument/2006/relationships/image" Target="../media/image13.png"/></Relationships>
</file>

<file path=ppt/slideLayouts/_rels/slideLayout293.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146.png"/><Relationship Id="rId7" Type="http://schemas.openxmlformats.org/officeDocument/2006/relationships/image" Target="../media/image13.png"/><Relationship Id="rId2" Type="http://schemas.openxmlformats.org/officeDocument/2006/relationships/image" Target="../media/image15.jpeg"/><Relationship Id="rId1" Type="http://schemas.openxmlformats.org/officeDocument/2006/relationships/slideMaster" Target="../slideMasters/slideMaster6.xml"/><Relationship Id="rId6" Type="http://schemas.openxmlformats.org/officeDocument/2006/relationships/image" Target="../media/image19.png"/><Relationship Id="rId5" Type="http://schemas.openxmlformats.org/officeDocument/2006/relationships/image" Target="../media/image148.png"/><Relationship Id="rId4" Type="http://schemas.openxmlformats.org/officeDocument/2006/relationships/image" Target="../media/image147.png"/><Relationship Id="rId9" Type="http://schemas.openxmlformats.org/officeDocument/2006/relationships/image" Target="../media/image1.emf"/></Relationships>
</file>

<file path=ppt/slideLayouts/_rels/slideLayout294.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49.png"/><Relationship Id="rId1" Type="http://schemas.openxmlformats.org/officeDocument/2006/relationships/slideMaster" Target="../slideMasters/slideMaster6.xml"/><Relationship Id="rId4" Type="http://schemas.openxmlformats.org/officeDocument/2006/relationships/image" Target="../media/image1.emf"/></Relationships>
</file>

<file path=ppt/slideLayouts/_rels/slideLayout295.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49.png"/><Relationship Id="rId1" Type="http://schemas.openxmlformats.org/officeDocument/2006/relationships/slideMaster" Target="../slideMasters/slideMaster6.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5.png"/></Relationships>
</file>

<file path=ppt/slideLayouts/_rels/slideLayout296.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49.png"/><Relationship Id="rId1" Type="http://schemas.openxmlformats.org/officeDocument/2006/relationships/slideMaster" Target="../slideMasters/slideMaster6.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5.pn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image" Target="../media/image141.jpeg"/><Relationship Id="rId1" Type="http://schemas.openxmlformats.org/officeDocument/2006/relationships/slideMaster" Target="../slideMasters/slideMaster6.xml"/><Relationship Id="rId6" Type="http://schemas.openxmlformats.org/officeDocument/2006/relationships/image" Target="../media/image1.emf"/><Relationship Id="rId5" Type="http://schemas.openxmlformats.org/officeDocument/2006/relationships/image" Target="../media/image143.png"/><Relationship Id="rId4" Type="http://schemas.openxmlformats.org/officeDocument/2006/relationships/image" Target="../media/image142.png"/></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jpeg"/><Relationship Id="rId1" Type="http://schemas.openxmlformats.org/officeDocument/2006/relationships/slideMaster" Target="../slideMasters/slideMaster6.xml"/><Relationship Id="rId4" Type="http://schemas.openxmlformats.org/officeDocument/2006/relationships/image" Target="../media/image1.emf"/></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146.png"/><Relationship Id="rId7" Type="http://schemas.openxmlformats.org/officeDocument/2006/relationships/image" Target="../media/image1.emf"/><Relationship Id="rId2" Type="http://schemas.openxmlformats.org/officeDocument/2006/relationships/image" Target="../media/image15.jpeg"/><Relationship Id="rId1" Type="http://schemas.openxmlformats.org/officeDocument/2006/relationships/slideMaster" Target="../slideMasters/slideMaster6.xml"/><Relationship Id="rId6" Type="http://schemas.openxmlformats.org/officeDocument/2006/relationships/image" Target="../media/image19.png"/><Relationship Id="rId5" Type="http://schemas.openxmlformats.org/officeDocument/2006/relationships/image" Target="../media/image148.png"/><Relationship Id="rId4" Type="http://schemas.openxmlformats.org/officeDocument/2006/relationships/image" Target="../media/image147.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14.svg"/><Relationship Id="rId4" Type="http://schemas.openxmlformats.org/officeDocument/2006/relationships/image" Target="../media/image1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8.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3.jpeg"/></Relationships>
</file>

<file path=ppt/slideLayouts/_rels/slideLayout300.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150.png"/><Relationship Id="rId1" Type="http://schemas.openxmlformats.org/officeDocument/2006/relationships/slideMaster" Target="../slideMasters/slideMaster6.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5.png"/></Relationships>
</file>

<file path=ppt/slideLayouts/_rels/slideLayout301.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150.png"/><Relationship Id="rId1" Type="http://schemas.openxmlformats.org/officeDocument/2006/relationships/slideMaster" Target="../slideMasters/slideMaster6.xml"/><Relationship Id="rId5" Type="http://schemas.openxmlformats.org/officeDocument/2006/relationships/image" Target="../media/image1.emf"/><Relationship Id="rId4" Type="http://schemas.openxmlformats.org/officeDocument/2006/relationships/image" Target="../media/image151.png"/></Relationships>
</file>

<file path=ppt/slideLayouts/_rels/slideLayout302.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150.png"/><Relationship Id="rId1" Type="http://schemas.openxmlformats.org/officeDocument/2006/relationships/slideMaster" Target="../slideMasters/slideMaster6.xml"/><Relationship Id="rId4" Type="http://schemas.openxmlformats.org/officeDocument/2006/relationships/image" Target="../media/image1.emf"/></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52.jpeg"/><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53.jpeg"/><Relationship Id="rId1" Type="http://schemas.openxmlformats.org/officeDocument/2006/relationships/slideMaster" Target="../slideMasters/slideMaster6.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54.jpeg"/><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55.jpeg"/><Relationship Id="rId1" Type="http://schemas.openxmlformats.org/officeDocument/2006/relationships/slideMaster" Target="../slideMasters/slideMaster6.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56.jpeg"/><Relationship Id="rId1" Type="http://schemas.openxmlformats.org/officeDocument/2006/relationships/slideMaster" Target="../slideMasters/slideMaster6.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57.jpeg"/><Relationship Id="rId1" Type="http://schemas.openxmlformats.org/officeDocument/2006/relationships/slideMaster" Target="../slideMasters/slideMaster6.xml"/></Relationships>
</file>

<file path=ppt/slideLayouts/_rels/slideLayout309.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49.png"/><Relationship Id="rId1" Type="http://schemas.openxmlformats.org/officeDocument/2006/relationships/slideMaster" Target="../slideMasters/slideMaster6.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8.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36.png"/><Relationship Id="rId4" Type="http://schemas.openxmlformats.org/officeDocument/2006/relationships/image" Target="../media/image35.jpeg"/></Relationships>
</file>

<file path=ppt/slideLayouts/_rels/slideLayout310.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49.png"/><Relationship Id="rId1" Type="http://schemas.openxmlformats.org/officeDocument/2006/relationships/slideMaster" Target="../slideMasters/slideMaster6.xml"/><Relationship Id="rId4" Type="http://schemas.openxmlformats.org/officeDocument/2006/relationships/image" Target="../media/image1.emf"/></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57.jpeg"/><Relationship Id="rId1" Type="http://schemas.openxmlformats.org/officeDocument/2006/relationships/slideMaster" Target="../slideMasters/slideMaster6.xml"/><Relationship Id="rId4" Type="http://schemas.openxmlformats.org/officeDocument/2006/relationships/image" Target="../media/image29.emf"/></Relationships>
</file>

<file path=ppt/slideLayouts/_rels/slideLayout313.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49.png"/><Relationship Id="rId1" Type="http://schemas.openxmlformats.org/officeDocument/2006/relationships/slideMaster" Target="../slideMasters/slideMaster6.xml"/><Relationship Id="rId4" Type="http://schemas.openxmlformats.org/officeDocument/2006/relationships/image" Target="../media/image1.emf"/></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52.jpeg"/><Relationship Id="rId1" Type="http://schemas.openxmlformats.org/officeDocument/2006/relationships/slideMaster" Target="../slideMasters/slideMaster6.xml"/></Relationships>
</file>

<file path=ppt/slideLayouts/_rels/slideLayout315.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158.png"/><Relationship Id="rId1" Type="http://schemas.openxmlformats.org/officeDocument/2006/relationships/slideMaster" Target="../slideMasters/slideMaster6.xml"/><Relationship Id="rId4" Type="http://schemas.openxmlformats.org/officeDocument/2006/relationships/image" Target="../media/image1.emf"/></Relationships>
</file>

<file path=ppt/slideLayouts/_rels/slideLayout316.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159.png"/><Relationship Id="rId1" Type="http://schemas.openxmlformats.org/officeDocument/2006/relationships/slideMaster" Target="../slideMasters/slideMaster6.xml"/><Relationship Id="rId4" Type="http://schemas.openxmlformats.org/officeDocument/2006/relationships/image" Target="../media/image1.emf"/></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57.jpeg"/><Relationship Id="rId1" Type="http://schemas.openxmlformats.org/officeDocument/2006/relationships/slideMaster" Target="../slideMasters/slideMaster6.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57.jpeg"/><Relationship Id="rId1" Type="http://schemas.openxmlformats.org/officeDocument/2006/relationships/slideMaster" Target="../slideMasters/slideMaster6.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157.jpeg"/><Relationship Id="rId1" Type="http://schemas.openxmlformats.org/officeDocument/2006/relationships/slideMaster" Target="../slideMasters/slideMaster6.xml"/><Relationship Id="rId5" Type="http://schemas.openxmlformats.org/officeDocument/2006/relationships/image" Target="../media/image1.emf"/><Relationship Id="rId4" Type="http://schemas.openxmlformats.org/officeDocument/2006/relationships/image" Target="../media/image33.jpeg"/></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157.jpeg"/><Relationship Id="rId1" Type="http://schemas.openxmlformats.org/officeDocument/2006/relationships/slideMaster" Target="../slideMasters/slideMaster6.xml"/><Relationship Id="rId6" Type="http://schemas.openxmlformats.org/officeDocument/2006/relationships/image" Target="../media/image1.emf"/><Relationship Id="rId5" Type="http://schemas.openxmlformats.org/officeDocument/2006/relationships/image" Target="../media/image36.png"/><Relationship Id="rId4" Type="http://schemas.openxmlformats.org/officeDocument/2006/relationships/image" Target="../media/image35.jpeg"/></Relationships>
</file>

<file path=ppt/slideLayouts/_rels/slideLayout321.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49.png"/><Relationship Id="rId1" Type="http://schemas.openxmlformats.org/officeDocument/2006/relationships/slideMaster" Target="../slideMasters/slideMaster6.xml"/><Relationship Id="rId4" Type="http://schemas.openxmlformats.org/officeDocument/2006/relationships/image" Target="../media/image1.emf"/></Relationships>
</file>

<file path=ppt/slideLayouts/_rels/slideLayout322.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49.png"/><Relationship Id="rId1" Type="http://schemas.openxmlformats.org/officeDocument/2006/relationships/slideMaster" Target="../slideMasters/slideMaster6.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5.png"/></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6.xml"/><Relationship Id="rId4" Type="http://schemas.openxmlformats.org/officeDocument/2006/relationships/image" Target="../media/image36.png"/></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1.xml"/><Relationship Id="rId4" Type="http://schemas.openxmlformats.org/officeDocument/2006/relationships/image" Target="../media/image36.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16.png"/><Relationship Id="rId7" Type="http://schemas.openxmlformats.org/officeDocument/2006/relationships/image" Target="../media/image13.png"/><Relationship Id="rId2"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 Id="rId5" Type="http://schemas.openxmlformats.org/officeDocument/2006/relationships/image" Target="../media/image44.svg"/><Relationship Id="rId4" Type="http://schemas.openxmlformats.org/officeDocument/2006/relationships/image" Target="../media/image43.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5.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10.png"/><Relationship Id="rId4"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B53FBF24-EE52-9152-2D40-87550FF4CB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09893" cy="6858000"/>
          </a:xfrm>
          <a:prstGeom prst="rect">
            <a:avLst/>
          </a:prstGeom>
        </p:spPr>
      </p:pic>
      <p:pic>
        <p:nvPicPr>
          <p:cNvPr id="6" name="Picture 5" descr="A close up of a corner of a paper&#10;&#10;AI-generated content may be incorrect.">
            <a:extLst>
              <a:ext uri="{FF2B5EF4-FFF2-40B4-BE49-F238E27FC236}">
                <a16:creationId xmlns:a16="http://schemas.microsoft.com/office/drawing/2014/main" id="{58082223-228D-0D73-1BE9-2EF2BFACD893}"/>
              </a:ext>
            </a:extLst>
          </p:cNvPr>
          <p:cNvPicPr>
            <a:picLocks noChangeAspect="1"/>
          </p:cNvPicPr>
          <p:nvPr userDrawn="1"/>
        </p:nvPicPr>
        <p:blipFill>
          <a:blip r:embed="rId3">
            <a:alphaModFix amt="85000"/>
            <a:extLst>
              <a:ext uri="{BEBA8EAE-BF5A-486C-A8C5-ECC9F3942E4B}">
                <a14:imgProps xmlns:a14="http://schemas.microsoft.com/office/drawing/2010/main">
                  <a14:imgLayer r:embed="rId4">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835" t="-3489" r="308" b="3489"/>
          <a:stretch>
            <a:fillRect/>
          </a:stretch>
        </p:blipFill>
        <p:spPr>
          <a:xfrm rot="5400000" flipV="1">
            <a:off x="5793471" y="281511"/>
            <a:ext cx="6730538" cy="6125480"/>
          </a:xfrm>
          <a:prstGeom prst="rect">
            <a:avLst/>
          </a:prstGeom>
        </p:spPr>
      </p:pic>
      <p:pic>
        <p:nvPicPr>
          <p:cNvPr id="9" name="Graphic 8">
            <a:extLst>
              <a:ext uri="{FF2B5EF4-FFF2-40B4-BE49-F238E27FC236}">
                <a16:creationId xmlns:a16="http://schemas.microsoft.com/office/drawing/2014/main" id="{2D81F35F-51EF-1A05-D21F-30E9EB908F3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1040" y="713232"/>
            <a:ext cx="1337566" cy="705394"/>
          </a:xfrm>
          <a:prstGeom prst="rect">
            <a:avLst/>
          </a:prstGeom>
        </p:spPr>
      </p:pic>
      <p:pic>
        <p:nvPicPr>
          <p:cNvPr id="13" name="Picture 12">
            <a:extLst>
              <a:ext uri="{FF2B5EF4-FFF2-40B4-BE49-F238E27FC236}">
                <a16:creationId xmlns:a16="http://schemas.microsoft.com/office/drawing/2014/main" id="{5349DB46-2E1F-33DC-CBA7-D279F98549A8}"/>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B0CEF29F-AD69-0E43-342A-9B87F2F60C02}"/>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B3CE10E-3DEF-3797-28AD-A45FD0739AA4}"/>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1499750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6">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5" name="Title Placeholder 1">
            <a:extLst>
              <a:ext uri="{FF2B5EF4-FFF2-40B4-BE49-F238E27FC236}">
                <a16:creationId xmlns:a16="http://schemas.microsoft.com/office/drawing/2014/main" id="{ABB3877C-3695-9A63-E3CF-23A2DD86137C}"/>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93548173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ustomer story - solution">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EF0480DC-D43B-D9D9-2E0C-F9D364345658}"/>
              </a:ext>
            </a:extLst>
          </p:cNvPr>
          <p:cNvSpPr/>
          <p:nvPr userDrawn="1"/>
        </p:nvSpPr>
        <p:spPr bwMode="auto">
          <a:xfrm>
            <a:off x="-1" y="3984702"/>
            <a:ext cx="3139024" cy="2873298"/>
          </a:xfrm>
          <a:custGeom>
            <a:avLst/>
            <a:gdLst>
              <a:gd name="connsiteX0" fmla="*/ 0 w 3139024"/>
              <a:gd name="connsiteY0" fmla="*/ 0 h 2873298"/>
              <a:gd name="connsiteX1" fmla="*/ 119063 w 3139024"/>
              <a:gd name="connsiteY1" fmla="*/ 0 h 2873298"/>
              <a:gd name="connsiteX2" fmla="*/ 228603 w 3139024"/>
              <a:gd name="connsiteY2" fmla="*/ 109540 h 2873298"/>
              <a:gd name="connsiteX3" fmla="*/ 228603 w 3139024"/>
              <a:gd name="connsiteY3" fmla="*/ 1142892 h 2873298"/>
              <a:gd name="connsiteX4" fmla="*/ 228604 w 3139024"/>
              <a:gd name="connsiteY4" fmla="*/ 1142892 h 2873298"/>
              <a:gd name="connsiteX5" fmla="*/ 228604 w 3139024"/>
              <a:gd name="connsiteY5" fmla="*/ 2296215 h 2873298"/>
              <a:gd name="connsiteX6" fmla="*/ 397337 w 3139024"/>
              <a:gd name="connsiteY6" fmla="*/ 2503243 h 2873298"/>
              <a:gd name="connsiteX7" fmla="*/ 439916 w 3139024"/>
              <a:gd name="connsiteY7" fmla="*/ 2507536 h 2873298"/>
              <a:gd name="connsiteX8" fmla="*/ 2781386 w 3139024"/>
              <a:gd name="connsiteY8" fmla="*/ 2507536 h 2873298"/>
              <a:gd name="connsiteX9" fmla="*/ 2960205 w 3139024"/>
              <a:gd name="connsiteY9" fmla="*/ 2507536 h 2873298"/>
              <a:gd name="connsiteX10" fmla="*/ 3039965 w 3139024"/>
              <a:gd name="connsiteY10" fmla="*/ 2507536 h 2873298"/>
              <a:gd name="connsiteX11" fmla="*/ 3139024 w 3139024"/>
              <a:gd name="connsiteY11" fmla="*/ 2606595 h 2873298"/>
              <a:gd name="connsiteX12" fmla="*/ 3139024 w 3139024"/>
              <a:gd name="connsiteY12" fmla="*/ 2873297 h 2873298"/>
              <a:gd name="connsiteX13" fmla="*/ 3039238 w 3139024"/>
              <a:gd name="connsiteY13" fmla="*/ 2873297 h 2873298"/>
              <a:gd name="connsiteX14" fmla="*/ 3039238 w 3139024"/>
              <a:gd name="connsiteY14" fmla="*/ 2873298 h 2873298"/>
              <a:gd name="connsiteX15" fmla="*/ 2960205 w 3139024"/>
              <a:gd name="connsiteY15" fmla="*/ 2873298 h 2873298"/>
              <a:gd name="connsiteX16" fmla="*/ 2781386 w 3139024"/>
              <a:gd name="connsiteY16" fmla="*/ 2873298 h 2873298"/>
              <a:gd name="connsiteX17" fmla="*/ 1 w 3139024"/>
              <a:gd name="connsiteY17" fmla="*/ 2873298 h 2873298"/>
              <a:gd name="connsiteX18" fmla="*/ 1 w 3139024"/>
              <a:gd name="connsiteY18" fmla="*/ 2285784 h 2873298"/>
              <a:gd name="connsiteX19" fmla="*/ 0 w 3139024"/>
              <a:gd name="connsiteY19" fmla="*/ 2285784 h 2873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9024" h="2873298">
                <a:moveTo>
                  <a:pt x="0" y="0"/>
                </a:moveTo>
                <a:lnTo>
                  <a:pt x="119063" y="0"/>
                </a:lnTo>
                <a:cubicBezTo>
                  <a:pt x="179560" y="0"/>
                  <a:pt x="228603" y="49043"/>
                  <a:pt x="228603" y="109540"/>
                </a:cubicBezTo>
                <a:lnTo>
                  <a:pt x="228603" y="1142892"/>
                </a:lnTo>
                <a:lnTo>
                  <a:pt x="228604" y="1142892"/>
                </a:lnTo>
                <a:lnTo>
                  <a:pt x="228604" y="2296215"/>
                </a:lnTo>
                <a:cubicBezTo>
                  <a:pt x="228604" y="2398336"/>
                  <a:pt x="301041" y="2483538"/>
                  <a:pt x="397337" y="2503243"/>
                </a:cubicBezTo>
                <a:lnTo>
                  <a:pt x="439916" y="2507536"/>
                </a:lnTo>
                <a:lnTo>
                  <a:pt x="2781386" y="2507536"/>
                </a:lnTo>
                <a:lnTo>
                  <a:pt x="2960205" y="2507536"/>
                </a:lnTo>
                <a:lnTo>
                  <a:pt x="3039965" y="2507536"/>
                </a:lnTo>
                <a:cubicBezTo>
                  <a:pt x="3094674" y="2507536"/>
                  <a:pt x="3139024" y="2551886"/>
                  <a:pt x="3139024" y="2606595"/>
                </a:cubicBezTo>
                <a:lnTo>
                  <a:pt x="3139024" y="2873297"/>
                </a:lnTo>
                <a:lnTo>
                  <a:pt x="3039238" y="2873297"/>
                </a:lnTo>
                <a:lnTo>
                  <a:pt x="3039238" y="2873298"/>
                </a:lnTo>
                <a:lnTo>
                  <a:pt x="2960205" y="2873298"/>
                </a:lnTo>
                <a:lnTo>
                  <a:pt x="2781386" y="2873298"/>
                </a:lnTo>
                <a:lnTo>
                  <a:pt x="1" y="2873298"/>
                </a:lnTo>
                <a:lnTo>
                  <a:pt x="1" y="2285784"/>
                </a:lnTo>
                <a:lnTo>
                  <a:pt x="0" y="2285784"/>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4" name="Rectangle: Rounded Corners 3">
            <a:extLst>
              <a:ext uri="{FF2B5EF4-FFF2-40B4-BE49-F238E27FC236}">
                <a16:creationId xmlns:a16="http://schemas.microsoft.com/office/drawing/2014/main" id="{19BC4FD8-13E6-E36B-0AF0-83D53FC2ADF6}"/>
              </a:ext>
            </a:extLst>
          </p:cNvPr>
          <p:cNvSpPr/>
          <p:nvPr userDrawn="1"/>
        </p:nvSpPr>
        <p:spPr bwMode="auto">
          <a:xfrm>
            <a:off x="293689" y="292101"/>
            <a:ext cx="11604624" cy="6114910"/>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0A2D0EB7-84B4-000E-5F45-03A3545FBD21}"/>
              </a:ext>
            </a:extLst>
          </p:cNvPr>
          <p:cNvSpPr/>
          <p:nvPr userDrawn="1"/>
        </p:nvSpPr>
        <p:spPr bwMode="auto">
          <a:xfrm>
            <a:off x="426720" y="428625"/>
            <a:ext cx="4392929" cy="5841862"/>
          </a:xfrm>
          <a:prstGeom prst="roundRect">
            <a:avLst>
              <a:gd name="adj" fmla="val 2323"/>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8B9C755D-AD1A-9CBB-683E-5E945889C890}"/>
              </a:ext>
            </a:extLst>
          </p:cNvPr>
          <p:cNvSpPr/>
          <p:nvPr userDrawn="1"/>
        </p:nvSpPr>
        <p:spPr bwMode="auto">
          <a:xfrm>
            <a:off x="584199" y="4930932"/>
            <a:ext cx="1973431" cy="1188720"/>
          </a:xfrm>
          <a:prstGeom prst="roundRect">
            <a:avLst>
              <a:gd name="adj" fmla="val 5825"/>
            </a:avLst>
          </a:prstGeom>
          <a:solidFill>
            <a:schemeClr val="bg1">
              <a:lumMod val="85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7" name="Rectangle: Rounded Corners 6">
            <a:extLst>
              <a:ext uri="{FF2B5EF4-FFF2-40B4-BE49-F238E27FC236}">
                <a16:creationId xmlns:a16="http://schemas.microsoft.com/office/drawing/2014/main" id="{372B03D8-1E29-7C15-DF23-EC1F15B85ADF}"/>
              </a:ext>
            </a:extLst>
          </p:cNvPr>
          <p:cNvSpPr/>
          <p:nvPr userDrawn="1"/>
        </p:nvSpPr>
        <p:spPr bwMode="auto">
          <a:xfrm>
            <a:off x="2679531" y="4930933"/>
            <a:ext cx="1973431" cy="1186021"/>
          </a:xfrm>
          <a:prstGeom prst="roundRect">
            <a:avLst>
              <a:gd name="adj" fmla="val 5825"/>
            </a:avLst>
          </a:prstGeom>
          <a:solidFill>
            <a:schemeClr val="bg1">
              <a:lumMod val="85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8" name="TextBox 7">
            <a:extLst>
              <a:ext uri="{FF2B5EF4-FFF2-40B4-BE49-F238E27FC236}">
                <a16:creationId xmlns:a16="http://schemas.microsoft.com/office/drawing/2014/main" id="{3A0AEB11-7DC2-7852-7AAE-822F0F4F5625}"/>
              </a:ext>
            </a:extLst>
          </p:cNvPr>
          <p:cNvSpPr txBox="1"/>
          <p:nvPr userDrawn="1"/>
        </p:nvSpPr>
        <p:spPr>
          <a:xfrm>
            <a:off x="5644830" y="2247167"/>
            <a:ext cx="266285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 normalizeH="0" baseline="0" noProof="0">
                <a:ln>
                  <a:noFill/>
                </a:ln>
                <a:solidFill>
                  <a:schemeClr val="bg2"/>
                </a:solidFill>
                <a:effectLst/>
                <a:uLnTx/>
                <a:uFillTx/>
                <a:latin typeface="Segoe UI Semibold"/>
                <a:ea typeface="+mn-ea"/>
                <a:cs typeface="Segoe UI Semibold"/>
              </a:rPr>
              <a:t>Current Solution</a:t>
            </a:r>
            <a:endParaRPr kumimoji="0" lang="en-US" sz="2000" b="0" i="0" u="none" strike="noStrike" kern="1200" cap="none" spc="0" normalizeH="0" baseline="0" noProof="0">
              <a:ln>
                <a:noFill/>
              </a:ln>
              <a:solidFill>
                <a:schemeClr val="bg2"/>
              </a:solidFill>
              <a:effectLst/>
              <a:uLnTx/>
              <a:uFillTx/>
              <a:latin typeface="Segoe UI Semibold"/>
              <a:ea typeface="+mn-ea"/>
              <a:cs typeface="+mn-cs"/>
            </a:endParaRPr>
          </a:p>
        </p:txBody>
      </p:sp>
      <p:cxnSp>
        <p:nvCxnSpPr>
          <p:cNvPr id="9" name="Straight Connector 8">
            <a:extLst>
              <a:ext uri="{FF2B5EF4-FFF2-40B4-BE49-F238E27FC236}">
                <a16:creationId xmlns:a16="http://schemas.microsoft.com/office/drawing/2014/main" id="{CAA820C7-3C5F-5462-BFC3-BD6C0EE85ECA}"/>
              </a:ext>
            </a:extLst>
          </p:cNvPr>
          <p:cNvCxnSpPr>
            <a:cxnSpLocks/>
          </p:cNvCxnSpPr>
          <p:nvPr userDrawn="1"/>
        </p:nvCxnSpPr>
        <p:spPr>
          <a:xfrm flipV="1">
            <a:off x="4978399" y="2767452"/>
            <a:ext cx="3329281" cy="0"/>
          </a:xfrm>
          <a:prstGeom prst="line">
            <a:avLst/>
          </a:prstGeom>
          <a:ln w="25400">
            <a:solidFill>
              <a:schemeClr val="bg1">
                <a:lumMod val="85000"/>
              </a:schemeClr>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822E7B7-A300-3398-92C8-685CE51BE7C0}"/>
              </a:ext>
            </a:extLst>
          </p:cNvPr>
          <p:cNvSpPr txBox="1"/>
          <p:nvPr userDrawn="1"/>
        </p:nvSpPr>
        <p:spPr>
          <a:xfrm>
            <a:off x="9102428" y="2247167"/>
            <a:ext cx="2662850" cy="307777"/>
          </a:xfrm>
          <a:prstGeom prst="rect">
            <a:avLst/>
          </a:prstGeom>
          <a:noFill/>
        </p:spPr>
        <p:txBody>
          <a:bodyPr wrap="square" lIns="0" tIns="0" rIns="0" bIns="0" rtlCol="0">
            <a:spAutoFit/>
          </a:bodyPr>
          <a:lstStyle/>
          <a:p>
            <a:pPr>
              <a:defRPr/>
            </a:pPr>
            <a:r>
              <a:rPr lang="en-US" sz="2000" b="1" spc="-5">
                <a:solidFill>
                  <a:schemeClr val="bg2"/>
                </a:solidFill>
                <a:latin typeface="Segoe UI Semibold"/>
                <a:cs typeface="Segoe UI Semibold"/>
              </a:rPr>
              <a:t>Looking Ahead</a:t>
            </a:r>
          </a:p>
        </p:txBody>
      </p:sp>
      <p:cxnSp>
        <p:nvCxnSpPr>
          <p:cNvPr id="11" name="Straight Connector 10">
            <a:extLst>
              <a:ext uri="{FF2B5EF4-FFF2-40B4-BE49-F238E27FC236}">
                <a16:creationId xmlns:a16="http://schemas.microsoft.com/office/drawing/2014/main" id="{AA4982DC-B8EB-F4C4-1ED0-AC71D8482F9A}"/>
              </a:ext>
            </a:extLst>
          </p:cNvPr>
          <p:cNvCxnSpPr>
            <a:cxnSpLocks/>
          </p:cNvCxnSpPr>
          <p:nvPr userDrawn="1"/>
        </p:nvCxnSpPr>
        <p:spPr>
          <a:xfrm flipV="1">
            <a:off x="8435997" y="2767452"/>
            <a:ext cx="3329281" cy="0"/>
          </a:xfrm>
          <a:prstGeom prst="line">
            <a:avLst/>
          </a:prstGeom>
          <a:ln w="254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Freeform: Shape 58">
            <a:extLst>
              <a:ext uri="{FF2B5EF4-FFF2-40B4-BE49-F238E27FC236}">
                <a16:creationId xmlns:a16="http://schemas.microsoft.com/office/drawing/2014/main" id="{22790B87-BCA6-D600-1CE2-0E27B1590470}"/>
              </a:ext>
            </a:extLst>
          </p:cNvPr>
          <p:cNvSpPr/>
          <p:nvPr userDrawn="1"/>
        </p:nvSpPr>
        <p:spPr>
          <a:xfrm flipH="1">
            <a:off x="4978399" y="2139884"/>
            <a:ext cx="526688" cy="522344"/>
          </a:xfrm>
          <a:prstGeom prst="ellipse">
            <a:avLst/>
          </a:prstGeom>
          <a:solidFill>
            <a:schemeClr val="bg1">
              <a:lumMod val="95000"/>
            </a:schemeClr>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58">
            <a:extLst>
              <a:ext uri="{FF2B5EF4-FFF2-40B4-BE49-F238E27FC236}">
                <a16:creationId xmlns:a16="http://schemas.microsoft.com/office/drawing/2014/main" id="{4B2D9CA3-DFE3-7309-3E64-5D79D7CEE8B7}"/>
              </a:ext>
            </a:extLst>
          </p:cNvPr>
          <p:cNvSpPr/>
          <p:nvPr userDrawn="1"/>
        </p:nvSpPr>
        <p:spPr>
          <a:xfrm flipH="1">
            <a:off x="8435997" y="2139884"/>
            <a:ext cx="526688" cy="522344"/>
          </a:xfrm>
          <a:prstGeom prst="ellipse">
            <a:avLst/>
          </a:prstGeom>
          <a:solidFill>
            <a:schemeClr val="bg1">
              <a:lumMod val="95000"/>
            </a:schemeClr>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Rectangle: Single Corner Rounded 13">
            <a:extLst>
              <a:ext uri="{FF2B5EF4-FFF2-40B4-BE49-F238E27FC236}">
                <a16:creationId xmlns:a16="http://schemas.microsoft.com/office/drawing/2014/main" id="{5F52895E-A328-6C30-5C06-121960138065}"/>
              </a:ext>
              <a:ext uri="{C183D7F6-B498-43B3-948B-1728B52AA6E4}">
                <adec:decorative xmlns:adec="http://schemas.microsoft.com/office/drawing/2017/decorative" val="1"/>
              </a:ext>
            </a:extLst>
          </p:cNvPr>
          <p:cNvSpPr/>
          <p:nvPr userDrawn="1"/>
        </p:nvSpPr>
        <p:spPr bwMode="auto">
          <a:xfrm flipH="1">
            <a:off x="4958078" y="4876800"/>
            <a:ext cx="7233915" cy="1981200"/>
          </a:xfrm>
          <a:prstGeom prst="round1Rect">
            <a:avLst>
              <a:gd name="adj" fmla="val 3955"/>
            </a:avLst>
          </a:prstGeom>
          <a:solidFill>
            <a:srgbClr val="FFFFFF"/>
          </a:solidFill>
          <a:ln w="9525" cap="flat" cmpd="sng" algn="ctr">
            <a:noFill/>
            <a:prstDash val="solid"/>
            <a:headEnd type="none" w="med" len="med"/>
            <a:tailEnd type="none" w="med" len="med"/>
          </a:ln>
          <a:effectLst>
            <a:outerShdw blurRad="190500" dist="63500" dir="2700000" algn="r" rotWithShape="0">
              <a:schemeClr val="bg1">
                <a:lumMod val="65000"/>
                <a:alpha val="25000"/>
              </a:scheme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outerShdw blurRad="50800" dist="38100" dir="2700000" algn="tl" rotWithShape="0">
                  <a:srgbClr val="000000">
                    <a:alpha val="40000"/>
                  </a:srgbClr>
                </a:outerShdw>
              </a:effectLst>
              <a:uLnTx/>
              <a:uFillTx/>
              <a:cs typeface="Segoe UI" pitchFamily="34" charset="0"/>
            </a:endParaRPr>
          </a:p>
        </p:txBody>
      </p:sp>
      <p:sp>
        <p:nvSpPr>
          <p:cNvPr id="15" name="Freeform: Shape 14">
            <a:extLst>
              <a:ext uri="{FF2B5EF4-FFF2-40B4-BE49-F238E27FC236}">
                <a16:creationId xmlns:a16="http://schemas.microsoft.com/office/drawing/2014/main" id="{AAFAAED7-CC9A-7734-949F-7C0699C7989F}"/>
              </a:ext>
            </a:extLst>
          </p:cNvPr>
          <p:cNvSpPr/>
          <p:nvPr userDrawn="1"/>
        </p:nvSpPr>
        <p:spPr>
          <a:xfrm>
            <a:off x="5032376" y="4947177"/>
            <a:ext cx="258761" cy="205353"/>
          </a:xfrm>
          <a:custGeom>
            <a:avLst/>
            <a:gdLst>
              <a:gd name="connsiteX0" fmla="*/ 434170 w 434170"/>
              <a:gd name="connsiteY0" fmla="*/ 0 h 344558"/>
              <a:gd name="connsiteX1" fmla="*/ 434170 w 434170"/>
              <a:gd name="connsiteY1" fmla="*/ 74504 h 344558"/>
              <a:gd name="connsiteX2" fmla="*/ 335092 w 434170"/>
              <a:gd name="connsiteY2" fmla="*/ 170889 h 344558"/>
              <a:gd name="connsiteX3" fmla="*/ 434170 w 434170"/>
              <a:gd name="connsiteY3" fmla="*/ 170889 h 344558"/>
              <a:gd name="connsiteX4" fmla="*/ 434170 w 434170"/>
              <a:gd name="connsiteY4" fmla="*/ 344558 h 344558"/>
              <a:gd name="connsiteX5" fmla="*/ 260502 w 434170"/>
              <a:gd name="connsiteY5" fmla="*/ 344558 h 344558"/>
              <a:gd name="connsiteX6" fmla="*/ 260502 w 434170"/>
              <a:gd name="connsiteY6" fmla="*/ 170889 h 344558"/>
              <a:gd name="connsiteX7" fmla="*/ 434170 w 434170"/>
              <a:gd name="connsiteY7" fmla="*/ 0 h 344558"/>
              <a:gd name="connsiteX8" fmla="*/ 173668 w 434170"/>
              <a:gd name="connsiteY8" fmla="*/ 0 h 344558"/>
              <a:gd name="connsiteX9" fmla="*/ 173668 w 434170"/>
              <a:gd name="connsiteY9" fmla="*/ 74504 h 344558"/>
              <a:gd name="connsiteX10" fmla="*/ 74590 w 434170"/>
              <a:gd name="connsiteY10" fmla="*/ 170889 h 344558"/>
              <a:gd name="connsiteX11" fmla="*/ 173668 w 434170"/>
              <a:gd name="connsiteY11" fmla="*/ 170889 h 344558"/>
              <a:gd name="connsiteX12" fmla="*/ 173668 w 434170"/>
              <a:gd name="connsiteY12" fmla="*/ 344558 h 344558"/>
              <a:gd name="connsiteX13" fmla="*/ 0 w 434170"/>
              <a:gd name="connsiteY13" fmla="*/ 344558 h 344558"/>
              <a:gd name="connsiteX14" fmla="*/ 0 w 434170"/>
              <a:gd name="connsiteY14" fmla="*/ 170889 h 344558"/>
              <a:gd name="connsiteX15" fmla="*/ 173668 w 434170"/>
              <a:gd name="connsiteY15" fmla="*/ 0 h 344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4170" h="344558">
                <a:moveTo>
                  <a:pt x="434170" y="0"/>
                </a:moveTo>
                <a:lnTo>
                  <a:pt x="434170" y="74504"/>
                </a:lnTo>
                <a:cubicBezTo>
                  <a:pt x="380504" y="74530"/>
                  <a:pt x="336596" y="117244"/>
                  <a:pt x="335092" y="170889"/>
                </a:cubicBezTo>
                <a:lnTo>
                  <a:pt x="434170" y="170889"/>
                </a:lnTo>
                <a:lnTo>
                  <a:pt x="434170" y="344558"/>
                </a:lnTo>
                <a:lnTo>
                  <a:pt x="260502" y="344558"/>
                </a:lnTo>
                <a:lnTo>
                  <a:pt x="260502" y="170889"/>
                </a:lnTo>
                <a:cubicBezTo>
                  <a:pt x="262020" y="76062"/>
                  <a:pt x="339331" y="-12"/>
                  <a:pt x="434170" y="0"/>
                </a:cubicBezTo>
                <a:close/>
                <a:moveTo>
                  <a:pt x="173668" y="0"/>
                </a:moveTo>
                <a:lnTo>
                  <a:pt x="173668" y="74504"/>
                </a:lnTo>
                <a:cubicBezTo>
                  <a:pt x="120002" y="74530"/>
                  <a:pt x="76094" y="117244"/>
                  <a:pt x="74590" y="170889"/>
                </a:cubicBezTo>
                <a:lnTo>
                  <a:pt x="173668" y="170889"/>
                </a:lnTo>
                <a:lnTo>
                  <a:pt x="173668" y="344558"/>
                </a:lnTo>
                <a:lnTo>
                  <a:pt x="0" y="344558"/>
                </a:lnTo>
                <a:lnTo>
                  <a:pt x="0" y="170889"/>
                </a:lnTo>
                <a:cubicBezTo>
                  <a:pt x="1518" y="76062"/>
                  <a:pt x="78829" y="-12"/>
                  <a:pt x="173668" y="0"/>
                </a:cubicBezTo>
                <a:close/>
              </a:path>
            </a:pathLst>
          </a:custGeom>
          <a:solidFill>
            <a:schemeClr val="bg1">
              <a:lumMod val="95000"/>
            </a:schemeClr>
          </a:solidFill>
          <a:ln w="8632" cap="flat">
            <a:noFill/>
            <a:prstDash val="solid"/>
            <a:miter/>
          </a:ln>
        </p:spPr>
        <p:txBody>
          <a:bodyPr rtlCol="0" anchor="ctr"/>
          <a:lstStyle/>
          <a:p>
            <a:endParaRPr lang="en-US"/>
          </a:p>
        </p:txBody>
      </p:sp>
      <p:sp>
        <p:nvSpPr>
          <p:cNvPr id="16" name="Title 1">
            <a:extLst>
              <a:ext uri="{FF2B5EF4-FFF2-40B4-BE49-F238E27FC236}">
                <a16:creationId xmlns:a16="http://schemas.microsoft.com/office/drawing/2014/main" id="{9ACA0609-D155-40F1-2F6B-61B85A5FA457}"/>
              </a:ext>
            </a:extLst>
          </p:cNvPr>
          <p:cNvSpPr>
            <a:spLocks noGrp="1"/>
          </p:cNvSpPr>
          <p:nvPr>
            <p:ph type="title"/>
          </p:nvPr>
        </p:nvSpPr>
        <p:spPr>
          <a:xfrm>
            <a:off x="588263" y="1358431"/>
            <a:ext cx="4064699" cy="430887"/>
          </a:xfrm>
        </p:spPr>
        <p:txBody>
          <a:bodyPr/>
          <a:lstStyle>
            <a:lvl1pPr marL="0" algn="l" defTabSz="932742" rtl="0" eaLnBrk="1" latinLnBrk="0" hangingPunct="1">
              <a:lnSpc>
                <a:spcPct val="10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Click to edit Master title</a:t>
            </a:r>
          </a:p>
        </p:txBody>
      </p:sp>
      <p:sp>
        <p:nvSpPr>
          <p:cNvPr id="17" name="Text Placeholder 42">
            <a:extLst>
              <a:ext uri="{FF2B5EF4-FFF2-40B4-BE49-F238E27FC236}">
                <a16:creationId xmlns:a16="http://schemas.microsoft.com/office/drawing/2014/main" id="{EA67E6B9-ED1E-9B21-B421-7D7804FD2217}"/>
              </a:ext>
            </a:extLst>
          </p:cNvPr>
          <p:cNvSpPr>
            <a:spLocks noGrp="1"/>
          </p:cNvSpPr>
          <p:nvPr>
            <p:ph type="body" sz="quarter" idx="18"/>
          </p:nvPr>
        </p:nvSpPr>
        <p:spPr>
          <a:xfrm>
            <a:off x="588263" y="1903420"/>
            <a:ext cx="4064698" cy="246221"/>
          </a:xfrm>
        </p:spPr>
        <p:txBody>
          <a:bodyPr>
            <a:spAutoFit/>
          </a:bodyPr>
          <a:lstStyle>
            <a:lvl1pPr marL="0" indent="0">
              <a:spcBef>
                <a:spcPts val="0"/>
              </a:spcBef>
              <a:buNone/>
              <a:defRPr sz="1600">
                <a:latin typeface="+mn-lt"/>
              </a:defRPr>
            </a:lvl1pPr>
          </a:lstStyle>
          <a:p>
            <a:pPr lvl="0"/>
            <a:r>
              <a:rPr lang="en-US"/>
              <a:t>Click to edit Master text styles</a:t>
            </a:r>
          </a:p>
        </p:txBody>
      </p:sp>
      <p:sp>
        <p:nvSpPr>
          <p:cNvPr id="18" name="Text Placeholder 42">
            <a:extLst>
              <a:ext uri="{FF2B5EF4-FFF2-40B4-BE49-F238E27FC236}">
                <a16:creationId xmlns:a16="http://schemas.microsoft.com/office/drawing/2014/main" id="{517347C2-C6D0-A7A7-C129-F3FA7757E6FD}"/>
              </a:ext>
            </a:extLst>
          </p:cNvPr>
          <p:cNvSpPr>
            <a:spLocks noGrp="1"/>
          </p:cNvSpPr>
          <p:nvPr>
            <p:ph type="body" sz="quarter" idx="19" hasCustomPrompt="1"/>
          </p:nvPr>
        </p:nvSpPr>
        <p:spPr>
          <a:xfrm>
            <a:off x="696978" y="4987142"/>
            <a:ext cx="1747873" cy="492443"/>
          </a:xfrm>
        </p:spPr>
        <p:txBody>
          <a:bodyPr wrap="square">
            <a:spAutoFit/>
          </a:bodyPr>
          <a:lstStyle>
            <a:lvl1pPr marL="0" indent="0">
              <a:buNone/>
              <a:defRPr sz="3200">
                <a:solidFill>
                  <a:schemeClr val="bg2"/>
                </a:solidFill>
                <a:latin typeface="+mj-lt"/>
              </a:defRPr>
            </a:lvl1pPr>
          </a:lstStyle>
          <a:p>
            <a:pPr lvl="0"/>
            <a:r>
              <a:rPr lang="en-US"/>
              <a:t>##</a:t>
            </a:r>
          </a:p>
        </p:txBody>
      </p:sp>
      <p:sp>
        <p:nvSpPr>
          <p:cNvPr id="19" name="Text Placeholder 42">
            <a:extLst>
              <a:ext uri="{FF2B5EF4-FFF2-40B4-BE49-F238E27FC236}">
                <a16:creationId xmlns:a16="http://schemas.microsoft.com/office/drawing/2014/main" id="{FA9F2B3C-8D16-9EEF-89C6-3B00BE12821B}"/>
              </a:ext>
            </a:extLst>
          </p:cNvPr>
          <p:cNvSpPr>
            <a:spLocks noGrp="1"/>
          </p:cNvSpPr>
          <p:nvPr>
            <p:ph type="body" sz="quarter" idx="20"/>
          </p:nvPr>
        </p:nvSpPr>
        <p:spPr>
          <a:xfrm>
            <a:off x="696978" y="5490205"/>
            <a:ext cx="1747873" cy="369332"/>
          </a:xfrm>
        </p:spPr>
        <p:txBody>
          <a:bodyPr wrap="square">
            <a:spAutoFit/>
          </a:bodyPr>
          <a:lstStyle>
            <a:lvl1pPr marL="0" indent="0">
              <a:buNone/>
              <a:defRPr sz="1200">
                <a:solidFill>
                  <a:schemeClr val="tx1"/>
                </a:solidFill>
                <a:latin typeface="+mn-lt"/>
              </a:defRPr>
            </a:lvl1pPr>
          </a:lstStyle>
          <a:p>
            <a:pPr lvl="0"/>
            <a:r>
              <a:rPr lang="en-US"/>
              <a:t>Click to edit Master text styles</a:t>
            </a:r>
          </a:p>
        </p:txBody>
      </p:sp>
      <p:sp>
        <p:nvSpPr>
          <p:cNvPr id="20" name="Text Placeholder 42">
            <a:extLst>
              <a:ext uri="{FF2B5EF4-FFF2-40B4-BE49-F238E27FC236}">
                <a16:creationId xmlns:a16="http://schemas.microsoft.com/office/drawing/2014/main" id="{3098E8C2-9BB1-26AC-2564-C18F5FEFB7A6}"/>
              </a:ext>
            </a:extLst>
          </p:cNvPr>
          <p:cNvSpPr>
            <a:spLocks noGrp="1"/>
          </p:cNvSpPr>
          <p:nvPr>
            <p:ph type="body" sz="quarter" idx="21" hasCustomPrompt="1"/>
          </p:nvPr>
        </p:nvSpPr>
        <p:spPr>
          <a:xfrm>
            <a:off x="2792310" y="4987142"/>
            <a:ext cx="1747873" cy="492443"/>
          </a:xfrm>
        </p:spPr>
        <p:txBody>
          <a:bodyPr wrap="square">
            <a:spAutoFit/>
          </a:bodyPr>
          <a:lstStyle>
            <a:lvl1pPr marL="0" indent="0">
              <a:buNone/>
              <a:defRPr sz="3200">
                <a:solidFill>
                  <a:schemeClr val="bg2"/>
                </a:solidFill>
                <a:latin typeface="+mj-lt"/>
              </a:defRPr>
            </a:lvl1pPr>
          </a:lstStyle>
          <a:p>
            <a:pPr lvl="0"/>
            <a:r>
              <a:rPr lang="en-US"/>
              <a:t>##</a:t>
            </a:r>
          </a:p>
        </p:txBody>
      </p:sp>
      <p:sp>
        <p:nvSpPr>
          <p:cNvPr id="21" name="Text Placeholder 42">
            <a:extLst>
              <a:ext uri="{FF2B5EF4-FFF2-40B4-BE49-F238E27FC236}">
                <a16:creationId xmlns:a16="http://schemas.microsoft.com/office/drawing/2014/main" id="{742416D9-83C6-58D4-B566-3D244E84499D}"/>
              </a:ext>
            </a:extLst>
          </p:cNvPr>
          <p:cNvSpPr>
            <a:spLocks noGrp="1"/>
          </p:cNvSpPr>
          <p:nvPr>
            <p:ph type="body" sz="quarter" idx="22"/>
          </p:nvPr>
        </p:nvSpPr>
        <p:spPr>
          <a:xfrm>
            <a:off x="2792310" y="5490205"/>
            <a:ext cx="1747873" cy="369332"/>
          </a:xfrm>
        </p:spPr>
        <p:txBody>
          <a:bodyPr wrap="square">
            <a:spAutoFit/>
          </a:bodyPr>
          <a:lstStyle>
            <a:lvl1pPr marL="0" indent="0">
              <a:buNone/>
              <a:defRPr sz="1200">
                <a:solidFill>
                  <a:schemeClr val="tx1"/>
                </a:solidFill>
                <a:latin typeface="+mn-lt"/>
              </a:defRPr>
            </a:lvl1pPr>
          </a:lstStyle>
          <a:p>
            <a:pPr lvl="0"/>
            <a:r>
              <a:rPr lang="en-US"/>
              <a:t>Click to edit Master text styles</a:t>
            </a:r>
          </a:p>
        </p:txBody>
      </p:sp>
      <p:sp>
        <p:nvSpPr>
          <p:cNvPr id="22" name="Text Placeholder 42">
            <a:extLst>
              <a:ext uri="{FF2B5EF4-FFF2-40B4-BE49-F238E27FC236}">
                <a16:creationId xmlns:a16="http://schemas.microsoft.com/office/drawing/2014/main" id="{70B6D3BA-5C89-64BF-0757-7FECCF07E6F5}"/>
              </a:ext>
            </a:extLst>
          </p:cNvPr>
          <p:cNvSpPr>
            <a:spLocks noGrp="1"/>
          </p:cNvSpPr>
          <p:nvPr>
            <p:ph type="body" sz="quarter" idx="23"/>
          </p:nvPr>
        </p:nvSpPr>
        <p:spPr>
          <a:xfrm>
            <a:off x="5120640" y="5031849"/>
            <a:ext cx="6777671" cy="215444"/>
          </a:xfrm>
        </p:spPr>
        <p:txBody>
          <a:bodyPr wrap="square">
            <a:spAutoFit/>
          </a:bodyPr>
          <a:lstStyle>
            <a:lvl1pPr marL="0" indent="0">
              <a:buNone/>
              <a:defRPr sz="1400" i="1">
                <a:solidFill>
                  <a:schemeClr val="tx1"/>
                </a:solidFill>
                <a:latin typeface="+mn-lt"/>
              </a:defRPr>
            </a:lvl1pPr>
          </a:lstStyle>
          <a:p>
            <a:pPr lvl="0"/>
            <a:r>
              <a:rPr lang="en-US"/>
              <a:t>Click to edit Master text styles</a:t>
            </a:r>
          </a:p>
        </p:txBody>
      </p:sp>
      <p:sp>
        <p:nvSpPr>
          <p:cNvPr id="23" name="Text Placeholder 42">
            <a:extLst>
              <a:ext uri="{FF2B5EF4-FFF2-40B4-BE49-F238E27FC236}">
                <a16:creationId xmlns:a16="http://schemas.microsoft.com/office/drawing/2014/main" id="{29545424-0147-6335-C6F1-506B67A30519}"/>
              </a:ext>
            </a:extLst>
          </p:cNvPr>
          <p:cNvSpPr>
            <a:spLocks noGrp="1"/>
          </p:cNvSpPr>
          <p:nvPr>
            <p:ph type="body" sz="quarter" idx="24"/>
          </p:nvPr>
        </p:nvSpPr>
        <p:spPr>
          <a:xfrm>
            <a:off x="5120640" y="6222345"/>
            <a:ext cx="6777671" cy="184666"/>
          </a:xfrm>
        </p:spPr>
        <p:txBody>
          <a:bodyPr wrap="square" anchor="b">
            <a:spAutoFit/>
          </a:bodyPr>
          <a:lstStyle>
            <a:lvl1pPr marL="0" indent="0" algn="r">
              <a:spcBef>
                <a:spcPts val="0"/>
              </a:spcBef>
              <a:buNone/>
              <a:defRPr sz="1200">
                <a:solidFill>
                  <a:schemeClr val="tx1"/>
                </a:solidFill>
                <a:latin typeface="+mj-lt"/>
              </a:defRPr>
            </a:lvl1pPr>
          </a:lstStyle>
          <a:p>
            <a:pPr lvl="0"/>
            <a:r>
              <a:rPr lang="en-US"/>
              <a:t>Click to edit Master text styles</a:t>
            </a:r>
          </a:p>
        </p:txBody>
      </p:sp>
      <p:sp>
        <p:nvSpPr>
          <p:cNvPr id="24" name="Text Placeholder 42">
            <a:extLst>
              <a:ext uri="{FF2B5EF4-FFF2-40B4-BE49-F238E27FC236}">
                <a16:creationId xmlns:a16="http://schemas.microsoft.com/office/drawing/2014/main" id="{DD3E1587-6802-84F9-7084-5C86440A34A1}"/>
              </a:ext>
            </a:extLst>
          </p:cNvPr>
          <p:cNvSpPr>
            <a:spLocks noGrp="1"/>
          </p:cNvSpPr>
          <p:nvPr>
            <p:ph type="body" sz="quarter" idx="25"/>
          </p:nvPr>
        </p:nvSpPr>
        <p:spPr>
          <a:xfrm>
            <a:off x="4978399" y="2872677"/>
            <a:ext cx="3329281" cy="246221"/>
          </a:xfrm>
        </p:spPr>
        <p:txBody>
          <a:bodyPr wrap="square">
            <a:spAutoFit/>
          </a:bodyPr>
          <a:lstStyle>
            <a:lvl1pPr marL="0" indent="0">
              <a:buNone/>
              <a:defRPr sz="1600">
                <a:solidFill>
                  <a:schemeClr val="tx1"/>
                </a:solidFill>
                <a:latin typeface="+mn-lt"/>
              </a:defRPr>
            </a:lvl1pPr>
          </a:lstStyle>
          <a:p>
            <a:pPr lvl="0"/>
            <a:r>
              <a:rPr lang="en-US"/>
              <a:t>Click to edit Master text styles</a:t>
            </a:r>
          </a:p>
        </p:txBody>
      </p:sp>
      <p:sp>
        <p:nvSpPr>
          <p:cNvPr id="25" name="Text Placeholder 42">
            <a:extLst>
              <a:ext uri="{FF2B5EF4-FFF2-40B4-BE49-F238E27FC236}">
                <a16:creationId xmlns:a16="http://schemas.microsoft.com/office/drawing/2014/main" id="{CA3BDA25-320D-A6B1-9CE4-99CA3730596D}"/>
              </a:ext>
            </a:extLst>
          </p:cNvPr>
          <p:cNvSpPr>
            <a:spLocks noGrp="1"/>
          </p:cNvSpPr>
          <p:nvPr>
            <p:ph type="body" sz="quarter" idx="26"/>
          </p:nvPr>
        </p:nvSpPr>
        <p:spPr>
          <a:xfrm>
            <a:off x="8435997" y="2872677"/>
            <a:ext cx="3329281" cy="246221"/>
          </a:xfrm>
        </p:spPr>
        <p:txBody>
          <a:bodyPr wrap="square">
            <a:spAutoFit/>
          </a:bodyPr>
          <a:lstStyle>
            <a:lvl1pPr marL="0" indent="0">
              <a:buNone/>
              <a:defRPr sz="1600">
                <a:solidFill>
                  <a:schemeClr val="tx1"/>
                </a:solidFill>
                <a:latin typeface="+mn-lt"/>
              </a:defRPr>
            </a:lvl1pPr>
          </a:lstStyle>
          <a:p>
            <a:pPr lvl="0"/>
            <a:r>
              <a:rPr lang="en-US"/>
              <a:t>Click to edit Master text styles</a:t>
            </a:r>
          </a:p>
        </p:txBody>
      </p:sp>
      <p:sp>
        <p:nvSpPr>
          <p:cNvPr id="26" name="Picture Placeholder 56">
            <a:extLst>
              <a:ext uri="{FF2B5EF4-FFF2-40B4-BE49-F238E27FC236}">
                <a16:creationId xmlns:a16="http://schemas.microsoft.com/office/drawing/2014/main" id="{C278F43F-8A42-019C-441D-4C23A632795B}"/>
              </a:ext>
            </a:extLst>
          </p:cNvPr>
          <p:cNvSpPr>
            <a:spLocks noGrp="1"/>
          </p:cNvSpPr>
          <p:nvPr>
            <p:ph type="pic" sz="quarter" idx="16" hasCustomPrompt="1"/>
          </p:nvPr>
        </p:nvSpPr>
        <p:spPr>
          <a:xfrm>
            <a:off x="584198" y="530398"/>
            <a:ext cx="1492251" cy="750715"/>
          </a:xfrm>
          <a:prstGeom prst="rect">
            <a:avLst/>
          </a:prstGeom>
        </p:spPr>
        <p:txBody>
          <a:bodyPr anchor="ctr">
            <a:noAutofit/>
          </a:bodyPr>
          <a:lstStyle>
            <a:lvl1pPr marL="0" indent="0" algn="ctr">
              <a:buNone/>
              <a:defRPr sz="2000">
                <a:latin typeface="+mj-lt"/>
              </a:defRPr>
            </a:lvl1pPr>
          </a:lstStyle>
          <a:p>
            <a:r>
              <a:rPr lang="en-US"/>
              <a:t>Image</a:t>
            </a:r>
          </a:p>
        </p:txBody>
      </p:sp>
      <p:grpSp>
        <p:nvGrpSpPr>
          <p:cNvPr id="27" name="Picture Placeholder 815">
            <a:extLst>
              <a:ext uri="{FF2B5EF4-FFF2-40B4-BE49-F238E27FC236}">
                <a16:creationId xmlns:a16="http://schemas.microsoft.com/office/drawing/2014/main" id="{09EC962C-AD71-501F-76E0-CB60A7AE11C2}"/>
              </a:ext>
            </a:extLst>
          </p:cNvPr>
          <p:cNvGrpSpPr/>
          <p:nvPr userDrawn="1"/>
        </p:nvGrpSpPr>
        <p:grpSpPr>
          <a:xfrm>
            <a:off x="8526088" y="2231221"/>
            <a:ext cx="297629" cy="297627"/>
            <a:chOff x="5026092" y="2187685"/>
            <a:chExt cx="297629" cy="297627"/>
          </a:xfrm>
        </p:grpSpPr>
        <p:sp>
          <p:nvSpPr>
            <p:cNvPr id="28" name="Freeform: Shape 27">
              <a:extLst>
                <a:ext uri="{FF2B5EF4-FFF2-40B4-BE49-F238E27FC236}">
                  <a16:creationId xmlns:a16="http://schemas.microsoft.com/office/drawing/2014/main" id="{8ADDC726-4200-E8E7-68F2-543A31AA6C18}"/>
                </a:ext>
              </a:extLst>
            </p:cNvPr>
            <p:cNvSpPr/>
            <p:nvPr/>
          </p:nvSpPr>
          <p:spPr>
            <a:xfrm>
              <a:off x="5186783" y="2187685"/>
              <a:ext cx="195964" cy="195968"/>
            </a:xfrm>
            <a:custGeom>
              <a:avLst/>
              <a:gdLst>
                <a:gd name="connsiteX0" fmla="*/ 130622 w 195964"/>
                <a:gd name="connsiteY0" fmla="*/ -1012 h 195968"/>
                <a:gd name="connsiteX1" fmla="*/ 130747 w 195964"/>
                <a:gd name="connsiteY1" fmla="*/ -1012 h 195968"/>
                <a:gd name="connsiteX2" fmla="*/ 136689 w 195964"/>
                <a:gd name="connsiteY2" fmla="*/ 4906 h 195968"/>
                <a:gd name="connsiteX3" fmla="*/ 136689 w 195964"/>
                <a:gd name="connsiteY3" fmla="*/ 32106 h 195968"/>
                <a:gd name="connsiteX4" fmla="*/ 141396 w 195964"/>
                <a:gd name="connsiteY4" fmla="*/ 27403 h 195968"/>
                <a:gd name="connsiteX5" fmla="*/ 154455 w 195964"/>
                <a:gd name="connsiteY5" fmla="*/ 21994 h 195968"/>
                <a:gd name="connsiteX6" fmla="*/ 167534 w 195964"/>
                <a:gd name="connsiteY6" fmla="*/ 27403 h 195968"/>
                <a:gd name="connsiteX7" fmla="*/ 167494 w 195964"/>
                <a:gd name="connsiteY7" fmla="*/ 53466 h 195968"/>
                <a:gd name="connsiteX8" fmla="*/ 162779 w 195964"/>
                <a:gd name="connsiteY8" fmla="*/ 58208 h 195968"/>
                <a:gd name="connsiteX9" fmla="*/ 189948 w 195964"/>
                <a:gd name="connsiteY9" fmla="*/ 58208 h 195968"/>
                <a:gd name="connsiteX10" fmla="*/ 194118 w 195964"/>
                <a:gd name="connsiteY10" fmla="*/ 59933 h 195968"/>
                <a:gd name="connsiteX11" fmla="*/ 194142 w 195964"/>
                <a:gd name="connsiteY11" fmla="*/ 68281 h 195968"/>
                <a:gd name="connsiteX12" fmla="*/ 152723 w 195964"/>
                <a:gd name="connsiteY12" fmla="*/ 109707 h 195968"/>
                <a:gd name="connsiteX13" fmla="*/ 148525 w 195964"/>
                <a:gd name="connsiteY13" fmla="*/ 111432 h 195968"/>
                <a:gd name="connsiteX14" fmla="*/ 109520 w 195964"/>
                <a:gd name="connsiteY14" fmla="*/ 111432 h 195968"/>
                <a:gd name="connsiteX15" fmla="*/ 31374 w 195964"/>
                <a:gd name="connsiteY15" fmla="*/ 189543 h 195968"/>
                <a:gd name="connsiteX16" fmla="*/ 5271 w 195964"/>
                <a:gd name="connsiteY16" fmla="*/ 189582 h 195968"/>
                <a:gd name="connsiteX17" fmla="*/ 5271 w 195964"/>
                <a:gd name="connsiteY17" fmla="*/ 163480 h 195968"/>
                <a:gd name="connsiteX18" fmla="*/ 83430 w 195964"/>
                <a:gd name="connsiteY18" fmla="*/ 85330 h 195968"/>
                <a:gd name="connsiteX19" fmla="*/ 83430 w 195964"/>
                <a:gd name="connsiteY19" fmla="*/ 46372 h 195968"/>
                <a:gd name="connsiteX20" fmla="*/ 85178 w 195964"/>
                <a:gd name="connsiteY20" fmla="*/ 42178 h 195968"/>
                <a:gd name="connsiteX21" fmla="*/ 126597 w 195964"/>
                <a:gd name="connsiteY21" fmla="*/ 752 h 195968"/>
                <a:gd name="connsiteX22" fmla="*/ 130618 w 195964"/>
                <a:gd name="connsiteY22" fmla="*/ -973 h 195968"/>
                <a:gd name="connsiteX23" fmla="*/ 130622 w 195964"/>
                <a:gd name="connsiteY23" fmla="*/ -1012 h 19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5964" h="195968">
                  <a:moveTo>
                    <a:pt x="130622" y="-1012"/>
                  </a:moveTo>
                  <a:cubicBezTo>
                    <a:pt x="130665" y="-1012"/>
                    <a:pt x="130708" y="-1012"/>
                    <a:pt x="130747" y="-1012"/>
                  </a:cubicBezTo>
                  <a:cubicBezTo>
                    <a:pt x="134016" y="-1012"/>
                    <a:pt x="136677" y="1653"/>
                    <a:pt x="136689" y="4906"/>
                  </a:cubicBezTo>
                  <a:lnTo>
                    <a:pt x="136689" y="32106"/>
                  </a:lnTo>
                  <a:lnTo>
                    <a:pt x="141396" y="27403"/>
                  </a:lnTo>
                  <a:cubicBezTo>
                    <a:pt x="144974" y="23797"/>
                    <a:pt x="149713" y="21994"/>
                    <a:pt x="154455" y="21994"/>
                  </a:cubicBezTo>
                  <a:cubicBezTo>
                    <a:pt x="159201" y="21994"/>
                    <a:pt x="163951" y="23797"/>
                    <a:pt x="167534" y="27403"/>
                  </a:cubicBezTo>
                  <a:cubicBezTo>
                    <a:pt x="174694" y="34575"/>
                    <a:pt x="174663" y="46333"/>
                    <a:pt x="167494" y="53466"/>
                  </a:cubicBezTo>
                  <a:lnTo>
                    <a:pt x="162779" y="58208"/>
                  </a:lnTo>
                  <a:lnTo>
                    <a:pt x="189948" y="58208"/>
                  </a:lnTo>
                  <a:cubicBezTo>
                    <a:pt x="191508" y="58208"/>
                    <a:pt x="193009" y="58835"/>
                    <a:pt x="194118" y="59933"/>
                  </a:cubicBezTo>
                  <a:cubicBezTo>
                    <a:pt x="196434" y="62206"/>
                    <a:pt x="196446" y="65969"/>
                    <a:pt x="194142" y="68281"/>
                  </a:cubicBezTo>
                  <a:lnTo>
                    <a:pt x="152723" y="109707"/>
                  </a:lnTo>
                  <a:cubicBezTo>
                    <a:pt x="151610" y="110805"/>
                    <a:pt x="150101" y="111432"/>
                    <a:pt x="148525" y="111432"/>
                  </a:cubicBezTo>
                  <a:lnTo>
                    <a:pt x="109520" y="111432"/>
                  </a:lnTo>
                  <a:lnTo>
                    <a:pt x="31374" y="189543"/>
                  </a:lnTo>
                  <a:cubicBezTo>
                    <a:pt x="24209" y="196716"/>
                    <a:pt x="12436" y="196794"/>
                    <a:pt x="5271" y="189582"/>
                  </a:cubicBezTo>
                  <a:cubicBezTo>
                    <a:pt x="-1893" y="182449"/>
                    <a:pt x="-1893" y="170652"/>
                    <a:pt x="5271" y="163480"/>
                  </a:cubicBezTo>
                  <a:lnTo>
                    <a:pt x="83430" y="85330"/>
                  </a:lnTo>
                  <a:lnTo>
                    <a:pt x="83430" y="46372"/>
                  </a:lnTo>
                  <a:cubicBezTo>
                    <a:pt x="83430" y="44805"/>
                    <a:pt x="84061" y="43276"/>
                    <a:pt x="85178" y="42178"/>
                  </a:cubicBezTo>
                  <a:lnTo>
                    <a:pt x="126597" y="752"/>
                  </a:lnTo>
                  <a:cubicBezTo>
                    <a:pt x="127663" y="-306"/>
                    <a:pt x="129105" y="-934"/>
                    <a:pt x="130618" y="-973"/>
                  </a:cubicBezTo>
                  <a:lnTo>
                    <a:pt x="130622" y="-1012"/>
                  </a:lnTo>
                  <a:close/>
                </a:path>
              </a:pathLst>
            </a:custGeom>
            <a:solidFill>
              <a:srgbClr val="222043"/>
            </a:solidFill>
            <a:ln w="4659"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521C93AB-532C-20E4-3436-01C072319E3A}"/>
                </a:ext>
              </a:extLst>
            </p:cNvPr>
            <p:cNvSpPr/>
            <p:nvPr/>
          </p:nvSpPr>
          <p:spPr>
            <a:xfrm>
              <a:off x="5026092" y="2187685"/>
              <a:ext cx="356654" cy="356653"/>
            </a:xfrm>
            <a:custGeom>
              <a:avLst/>
              <a:gdLst>
                <a:gd name="connsiteX0" fmla="*/ 178225 w 356654"/>
                <a:gd name="connsiteY0" fmla="*/ -1012 h 356653"/>
                <a:gd name="connsiteX1" fmla="*/ 254679 w 356654"/>
                <a:gd name="connsiteY1" fmla="*/ 16194 h 356653"/>
                <a:gd name="connsiteX2" fmla="*/ 236983 w 356654"/>
                <a:gd name="connsiteY2" fmla="*/ 33909 h 356653"/>
                <a:gd name="connsiteX3" fmla="*/ 231724 w 356654"/>
                <a:gd name="connsiteY3" fmla="*/ 46568 h 356653"/>
                <a:gd name="connsiteX4" fmla="*/ 231724 w 356654"/>
                <a:gd name="connsiteY4" fmla="*/ 51467 h 356653"/>
                <a:gd name="connsiteX5" fmla="*/ 178225 w 356654"/>
                <a:gd name="connsiteY5" fmla="*/ 40572 h 356653"/>
                <a:gd name="connsiteX6" fmla="*/ 41497 w 356654"/>
                <a:gd name="connsiteY6" fmla="*/ 177315 h 356653"/>
                <a:gd name="connsiteX7" fmla="*/ 178225 w 356654"/>
                <a:gd name="connsiteY7" fmla="*/ 314058 h 356653"/>
                <a:gd name="connsiteX8" fmla="*/ 314953 w 356654"/>
                <a:gd name="connsiteY8" fmla="*/ 177315 h 356653"/>
                <a:gd name="connsiteX9" fmla="*/ 304066 w 356654"/>
                <a:gd name="connsiteY9" fmla="*/ 123856 h 356653"/>
                <a:gd name="connsiteX10" fmla="*/ 308988 w 356654"/>
                <a:gd name="connsiteY10" fmla="*/ 123856 h 356653"/>
                <a:gd name="connsiteX11" fmla="*/ 321628 w 356654"/>
                <a:gd name="connsiteY11" fmla="*/ 118565 h 356653"/>
                <a:gd name="connsiteX12" fmla="*/ 339335 w 356654"/>
                <a:gd name="connsiteY12" fmla="*/ 100850 h 356653"/>
                <a:gd name="connsiteX13" fmla="*/ 356553 w 356654"/>
                <a:gd name="connsiteY13" fmla="*/ 177315 h 356653"/>
                <a:gd name="connsiteX14" fmla="*/ 178225 w 356654"/>
                <a:gd name="connsiteY14" fmla="*/ 355642 h 356653"/>
                <a:gd name="connsiteX15" fmla="*/ -102 w 356654"/>
                <a:gd name="connsiteY15" fmla="*/ 177315 h 356653"/>
                <a:gd name="connsiteX16" fmla="*/ 178225 w 356654"/>
                <a:gd name="connsiteY16" fmla="*/ -1012 h 35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6654" h="356653">
                  <a:moveTo>
                    <a:pt x="178225" y="-1012"/>
                  </a:moveTo>
                  <a:cubicBezTo>
                    <a:pt x="205578" y="-1012"/>
                    <a:pt x="231500" y="5181"/>
                    <a:pt x="254679" y="16194"/>
                  </a:cubicBezTo>
                  <a:lnTo>
                    <a:pt x="236983" y="33909"/>
                  </a:lnTo>
                  <a:cubicBezTo>
                    <a:pt x="233624" y="37240"/>
                    <a:pt x="231728" y="41826"/>
                    <a:pt x="231724" y="46568"/>
                  </a:cubicBezTo>
                  <a:lnTo>
                    <a:pt x="231724" y="51467"/>
                  </a:lnTo>
                  <a:cubicBezTo>
                    <a:pt x="215286" y="44451"/>
                    <a:pt x="197206" y="40572"/>
                    <a:pt x="178225" y="40572"/>
                  </a:cubicBezTo>
                  <a:cubicBezTo>
                    <a:pt x="102791" y="40572"/>
                    <a:pt x="41497" y="101908"/>
                    <a:pt x="41497" y="177315"/>
                  </a:cubicBezTo>
                  <a:cubicBezTo>
                    <a:pt x="41497" y="252761"/>
                    <a:pt x="102791" y="314058"/>
                    <a:pt x="178225" y="314058"/>
                  </a:cubicBezTo>
                  <a:cubicBezTo>
                    <a:pt x="253664" y="314058"/>
                    <a:pt x="314953" y="252761"/>
                    <a:pt x="314953" y="177315"/>
                  </a:cubicBezTo>
                  <a:cubicBezTo>
                    <a:pt x="314953" y="158346"/>
                    <a:pt x="311073" y="140278"/>
                    <a:pt x="304066" y="123856"/>
                  </a:cubicBezTo>
                  <a:lnTo>
                    <a:pt x="308988" y="123856"/>
                  </a:lnTo>
                  <a:cubicBezTo>
                    <a:pt x="313727" y="123856"/>
                    <a:pt x="318289" y="121936"/>
                    <a:pt x="321628" y="118565"/>
                  </a:cubicBezTo>
                  <a:lnTo>
                    <a:pt x="339335" y="100850"/>
                  </a:lnTo>
                  <a:cubicBezTo>
                    <a:pt x="350364" y="124052"/>
                    <a:pt x="356553" y="149958"/>
                    <a:pt x="356553" y="177315"/>
                  </a:cubicBezTo>
                  <a:cubicBezTo>
                    <a:pt x="356553" y="275728"/>
                    <a:pt x="276642" y="355642"/>
                    <a:pt x="178225" y="355642"/>
                  </a:cubicBezTo>
                  <a:cubicBezTo>
                    <a:pt x="79808" y="355642"/>
                    <a:pt x="-102" y="275728"/>
                    <a:pt x="-102" y="177315"/>
                  </a:cubicBezTo>
                  <a:cubicBezTo>
                    <a:pt x="-102" y="78902"/>
                    <a:pt x="79808" y="-1012"/>
                    <a:pt x="178225" y="-1012"/>
                  </a:cubicBezTo>
                  <a:close/>
                </a:path>
              </a:pathLst>
            </a:custGeom>
            <a:solidFill>
              <a:srgbClr val="BABABA"/>
            </a:solidFill>
            <a:ln w="4659"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97C1AD78-3650-8535-12E9-70FE3F0DC1BB}"/>
                </a:ext>
              </a:extLst>
            </p:cNvPr>
            <p:cNvSpPr/>
            <p:nvPr/>
          </p:nvSpPr>
          <p:spPr>
            <a:xfrm>
              <a:off x="5108397" y="2269990"/>
              <a:ext cx="192048" cy="192044"/>
            </a:xfrm>
            <a:custGeom>
              <a:avLst/>
              <a:gdLst>
                <a:gd name="connsiteX0" fmla="*/ 95944 w 192048"/>
                <a:gd name="connsiteY0" fmla="*/ -1012 h 192044"/>
                <a:gd name="connsiteX1" fmla="*/ 138484 w 192048"/>
                <a:gd name="connsiteY1" fmla="*/ 9061 h 192044"/>
                <a:gd name="connsiteX2" fmla="*/ 105593 w 192048"/>
                <a:gd name="connsiteY2" fmla="*/ 41944 h 192044"/>
                <a:gd name="connsiteX3" fmla="*/ 95944 w 192048"/>
                <a:gd name="connsiteY3" fmla="*/ 41042 h 192044"/>
                <a:gd name="connsiteX4" fmla="*/ 41944 w 192048"/>
                <a:gd name="connsiteY4" fmla="*/ 95049 h 192044"/>
                <a:gd name="connsiteX5" fmla="*/ 95944 w 192048"/>
                <a:gd name="connsiteY5" fmla="*/ 149018 h 192044"/>
                <a:gd name="connsiteX6" fmla="*/ 149948 w 192048"/>
                <a:gd name="connsiteY6" fmla="*/ 95049 h 192044"/>
                <a:gd name="connsiteX7" fmla="*/ 149031 w 192048"/>
                <a:gd name="connsiteY7" fmla="*/ 85408 h 192044"/>
                <a:gd name="connsiteX8" fmla="*/ 181909 w 192048"/>
                <a:gd name="connsiteY8" fmla="*/ 52486 h 192044"/>
                <a:gd name="connsiteX9" fmla="*/ 191947 w 192048"/>
                <a:gd name="connsiteY9" fmla="*/ 95049 h 192044"/>
                <a:gd name="connsiteX10" fmla="*/ 95944 w 192048"/>
                <a:gd name="connsiteY10" fmla="*/ 191032 h 192044"/>
                <a:gd name="connsiteX11" fmla="*/ -102 w 192048"/>
                <a:gd name="connsiteY11" fmla="*/ 95049 h 192044"/>
                <a:gd name="connsiteX12" fmla="*/ 95944 w 192048"/>
                <a:gd name="connsiteY12" fmla="*/ -1012 h 192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2048" h="192044">
                  <a:moveTo>
                    <a:pt x="95944" y="-1012"/>
                  </a:moveTo>
                  <a:cubicBezTo>
                    <a:pt x="111233" y="-1012"/>
                    <a:pt x="125644" y="2672"/>
                    <a:pt x="138484" y="9061"/>
                  </a:cubicBezTo>
                  <a:lnTo>
                    <a:pt x="105593" y="41944"/>
                  </a:lnTo>
                  <a:cubicBezTo>
                    <a:pt x="102458" y="41395"/>
                    <a:pt x="99244" y="41042"/>
                    <a:pt x="95944" y="41042"/>
                  </a:cubicBezTo>
                  <a:cubicBezTo>
                    <a:pt x="66185" y="41042"/>
                    <a:pt x="41944" y="65263"/>
                    <a:pt x="41944" y="95049"/>
                  </a:cubicBezTo>
                  <a:cubicBezTo>
                    <a:pt x="41944" y="124797"/>
                    <a:pt x="66185" y="149018"/>
                    <a:pt x="95944" y="149018"/>
                  </a:cubicBezTo>
                  <a:cubicBezTo>
                    <a:pt x="125703" y="149018"/>
                    <a:pt x="149948" y="124797"/>
                    <a:pt x="149948" y="95049"/>
                  </a:cubicBezTo>
                  <a:cubicBezTo>
                    <a:pt x="149948" y="91757"/>
                    <a:pt x="149603" y="88505"/>
                    <a:pt x="149031" y="85408"/>
                  </a:cubicBezTo>
                  <a:lnTo>
                    <a:pt x="181909" y="52486"/>
                  </a:lnTo>
                  <a:cubicBezTo>
                    <a:pt x="188278" y="65342"/>
                    <a:pt x="191947" y="79764"/>
                    <a:pt x="191947" y="95049"/>
                  </a:cubicBezTo>
                  <a:cubicBezTo>
                    <a:pt x="191947" y="147999"/>
                    <a:pt x="148905" y="191032"/>
                    <a:pt x="95944" y="191032"/>
                  </a:cubicBezTo>
                  <a:cubicBezTo>
                    <a:pt x="42987" y="191032"/>
                    <a:pt x="-102" y="147999"/>
                    <a:pt x="-102" y="95049"/>
                  </a:cubicBezTo>
                  <a:cubicBezTo>
                    <a:pt x="-102" y="42061"/>
                    <a:pt x="42987" y="-1012"/>
                    <a:pt x="95944" y="-1012"/>
                  </a:cubicBezTo>
                  <a:close/>
                </a:path>
              </a:pathLst>
            </a:custGeom>
            <a:solidFill>
              <a:srgbClr val="BABABA"/>
            </a:solidFill>
            <a:ln w="4659" cap="flat">
              <a:noFill/>
              <a:prstDash val="solid"/>
              <a:miter/>
            </a:ln>
          </p:spPr>
          <p:txBody>
            <a:bodyPr rtlCol="0" anchor="ctr"/>
            <a:lstStyle/>
            <a:p>
              <a:endParaRPr lang="en-US"/>
            </a:p>
          </p:txBody>
        </p:sp>
      </p:grpSp>
      <p:sp>
        <p:nvSpPr>
          <p:cNvPr id="31" name="Freeform: Shape 30">
            <a:extLst>
              <a:ext uri="{FF2B5EF4-FFF2-40B4-BE49-F238E27FC236}">
                <a16:creationId xmlns:a16="http://schemas.microsoft.com/office/drawing/2014/main" id="{C865DA46-0E05-6520-33B2-0352CBD48635}"/>
              </a:ext>
            </a:extLst>
          </p:cNvPr>
          <p:cNvSpPr/>
          <p:nvPr userDrawn="1"/>
        </p:nvSpPr>
        <p:spPr>
          <a:xfrm>
            <a:off x="5191218" y="2482907"/>
            <a:ext cx="109033" cy="18172"/>
          </a:xfrm>
          <a:custGeom>
            <a:avLst/>
            <a:gdLst>
              <a:gd name="connsiteX0" fmla="*/ 0 w 1402079"/>
              <a:gd name="connsiteY0" fmla="*/ 0 h 233679"/>
              <a:gd name="connsiteX1" fmla="*/ 20320 w 1402079"/>
              <a:gd name="connsiteY1" fmla="*/ 233680 h 233679"/>
              <a:gd name="connsiteX2" fmla="*/ 1381760 w 1402079"/>
              <a:gd name="connsiteY2" fmla="*/ 233680 h 233679"/>
              <a:gd name="connsiteX3" fmla="*/ 1402080 w 1402079"/>
              <a:gd name="connsiteY3" fmla="*/ 0 h 233679"/>
            </a:gdLst>
            <a:ahLst/>
            <a:cxnLst>
              <a:cxn ang="0">
                <a:pos x="connsiteX0" y="connsiteY0"/>
              </a:cxn>
              <a:cxn ang="0">
                <a:pos x="connsiteX1" y="connsiteY1"/>
              </a:cxn>
              <a:cxn ang="0">
                <a:pos x="connsiteX2" y="connsiteY2"/>
              </a:cxn>
              <a:cxn ang="0">
                <a:pos x="connsiteX3" y="connsiteY3"/>
              </a:cxn>
            </a:cxnLst>
            <a:rect l="l" t="t" r="r" b="b"/>
            <a:pathLst>
              <a:path w="1402079" h="233679">
                <a:moveTo>
                  <a:pt x="0" y="0"/>
                </a:moveTo>
                <a:cubicBezTo>
                  <a:pt x="10160" y="81280"/>
                  <a:pt x="20320" y="152400"/>
                  <a:pt x="20320" y="233680"/>
                </a:cubicBezTo>
                <a:lnTo>
                  <a:pt x="1381760" y="233680"/>
                </a:lnTo>
                <a:cubicBezTo>
                  <a:pt x="1381760" y="152400"/>
                  <a:pt x="1391920" y="71120"/>
                  <a:pt x="1402080" y="0"/>
                </a:cubicBezTo>
                <a:close/>
              </a:path>
            </a:pathLst>
          </a:custGeom>
          <a:solidFill>
            <a:schemeClr val="bg1">
              <a:lumMod val="65000"/>
            </a:schemeClr>
          </a:solidFill>
          <a:ln w="1016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1BF56CAE-AC56-0171-8943-02E4354E3388}"/>
              </a:ext>
            </a:extLst>
          </p:cNvPr>
          <p:cNvSpPr/>
          <p:nvPr userDrawn="1"/>
        </p:nvSpPr>
        <p:spPr>
          <a:xfrm>
            <a:off x="5192799" y="2516880"/>
            <a:ext cx="105872" cy="71109"/>
          </a:xfrm>
          <a:custGeom>
            <a:avLst/>
            <a:gdLst>
              <a:gd name="connsiteX0" fmla="*/ 0 w 1361440"/>
              <a:gd name="connsiteY0" fmla="*/ 0 h 914400"/>
              <a:gd name="connsiteX1" fmla="*/ 0 w 1361440"/>
              <a:gd name="connsiteY1" fmla="*/ 355600 h 914400"/>
              <a:gd name="connsiteX2" fmla="*/ 101600 w 1361440"/>
              <a:gd name="connsiteY2" fmla="*/ 457200 h 914400"/>
              <a:gd name="connsiteX3" fmla="*/ 132080 w 1361440"/>
              <a:gd name="connsiteY3" fmla="*/ 457200 h 914400"/>
              <a:gd name="connsiteX4" fmla="*/ 680720 w 1361440"/>
              <a:gd name="connsiteY4" fmla="*/ 914400 h 914400"/>
              <a:gd name="connsiteX5" fmla="*/ 1229360 w 1361440"/>
              <a:gd name="connsiteY5" fmla="*/ 457200 h 914400"/>
              <a:gd name="connsiteX6" fmla="*/ 1259840 w 1361440"/>
              <a:gd name="connsiteY6" fmla="*/ 457200 h 914400"/>
              <a:gd name="connsiteX7" fmla="*/ 1361440 w 1361440"/>
              <a:gd name="connsiteY7" fmla="*/ 355600 h 914400"/>
              <a:gd name="connsiteX8" fmla="*/ 1361440 w 1361440"/>
              <a:gd name="connsiteY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440" h="914400">
                <a:moveTo>
                  <a:pt x="0" y="0"/>
                </a:moveTo>
                <a:lnTo>
                  <a:pt x="0" y="355600"/>
                </a:lnTo>
                <a:cubicBezTo>
                  <a:pt x="0" y="416560"/>
                  <a:pt x="40640" y="457200"/>
                  <a:pt x="101600" y="457200"/>
                </a:cubicBezTo>
                <a:lnTo>
                  <a:pt x="132080" y="457200"/>
                </a:lnTo>
                <a:cubicBezTo>
                  <a:pt x="182880" y="711200"/>
                  <a:pt x="416560" y="914400"/>
                  <a:pt x="680720" y="914400"/>
                </a:cubicBezTo>
                <a:cubicBezTo>
                  <a:pt x="955040" y="914400"/>
                  <a:pt x="1178560" y="721360"/>
                  <a:pt x="1229360" y="457200"/>
                </a:cubicBezTo>
                <a:lnTo>
                  <a:pt x="1259840" y="457200"/>
                </a:lnTo>
                <a:cubicBezTo>
                  <a:pt x="1320800" y="457200"/>
                  <a:pt x="1361440" y="416560"/>
                  <a:pt x="1361440" y="355600"/>
                </a:cubicBezTo>
                <a:lnTo>
                  <a:pt x="1361440" y="0"/>
                </a:lnTo>
                <a:close/>
              </a:path>
            </a:pathLst>
          </a:custGeom>
          <a:solidFill>
            <a:schemeClr val="bg1">
              <a:lumMod val="65000"/>
            </a:schemeClr>
          </a:solidFill>
          <a:ln w="1016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689CCC58-1485-6002-4C19-A251C37F512D}"/>
              </a:ext>
            </a:extLst>
          </p:cNvPr>
          <p:cNvSpPr/>
          <p:nvPr userDrawn="1"/>
        </p:nvSpPr>
        <p:spPr>
          <a:xfrm>
            <a:off x="5129784" y="2216511"/>
            <a:ext cx="232094" cy="249804"/>
          </a:xfrm>
          <a:custGeom>
            <a:avLst/>
            <a:gdLst>
              <a:gd name="connsiteX0" fmla="*/ 1409761 w 2984560"/>
              <a:gd name="connsiteY0" fmla="*/ 1730 h 3212289"/>
              <a:gd name="connsiteX1" fmla="*/ 7681 w 2984560"/>
              <a:gd name="connsiteY1" fmla="*/ 1332690 h 3212289"/>
              <a:gd name="connsiteX2" fmla="*/ 342961 w 2984560"/>
              <a:gd name="connsiteY2" fmla="*/ 2440130 h 3212289"/>
              <a:gd name="connsiteX3" fmla="*/ 749361 w 2984560"/>
              <a:gd name="connsiteY3" fmla="*/ 3212290 h 3212289"/>
              <a:gd name="connsiteX4" fmla="*/ 2232721 w 2984560"/>
              <a:gd name="connsiteY4" fmla="*/ 3212290 h 3212289"/>
              <a:gd name="connsiteX5" fmla="*/ 2639121 w 2984560"/>
              <a:gd name="connsiteY5" fmla="*/ 2429970 h 3212289"/>
              <a:gd name="connsiteX6" fmla="*/ 2984561 w 2984560"/>
              <a:gd name="connsiteY6" fmla="*/ 1485090 h 3212289"/>
              <a:gd name="connsiteX7" fmla="*/ 1409761 w 2984560"/>
              <a:gd name="connsiteY7" fmla="*/ 1730 h 321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4560" h="3212289">
                <a:moveTo>
                  <a:pt x="1409761" y="1730"/>
                </a:moveTo>
                <a:cubicBezTo>
                  <a:pt x="688401" y="42370"/>
                  <a:pt x="88961" y="611330"/>
                  <a:pt x="7681" y="1332690"/>
                </a:cubicBezTo>
                <a:cubicBezTo>
                  <a:pt x="-32959" y="1739090"/>
                  <a:pt x="88961" y="2135330"/>
                  <a:pt x="342961" y="2440130"/>
                </a:cubicBezTo>
                <a:cubicBezTo>
                  <a:pt x="536001" y="2673810"/>
                  <a:pt x="678241" y="2937970"/>
                  <a:pt x="749361" y="3212290"/>
                </a:cubicBezTo>
                <a:lnTo>
                  <a:pt x="2232721" y="3212290"/>
                </a:lnTo>
                <a:cubicBezTo>
                  <a:pt x="2303841" y="2937970"/>
                  <a:pt x="2446081" y="2663650"/>
                  <a:pt x="2639121" y="2429970"/>
                </a:cubicBezTo>
                <a:cubicBezTo>
                  <a:pt x="2862641" y="2165810"/>
                  <a:pt x="2984561" y="1830530"/>
                  <a:pt x="2984561" y="1485090"/>
                </a:cubicBezTo>
                <a:cubicBezTo>
                  <a:pt x="2984561" y="641810"/>
                  <a:pt x="2263201" y="-38910"/>
                  <a:pt x="1409761" y="1730"/>
                </a:cubicBezTo>
                <a:close/>
              </a:path>
            </a:pathLst>
          </a:custGeom>
          <a:solidFill>
            <a:srgbClr val="222043"/>
          </a:solidFill>
          <a:ln w="101600" cap="flat">
            <a:noFill/>
            <a:prstDash val="solid"/>
            <a:miter/>
          </a:ln>
        </p:spPr>
        <p:txBody>
          <a:bodyPr rtlCol="0" anchor="ctr"/>
          <a:lstStyle/>
          <a:p>
            <a:endParaRPr lang="en-US"/>
          </a:p>
        </p:txBody>
      </p:sp>
      <p:sp>
        <p:nvSpPr>
          <p:cNvPr id="34" name="Picture Placeholder 71">
            <a:extLst>
              <a:ext uri="{FF2B5EF4-FFF2-40B4-BE49-F238E27FC236}">
                <a16:creationId xmlns:a16="http://schemas.microsoft.com/office/drawing/2014/main" id="{8E8E9E01-1C51-882B-9946-59A8D8C398B8}"/>
              </a:ext>
            </a:extLst>
          </p:cNvPr>
          <p:cNvSpPr>
            <a:spLocks noGrp="1"/>
          </p:cNvSpPr>
          <p:nvPr>
            <p:ph type="pic" sz="quarter" idx="29" hasCustomPrompt="1"/>
          </p:nvPr>
        </p:nvSpPr>
        <p:spPr>
          <a:xfrm>
            <a:off x="4978397" y="428624"/>
            <a:ext cx="6786880" cy="1609132"/>
          </a:xfrm>
          <a:custGeom>
            <a:avLst/>
            <a:gdLst>
              <a:gd name="connsiteX0" fmla="*/ 0 w 6786880"/>
              <a:gd name="connsiteY0" fmla="*/ 0 h 1609132"/>
              <a:gd name="connsiteX1" fmla="*/ 6664681 w 6786880"/>
              <a:gd name="connsiteY1" fmla="*/ 0 h 1609132"/>
              <a:gd name="connsiteX2" fmla="*/ 6786880 w 6786880"/>
              <a:gd name="connsiteY2" fmla="*/ 122199 h 1609132"/>
              <a:gd name="connsiteX3" fmla="*/ 6786880 w 6786880"/>
              <a:gd name="connsiteY3" fmla="*/ 312388 h 1609132"/>
              <a:gd name="connsiteX4" fmla="*/ 6786880 w 6786880"/>
              <a:gd name="connsiteY4" fmla="*/ 1418943 h 1609132"/>
              <a:gd name="connsiteX5" fmla="*/ 6786880 w 6786880"/>
              <a:gd name="connsiteY5" fmla="*/ 1609132 h 1609132"/>
              <a:gd name="connsiteX6" fmla="*/ 0 w 6786880"/>
              <a:gd name="connsiteY6" fmla="*/ 1609132 h 1609132"/>
              <a:gd name="connsiteX7" fmla="*/ 0 w 6786880"/>
              <a:gd name="connsiteY7" fmla="*/ 1418943 h 1609132"/>
              <a:gd name="connsiteX8" fmla="*/ 0 w 6786880"/>
              <a:gd name="connsiteY8" fmla="*/ 190189 h 1609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6880" h="1609132">
                <a:moveTo>
                  <a:pt x="0" y="0"/>
                </a:moveTo>
                <a:lnTo>
                  <a:pt x="6664681" y="0"/>
                </a:lnTo>
                <a:cubicBezTo>
                  <a:pt x="6732170" y="0"/>
                  <a:pt x="6786880" y="54710"/>
                  <a:pt x="6786880" y="122199"/>
                </a:cubicBezTo>
                <a:lnTo>
                  <a:pt x="6786880" y="312388"/>
                </a:lnTo>
                <a:lnTo>
                  <a:pt x="6786880" y="1418943"/>
                </a:lnTo>
                <a:lnTo>
                  <a:pt x="6786880" y="1609132"/>
                </a:lnTo>
                <a:lnTo>
                  <a:pt x="0" y="1609132"/>
                </a:lnTo>
                <a:lnTo>
                  <a:pt x="0" y="1418943"/>
                </a:lnTo>
                <a:lnTo>
                  <a:pt x="0" y="190189"/>
                </a:lnTo>
                <a:close/>
              </a:path>
            </a:pathLst>
          </a:custGeom>
          <a:solidFill>
            <a:schemeClr val="bg1">
              <a:lumMod val="95000"/>
            </a:schemeClr>
          </a:solidFill>
        </p:spPr>
        <p:txBody>
          <a:bodyPr wrap="square" anchor="ctr">
            <a:noAutofit/>
          </a:bodyPr>
          <a:lstStyle>
            <a:lvl1pPr marL="0" indent="0" algn="ctr">
              <a:buNone/>
              <a:defRPr>
                <a:solidFill>
                  <a:schemeClr val="tx1"/>
                </a:solidFill>
                <a:latin typeface="+mj-lt"/>
              </a:defRPr>
            </a:lvl1pPr>
          </a:lstStyle>
          <a:p>
            <a:r>
              <a:rPr lang="en-US"/>
              <a:t>Image</a:t>
            </a:r>
          </a:p>
        </p:txBody>
      </p:sp>
    </p:spTree>
    <p:extLst>
      <p:ext uri="{BB962C8B-B14F-4D97-AF65-F5344CB8AC3E}">
        <p14:creationId xmlns:p14="http://schemas.microsoft.com/office/powerpoint/2010/main" val="67072097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ustomer story - solution (no stats)">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4BD4CED6-700C-4DD5-213E-A31A9143B0C6}"/>
              </a:ext>
            </a:extLst>
          </p:cNvPr>
          <p:cNvSpPr/>
          <p:nvPr userDrawn="1"/>
        </p:nvSpPr>
        <p:spPr bwMode="auto">
          <a:xfrm>
            <a:off x="-1" y="3984702"/>
            <a:ext cx="3139024" cy="2873298"/>
          </a:xfrm>
          <a:custGeom>
            <a:avLst/>
            <a:gdLst>
              <a:gd name="connsiteX0" fmla="*/ 0 w 3139024"/>
              <a:gd name="connsiteY0" fmla="*/ 0 h 2873298"/>
              <a:gd name="connsiteX1" fmla="*/ 119063 w 3139024"/>
              <a:gd name="connsiteY1" fmla="*/ 0 h 2873298"/>
              <a:gd name="connsiteX2" fmla="*/ 228603 w 3139024"/>
              <a:gd name="connsiteY2" fmla="*/ 109540 h 2873298"/>
              <a:gd name="connsiteX3" fmla="*/ 228603 w 3139024"/>
              <a:gd name="connsiteY3" fmla="*/ 1142892 h 2873298"/>
              <a:gd name="connsiteX4" fmla="*/ 228604 w 3139024"/>
              <a:gd name="connsiteY4" fmla="*/ 1142892 h 2873298"/>
              <a:gd name="connsiteX5" fmla="*/ 228604 w 3139024"/>
              <a:gd name="connsiteY5" fmla="*/ 2296215 h 2873298"/>
              <a:gd name="connsiteX6" fmla="*/ 397337 w 3139024"/>
              <a:gd name="connsiteY6" fmla="*/ 2503243 h 2873298"/>
              <a:gd name="connsiteX7" fmla="*/ 439916 w 3139024"/>
              <a:gd name="connsiteY7" fmla="*/ 2507536 h 2873298"/>
              <a:gd name="connsiteX8" fmla="*/ 2781386 w 3139024"/>
              <a:gd name="connsiteY8" fmla="*/ 2507536 h 2873298"/>
              <a:gd name="connsiteX9" fmla="*/ 2960205 w 3139024"/>
              <a:gd name="connsiteY9" fmla="*/ 2507536 h 2873298"/>
              <a:gd name="connsiteX10" fmla="*/ 3039965 w 3139024"/>
              <a:gd name="connsiteY10" fmla="*/ 2507536 h 2873298"/>
              <a:gd name="connsiteX11" fmla="*/ 3139024 w 3139024"/>
              <a:gd name="connsiteY11" fmla="*/ 2606595 h 2873298"/>
              <a:gd name="connsiteX12" fmla="*/ 3139024 w 3139024"/>
              <a:gd name="connsiteY12" fmla="*/ 2873297 h 2873298"/>
              <a:gd name="connsiteX13" fmla="*/ 3039238 w 3139024"/>
              <a:gd name="connsiteY13" fmla="*/ 2873297 h 2873298"/>
              <a:gd name="connsiteX14" fmla="*/ 3039238 w 3139024"/>
              <a:gd name="connsiteY14" fmla="*/ 2873298 h 2873298"/>
              <a:gd name="connsiteX15" fmla="*/ 2960205 w 3139024"/>
              <a:gd name="connsiteY15" fmla="*/ 2873298 h 2873298"/>
              <a:gd name="connsiteX16" fmla="*/ 2781386 w 3139024"/>
              <a:gd name="connsiteY16" fmla="*/ 2873298 h 2873298"/>
              <a:gd name="connsiteX17" fmla="*/ 1 w 3139024"/>
              <a:gd name="connsiteY17" fmla="*/ 2873298 h 2873298"/>
              <a:gd name="connsiteX18" fmla="*/ 1 w 3139024"/>
              <a:gd name="connsiteY18" fmla="*/ 2285784 h 2873298"/>
              <a:gd name="connsiteX19" fmla="*/ 0 w 3139024"/>
              <a:gd name="connsiteY19" fmla="*/ 2285784 h 2873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9024" h="2873298">
                <a:moveTo>
                  <a:pt x="0" y="0"/>
                </a:moveTo>
                <a:lnTo>
                  <a:pt x="119063" y="0"/>
                </a:lnTo>
                <a:cubicBezTo>
                  <a:pt x="179560" y="0"/>
                  <a:pt x="228603" y="49043"/>
                  <a:pt x="228603" y="109540"/>
                </a:cubicBezTo>
                <a:lnTo>
                  <a:pt x="228603" y="1142892"/>
                </a:lnTo>
                <a:lnTo>
                  <a:pt x="228604" y="1142892"/>
                </a:lnTo>
                <a:lnTo>
                  <a:pt x="228604" y="2296215"/>
                </a:lnTo>
                <a:cubicBezTo>
                  <a:pt x="228604" y="2398336"/>
                  <a:pt x="301041" y="2483538"/>
                  <a:pt x="397337" y="2503243"/>
                </a:cubicBezTo>
                <a:lnTo>
                  <a:pt x="439916" y="2507536"/>
                </a:lnTo>
                <a:lnTo>
                  <a:pt x="2781386" y="2507536"/>
                </a:lnTo>
                <a:lnTo>
                  <a:pt x="2960205" y="2507536"/>
                </a:lnTo>
                <a:lnTo>
                  <a:pt x="3039965" y="2507536"/>
                </a:lnTo>
                <a:cubicBezTo>
                  <a:pt x="3094674" y="2507536"/>
                  <a:pt x="3139024" y="2551886"/>
                  <a:pt x="3139024" y="2606595"/>
                </a:cubicBezTo>
                <a:lnTo>
                  <a:pt x="3139024" y="2873297"/>
                </a:lnTo>
                <a:lnTo>
                  <a:pt x="3039238" y="2873297"/>
                </a:lnTo>
                <a:lnTo>
                  <a:pt x="3039238" y="2873298"/>
                </a:lnTo>
                <a:lnTo>
                  <a:pt x="2960205" y="2873298"/>
                </a:lnTo>
                <a:lnTo>
                  <a:pt x="2781386" y="2873298"/>
                </a:lnTo>
                <a:lnTo>
                  <a:pt x="1" y="2873298"/>
                </a:lnTo>
                <a:lnTo>
                  <a:pt x="1" y="2285784"/>
                </a:lnTo>
                <a:lnTo>
                  <a:pt x="0" y="2285784"/>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4" name="Rectangle: Rounded Corners 3">
            <a:extLst>
              <a:ext uri="{FF2B5EF4-FFF2-40B4-BE49-F238E27FC236}">
                <a16:creationId xmlns:a16="http://schemas.microsoft.com/office/drawing/2014/main" id="{3DC69A49-743E-FF27-9F8B-EDDD39668AB9}"/>
              </a:ext>
            </a:extLst>
          </p:cNvPr>
          <p:cNvSpPr/>
          <p:nvPr userDrawn="1"/>
        </p:nvSpPr>
        <p:spPr bwMode="auto">
          <a:xfrm>
            <a:off x="293689" y="292101"/>
            <a:ext cx="11604624" cy="6114910"/>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965321C1-AFA4-2450-0735-00358D9F64B0}"/>
              </a:ext>
            </a:extLst>
          </p:cNvPr>
          <p:cNvSpPr/>
          <p:nvPr userDrawn="1"/>
        </p:nvSpPr>
        <p:spPr bwMode="auto">
          <a:xfrm>
            <a:off x="426720" y="428625"/>
            <a:ext cx="4392929" cy="5841862"/>
          </a:xfrm>
          <a:prstGeom prst="roundRect">
            <a:avLst>
              <a:gd name="adj" fmla="val 2323"/>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8" name="TextBox 7">
            <a:extLst>
              <a:ext uri="{FF2B5EF4-FFF2-40B4-BE49-F238E27FC236}">
                <a16:creationId xmlns:a16="http://schemas.microsoft.com/office/drawing/2014/main" id="{7A83C07F-4FCA-C21E-0394-35A78AB8D4EE}"/>
              </a:ext>
            </a:extLst>
          </p:cNvPr>
          <p:cNvSpPr txBox="1"/>
          <p:nvPr userDrawn="1"/>
        </p:nvSpPr>
        <p:spPr>
          <a:xfrm>
            <a:off x="5644830" y="2247167"/>
            <a:ext cx="266285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 normalizeH="0" baseline="0" noProof="0">
                <a:ln>
                  <a:noFill/>
                </a:ln>
                <a:solidFill>
                  <a:schemeClr val="bg2"/>
                </a:solidFill>
                <a:effectLst/>
                <a:uLnTx/>
                <a:uFillTx/>
                <a:latin typeface="Segoe UI Semibold"/>
                <a:ea typeface="+mn-ea"/>
                <a:cs typeface="Segoe UI Semibold"/>
              </a:rPr>
              <a:t>Current Solution</a:t>
            </a:r>
            <a:endParaRPr kumimoji="0" lang="en-US" sz="2000" b="0" i="0" u="none" strike="noStrike" kern="1200" cap="none" spc="0" normalizeH="0" baseline="0" noProof="0">
              <a:ln>
                <a:noFill/>
              </a:ln>
              <a:solidFill>
                <a:schemeClr val="bg2"/>
              </a:solidFill>
              <a:effectLst/>
              <a:uLnTx/>
              <a:uFillTx/>
              <a:latin typeface="Segoe UI Semibold"/>
              <a:ea typeface="+mn-ea"/>
              <a:cs typeface="+mn-cs"/>
            </a:endParaRPr>
          </a:p>
        </p:txBody>
      </p:sp>
      <p:cxnSp>
        <p:nvCxnSpPr>
          <p:cNvPr id="9" name="Straight Connector 8">
            <a:extLst>
              <a:ext uri="{FF2B5EF4-FFF2-40B4-BE49-F238E27FC236}">
                <a16:creationId xmlns:a16="http://schemas.microsoft.com/office/drawing/2014/main" id="{47CA7772-C21D-7441-6853-E76F3BBBFC06}"/>
              </a:ext>
            </a:extLst>
          </p:cNvPr>
          <p:cNvCxnSpPr>
            <a:cxnSpLocks/>
          </p:cNvCxnSpPr>
          <p:nvPr userDrawn="1"/>
        </p:nvCxnSpPr>
        <p:spPr>
          <a:xfrm flipV="1">
            <a:off x="4978399" y="2767452"/>
            <a:ext cx="3329281" cy="0"/>
          </a:xfrm>
          <a:prstGeom prst="line">
            <a:avLst/>
          </a:prstGeom>
          <a:ln w="25400">
            <a:solidFill>
              <a:schemeClr val="bg1">
                <a:lumMod val="85000"/>
              </a:schemeClr>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B3FFE7E-5236-B500-94E6-09200B2658DD}"/>
              </a:ext>
            </a:extLst>
          </p:cNvPr>
          <p:cNvSpPr txBox="1"/>
          <p:nvPr userDrawn="1"/>
        </p:nvSpPr>
        <p:spPr>
          <a:xfrm>
            <a:off x="9102428" y="2247167"/>
            <a:ext cx="2662850" cy="307777"/>
          </a:xfrm>
          <a:prstGeom prst="rect">
            <a:avLst/>
          </a:prstGeom>
          <a:noFill/>
        </p:spPr>
        <p:txBody>
          <a:bodyPr wrap="square" lIns="0" tIns="0" rIns="0" bIns="0" rtlCol="0">
            <a:spAutoFit/>
          </a:bodyPr>
          <a:lstStyle/>
          <a:p>
            <a:pPr>
              <a:defRPr/>
            </a:pPr>
            <a:r>
              <a:rPr lang="en-US" sz="2000" b="1" spc="-5">
                <a:solidFill>
                  <a:schemeClr val="bg2"/>
                </a:solidFill>
                <a:latin typeface="Segoe UI Semibold"/>
                <a:cs typeface="Segoe UI Semibold"/>
              </a:rPr>
              <a:t>Looking Ahead</a:t>
            </a:r>
          </a:p>
        </p:txBody>
      </p:sp>
      <p:cxnSp>
        <p:nvCxnSpPr>
          <p:cNvPr id="11" name="Straight Connector 10">
            <a:extLst>
              <a:ext uri="{FF2B5EF4-FFF2-40B4-BE49-F238E27FC236}">
                <a16:creationId xmlns:a16="http://schemas.microsoft.com/office/drawing/2014/main" id="{734C641C-8B2D-F9F1-A580-49DAB1C43C50}"/>
              </a:ext>
            </a:extLst>
          </p:cNvPr>
          <p:cNvCxnSpPr>
            <a:cxnSpLocks/>
          </p:cNvCxnSpPr>
          <p:nvPr userDrawn="1"/>
        </p:nvCxnSpPr>
        <p:spPr>
          <a:xfrm flipV="1">
            <a:off x="8435997" y="2767452"/>
            <a:ext cx="3329281" cy="0"/>
          </a:xfrm>
          <a:prstGeom prst="line">
            <a:avLst/>
          </a:prstGeom>
          <a:ln w="254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Freeform: Shape 58">
            <a:extLst>
              <a:ext uri="{FF2B5EF4-FFF2-40B4-BE49-F238E27FC236}">
                <a16:creationId xmlns:a16="http://schemas.microsoft.com/office/drawing/2014/main" id="{CE867CDD-8FF7-35CF-2869-8A2134058FE2}"/>
              </a:ext>
            </a:extLst>
          </p:cNvPr>
          <p:cNvSpPr/>
          <p:nvPr userDrawn="1"/>
        </p:nvSpPr>
        <p:spPr>
          <a:xfrm flipH="1">
            <a:off x="4978399" y="2139884"/>
            <a:ext cx="526688" cy="522344"/>
          </a:xfrm>
          <a:prstGeom prst="ellipse">
            <a:avLst/>
          </a:prstGeom>
          <a:solidFill>
            <a:schemeClr val="bg1">
              <a:lumMod val="95000"/>
            </a:schemeClr>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58">
            <a:extLst>
              <a:ext uri="{FF2B5EF4-FFF2-40B4-BE49-F238E27FC236}">
                <a16:creationId xmlns:a16="http://schemas.microsoft.com/office/drawing/2014/main" id="{28E9490E-518C-3453-EF6E-83DEFB2167F3}"/>
              </a:ext>
            </a:extLst>
          </p:cNvPr>
          <p:cNvSpPr/>
          <p:nvPr userDrawn="1"/>
        </p:nvSpPr>
        <p:spPr>
          <a:xfrm flipH="1">
            <a:off x="8435997" y="2139884"/>
            <a:ext cx="526688" cy="522344"/>
          </a:xfrm>
          <a:prstGeom prst="ellipse">
            <a:avLst/>
          </a:prstGeom>
          <a:solidFill>
            <a:schemeClr val="bg1">
              <a:lumMod val="95000"/>
            </a:schemeClr>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Title 1">
            <a:extLst>
              <a:ext uri="{FF2B5EF4-FFF2-40B4-BE49-F238E27FC236}">
                <a16:creationId xmlns:a16="http://schemas.microsoft.com/office/drawing/2014/main" id="{7764E4C4-69CF-276C-A76F-FA2F1940B9BC}"/>
              </a:ext>
            </a:extLst>
          </p:cNvPr>
          <p:cNvSpPr>
            <a:spLocks noGrp="1"/>
          </p:cNvSpPr>
          <p:nvPr>
            <p:ph type="title"/>
          </p:nvPr>
        </p:nvSpPr>
        <p:spPr>
          <a:xfrm>
            <a:off x="588263" y="1358431"/>
            <a:ext cx="4064699" cy="430887"/>
          </a:xfrm>
        </p:spPr>
        <p:txBody>
          <a:bodyPr/>
          <a:lstStyle>
            <a:lvl1pPr marL="0" algn="l" defTabSz="932742" rtl="0" eaLnBrk="1" latinLnBrk="0" hangingPunct="1">
              <a:lnSpc>
                <a:spcPct val="10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Click to edit Master title</a:t>
            </a:r>
          </a:p>
        </p:txBody>
      </p:sp>
      <p:sp>
        <p:nvSpPr>
          <p:cNvPr id="17" name="Text Placeholder 42">
            <a:extLst>
              <a:ext uri="{FF2B5EF4-FFF2-40B4-BE49-F238E27FC236}">
                <a16:creationId xmlns:a16="http://schemas.microsoft.com/office/drawing/2014/main" id="{13F9CD75-87C9-E734-1E5F-9B0CE30EF457}"/>
              </a:ext>
            </a:extLst>
          </p:cNvPr>
          <p:cNvSpPr>
            <a:spLocks noGrp="1"/>
          </p:cNvSpPr>
          <p:nvPr>
            <p:ph type="body" sz="quarter" idx="18"/>
          </p:nvPr>
        </p:nvSpPr>
        <p:spPr>
          <a:xfrm>
            <a:off x="588263" y="1903420"/>
            <a:ext cx="4064698" cy="246221"/>
          </a:xfrm>
        </p:spPr>
        <p:txBody>
          <a:bodyPr>
            <a:spAutoFit/>
          </a:bodyPr>
          <a:lstStyle>
            <a:lvl1pPr marL="0" indent="0">
              <a:spcBef>
                <a:spcPts val="0"/>
              </a:spcBef>
              <a:buNone/>
              <a:defRPr sz="1600">
                <a:latin typeface="+mn-lt"/>
              </a:defRPr>
            </a:lvl1pPr>
          </a:lstStyle>
          <a:p>
            <a:pPr lvl="0"/>
            <a:r>
              <a:rPr lang="en-US"/>
              <a:t>Click to edit Master text styles</a:t>
            </a:r>
          </a:p>
        </p:txBody>
      </p:sp>
      <p:sp>
        <p:nvSpPr>
          <p:cNvPr id="24" name="Text Placeholder 42">
            <a:extLst>
              <a:ext uri="{FF2B5EF4-FFF2-40B4-BE49-F238E27FC236}">
                <a16:creationId xmlns:a16="http://schemas.microsoft.com/office/drawing/2014/main" id="{12D956B7-3401-68D7-E2CF-F76A1F32B7B6}"/>
              </a:ext>
            </a:extLst>
          </p:cNvPr>
          <p:cNvSpPr>
            <a:spLocks noGrp="1"/>
          </p:cNvSpPr>
          <p:nvPr>
            <p:ph type="body" sz="quarter" idx="25"/>
          </p:nvPr>
        </p:nvSpPr>
        <p:spPr>
          <a:xfrm>
            <a:off x="4978399" y="2872677"/>
            <a:ext cx="3329281" cy="246221"/>
          </a:xfrm>
        </p:spPr>
        <p:txBody>
          <a:bodyPr wrap="square">
            <a:spAutoFit/>
          </a:bodyPr>
          <a:lstStyle>
            <a:lvl1pPr marL="0" indent="0">
              <a:buNone/>
              <a:defRPr sz="1600">
                <a:solidFill>
                  <a:schemeClr val="tx1"/>
                </a:solidFill>
                <a:latin typeface="+mn-lt"/>
              </a:defRPr>
            </a:lvl1pPr>
          </a:lstStyle>
          <a:p>
            <a:pPr lvl="0"/>
            <a:r>
              <a:rPr lang="en-US"/>
              <a:t>Click to edit Master text styles</a:t>
            </a:r>
          </a:p>
        </p:txBody>
      </p:sp>
      <p:sp>
        <p:nvSpPr>
          <p:cNvPr id="25" name="Text Placeholder 42">
            <a:extLst>
              <a:ext uri="{FF2B5EF4-FFF2-40B4-BE49-F238E27FC236}">
                <a16:creationId xmlns:a16="http://schemas.microsoft.com/office/drawing/2014/main" id="{F4228D93-A8F9-CA26-B4DD-D193FE140660}"/>
              </a:ext>
            </a:extLst>
          </p:cNvPr>
          <p:cNvSpPr>
            <a:spLocks noGrp="1"/>
          </p:cNvSpPr>
          <p:nvPr>
            <p:ph type="body" sz="quarter" idx="26"/>
          </p:nvPr>
        </p:nvSpPr>
        <p:spPr>
          <a:xfrm>
            <a:off x="8435997" y="2872677"/>
            <a:ext cx="3329281" cy="246221"/>
          </a:xfrm>
        </p:spPr>
        <p:txBody>
          <a:bodyPr wrap="square">
            <a:spAutoFit/>
          </a:bodyPr>
          <a:lstStyle>
            <a:lvl1pPr marL="0" indent="0">
              <a:buNone/>
              <a:defRPr sz="1600">
                <a:solidFill>
                  <a:schemeClr val="tx1"/>
                </a:solidFill>
                <a:latin typeface="+mn-lt"/>
              </a:defRPr>
            </a:lvl1pPr>
          </a:lstStyle>
          <a:p>
            <a:pPr lvl="0"/>
            <a:r>
              <a:rPr lang="en-US"/>
              <a:t>Click to edit Master text styles</a:t>
            </a:r>
          </a:p>
        </p:txBody>
      </p:sp>
      <p:sp>
        <p:nvSpPr>
          <p:cNvPr id="26" name="Picture Placeholder 56">
            <a:extLst>
              <a:ext uri="{FF2B5EF4-FFF2-40B4-BE49-F238E27FC236}">
                <a16:creationId xmlns:a16="http://schemas.microsoft.com/office/drawing/2014/main" id="{51F96B87-9D57-E28B-1306-AD15F512061D}"/>
              </a:ext>
            </a:extLst>
          </p:cNvPr>
          <p:cNvSpPr>
            <a:spLocks noGrp="1"/>
          </p:cNvSpPr>
          <p:nvPr>
            <p:ph type="pic" sz="quarter" idx="16" hasCustomPrompt="1"/>
          </p:nvPr>
        </p:nvSpPr>
        <p:spPr>
          <a:xfrm>
            <a:off x="584198" y="530398"/>
            <a:ext cx="1492251" cy="750715"/>
          </a:xfrm>
          <a:prstGeom prst="rect">
            <a:avLst/>
          </a:prstGeom>
        </p:spPr>
        <p:txBody>
          <a:bodyPr anchor="ctr">
            <a:noAutofit/>
          </a:bodyPr>
          <a:lstStyle>
            <a:lvl1pPr marL="0" indent="0" algn="ctr">
              <a:buNone/>
              <a:defRPr sz="2000">
                <a:latin typeface="+mj-lt"/>
              </a:defRPr>
            </a:lvl1pPr>
          </a:lstStyle>
          <a:p>
            <a:r>
              <a:rPr lang="en-US"/>
              <a:t>Image</a:t>
            </a:r>
          </a:p>
        </p:txBody>
      </p:sp>
      <p:grpSp>
        <p:nvGrpSpPr>
          <p:cNvPr id="27" name="Picture Placeholder 815">
            <a:extLst>
              <a:ext uri="{FF2B5EF4-FFF2-40B4-BE49-F238E27FC236}">
                <a16:creationId xmlns:a16="http://schemas.microsoft.com/office/drawing/2014/main" id="{4B544683-5DBF-F12B-29A7-097FED6D6CDC}"/>
              </a:ext>
            </a:extLst>
          </p:cNvPr>
          <p:cNvGrpSpPr/>
          <p:nvPr userDrawn="1"/>
        </p:nvGrpSpPr>
        <p:grpSpPr>
          <a:xfrm>
            <a:off x="8526088" y="2231221"/>
            <a:ext cx="297629" cy="297627"/>
            <a:chOff x="5026092" y="2187685"/>
            <a:chExt cx="297629" cy="297627"/>
          </a:xfrm>
        </p:grpSpPr>
        <p:sp>
          <p:nvSpPr>
            <p:cNvPr id="28" name="Freeform: Shape 27">
              <a:extLst>
                <a:ext uri="{FF2B5EF4-FFF2-40B4-BE49-F238E27FC236}">
                  <a16:creationId xmlns:a16="http://schemas.microsoft.com/office/drawing/2014/main" id="{759DD4A6-97A0-0212-A792-07F21BAF724A}"/>
                </a:ext>
              </a:extLst>
            </p:cNvPr>
            <p:cNvSpPr/>
            <p:nvPr/>
          </p:nvSpPr>
          <p:spPr>
            <a:xfrm>
              <a:off x="5186783" y="2187685"/>
              <a:ext cx="195964" cy="195968"/>
            </a:xfrm>
            <a:custGeom>
              <a:avLst/>
              <a:gdLst>
                <a:gd name="connsiteX0" fmla="*/ 130622 w 195964"/>
                <a:gd name="connsiteY0" fmla="*/ -1012 h 195968"/>
                <a:gd name="connsiteX1" fmla="*/ 130747 w 195964"/>
                <a:gd name="connsiteY1" fmla="*/ -1012 h 195968"/>
                <a:gd name="connsiteX2" fmla="*/ 136689 w 195964"/>
                <a:gd name="connsiteY2" fmla="*/ 4906 h 195968"/>
                <a:gd name="connsiteX3" fmla="*/ 136689 w 195964"/>
                <a:gd name="connsiteY3" fmla="*/ 32106 h 195968"/>
                <a:gd name="connsiteX4" fmla="*/ 141396 w 195964"/>
                <a:gd name="connsiteY4" fmla="*/ 27403 h 195968"/>
                <a:gd name="connsiteX5" fmla="*/ 154455 w 195964"/>
                <a:gd name="connsiteY5" fmla="*/ 21994 h 195968"/>
                <a:gd name="connsiteX6" fmla="*/ 167534 w 195964"/>
                <a:gd name="connsiteY6" fmla="*/ 27403 h 195968"/>
                <a:gd name="connsiteX7" fmla="*/ 167494 w 195964"/>
                <a:gd name="connsiteY7" fmla="*/ 53466 h 195968"/>
                <a:gd name="connsiteX8" fmla="*/ 162779 w 195964"/>
                <a:gd name="connsiteY8" fmla="*/ 58208 h 195968"/>
                <a:gd name="connsiteX9" fmla="*/ 189948 w 195964"/>
                <a:gd name="connsiteY9" fmla="*/ 58208 h 195968"/>
                <a:gd name="connsiteX10" fmla="*/ 194118 w 195964"/>
                <a:gd name="connsiteY10" fmla="*/ 59933 h 195968"/>
                <a:gd name="connsiteX11" fmla="*/ 194142 w 195964"/>
                <a:gd name="connsiteY11" fmla="*/ 68281 h 195968"/>
                <a:gd name="connsiteX12" fmla="*/ 152723 w 195964"/>
                <a:gd name="connsiteY12" fmla="*/ 109707 h 195968"/>
                <a:gd name="connsiteX13" fmla="*/ 148525 w 195964"/>
                <a:gd name="connsiteY13" fmla="*/ 111432 h 195968"/>
                <a:gd name="connsiteX14" fmla="*/ 109520 w 195964"/>
                <a:gd name="connsiteY14" fmla="*/ 111432 h 195968"/>
                <a:gd name="connsiteX15" fmla="*/ 31374 w 195964"/>
                <a:gd name="connsiteY15" fmla="*/ 189543 h 195968"/>
                <a:gd name="connsiteX16" fmla="*/ 5271 w 195964"/>
                <a:gd name="connsiteY16" fmla="*/ 189582 h 195968"/>
                <a:gd name="connsiteX17" fmla="*/ 5271 w 195964"/>
                <a:gd name="connsiteY17" fmla="*/ 163480 h 195968"/>
                <a:gd name="connsiteX18" fmla="*/ 83430 w 195964"/>
                <a:gd name="connsiteY18" fmla="*/ 85330 h 195968"/>
                <a:gd name="connsiteX19" fmla="*/ 83430 w 195964"/>
                <a:gd name="connsiteY19" fmla="*/ 46372 h 195968"/>
                <a:gd name="connsiteX20" fmla="*/ 85178 w 195964"/>
                <a:gd name="connsiteY20" fmla="*/ 42178 h 195968"/>
                <a:gd name="connsiteX21" fmla="*/ 126597 w 195964"/>
                <a:gd name="connsiteY21" fmla="*/ 752 h 195968"/>
                <a:gd name="connsiteX22" fmla="*/ 130618 w 195964"/>
                <a:gd name="connsiteY22" fmla="*/ -973 h 195968"/>
                <a:gd name="connsiteX23" fmla="*/ 130622 w 195964"/>
                <a:gd name="connsiteY23" fmla="*/ -1012 h 19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5964" h="195968">
                  <a:moveTo>
                    <a:pt x="130622" y="-1012"/>
                  </a:moveTo>
                  <a:cubicBezTo>
                    <a:pt x="130665" y="-1012"/>
                    <a:pt x="130708" y="-1012"/>
                    <a:pt x="130747" y="-1012"/>
                  </a:cubicBezTo>
                  <a:cubicBezTo>
                    <a:pt x="134016" y="-1012"/>
                    <a:pt x="136677" y="1653"/>
                    <a:pt x="136689" y="4906"/>
                  </a:cubicBezTo>
                  <a:lnTo>
                    <a:pt x="136689" y="32106"/>
                  </a:lnTo>
                  <a:lnTo>
                    <a:pt x="141396" y="27403"/>
                  </a:lnTo>
                  <a:cubicBezTo>
                    <a:pt x="144974" y="23797"/>
                    <a:pt x="149713" y="21994"/>
                    <a:pt x="154455" y="21994"/>
                  </a:cubicBezTo>
                  <a:cubicBezTo>
                    <a:pt x="159201" y="21994"/>
                    <a:pt x="163951" y="23797"/>
                    <a:pt x="167534" y="27403"/>
                  </a:cubicBezTo>
                  <a:cubicBezTo>
                    <a:pt x="174694" y="34575"/>
                    <a:pt x="174663" y="46333"/>
                    <a:pt x="167494" y="53466"/>
                  </a:cubicBezTo>
                  <a:lnTo>
                    <a:pt x="162779" y="58208"/>
                  </a:lnTo>
                  <a:lnTo>
                    <a:pt x="189948" y="58208"/>
                  </a:lnTo>
                  <a:cubicBezTo>
                    <a:pt x="191508" y="58208"/>
                    <a:pt x="193009" y="58835"/>
                    <a:pt x="194118" y="59933"/>
                  </a:cubicBezTo>
                  <a:cubicBezTo>
                    <a:pt x="196434" y="62206"/>
                    <a:pt x="196446" y="65969"/>
                    <a:pt x="194142" y="68281"/>
                  </a:cubicBezTo>
                  <a:lnTo>
                    <a:pt x="152723" y="109707"/>
                  </a:lnTo>
                  <a:cubicBezTo>
                    <a:pt x="151610" y="110805"/>
                    <a:pt x="150101" y="111432"/>
                    <a:pt x="148525" y="111432"/>
                  </a:cubicBezTo>
                  <a:lnTo>
                    <a:pt x="109520" y="111432"/>
                  </a:lnTo>
                  <a:lnTo>
                    <a:pt x="31374" y="189543"/>
                  </a:lnTo>
                  <a:cubicBezTo>
                    <a:pt x="24209" y="196716"/>
                    <a:pt x="12436" y="196794"/>
                    <a:pt x="5271" y="189582"/>
                  </a:cubicBezTo>
                  <a:cubicBezTo>
                    <a:pt x="-1893" y="182449"/>
                    <a:pt x="-1893" y="170652"/>
                    <a:pt x="5271" y="163480"/>
                  </a:cubicBezTo>
                  <a:lnTo>
                    <a:pt x="83430" y="85330"/>
                  </a:lnTo>
                  <a:lnTo>
                    <a:pt x="83430" y="46372"/>
                  </a:lnTo>
                  <a:cubicBezTo>
                    <a:pt x="83430" y="44805"/>
                    <a:pt x="84061" y="43276"/>
                    <a:pt x="85178" y="42178"/>
                  </a:cubicBezTo>
                  <a:lnTo>
                    <a:pt x="126597" y="752"/>
                  </a:lnTo>
                  <a:cubicBezTo>
                    <a:pt x="127663" y="-306"/>
                    <a:pt x="129105" y="-934"/>
                    <a:pt x="130618" y="-973"/>
                  </a:cubicBezTo>
                  <a:lnTo>
                    <a:pt x="130622" y="-1012"/>
                  </a:lnTo>
                  <a:close/>
                </a:path>
              </a:pathLst>
            </a:custGeom>
            <a:solidFill>
              <a:srgbClr val="222043"/>
            </a:solidFill>
            <a:ln w="4659"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3E76F079-5541-3818-3630-94EB28441B31}"/>
                </a:ext>
              </a:extLst>
            </p:cNvPr>
            <p:cNvSpPr/>
            <p:nvPr/>
          </p:nvSpPr>
          <p:spPr>
            <a:xfrm>
              <a:off x="5026092" y="2187685"/>
              <a:ext cx="356654" cy="356653"/>
            </a:xfrm>
            <a:custGeom>
              <a:avLst/>
              <a:gdLst>
                <a:gd name="connsiteX0" fmla="*/ 178225 w 356654"/>
                <a:gd name="connsiteY0" fmla="*/ -1012 h 356653"/>
                <a:gd name="connsiteX1" fmla="*/ 254679 w 356654"/>
                <a:gd name="connsiteY1" fmla="*/ 16194 h 356653"/>
                <a:gd name="connsiteX2" fmla="*/ 236983 w 356654"/>
                <a:gd name="connsiteY2" fmla="*/ 33909 h 356653"/>
                <a:gd name="connsiteX3" fmla="*/ 231724 w 356654"/>
                <a:gd name="connsiteY3" fmla="*/ 46568 h 356653"/>
                <a:gd name="connsiteX4" fmla="*/ 231724 w 356654"/>
                <a:gd name="connsiteY4" fmla="*/ 51467 h 356653"/>
                <a:gd name="connsiteX5" fmla="*/ 178225 w 356654"/>
                <a:gd name="connsiteY5" fmla="*/ 40572 h 356653"/>
                <a:gd name="connsiteX6" fmla="*/ 41497 w 356654"/>
                <a:gd name="connsiteY6" fmla="*/ 177315 h 356653"/>
                <a:gd name="connsiteX7" fmla="*/ 178225 w 356654"/>
                <a:gd name="connsiteY7" fmla="*/ 314058 h 356653"/>
                <a:gd name="connsiteX8" fmla="*/ 314953 w 356654"/>
                <a:gd name="connsiteY8" fmla="*/ 177315 h 356653"/>
                <a:gd name="connsiteX9" fmla="*/ 304066 w 356654"/>
                <a:gd name="connsiteY9" fmla="*/ 123856 h 356653"/>
                <a:gd name="connsiteX10" fmla="*/ 308988 w 356654"/>
                <a:gd name="connsiteY10" fmla="*/ 123856 h 356653"/>
                <a:gd name="connsiteX11" fmla="*/ 321628 w 356654"/>
                <a:gd name="connsiteY11" fmla="*/ 118565 h 356653"/>
                <a:gd name="connsiteX12" fmla="*/ 339335 w 356654"/>
                <a:gd name="connsiteY12" fmla="*/ 100850 h 356653"/>
                <a:gd name="connsiteX13" fmla="*/ 356553 w 356654"/>
                <a:gd name="connsiteY13" fmla="*/ 177315 h 356653"/>
                <a:gd name="connsiteX14" fmla="*/ 178225 w 356654"/>
                <a:gd name="connsiteY14" fmla="*/ 355642 h 356653"/>
                <a:gd name="connsiteX15" fmla="*/ -102 w 356654"/>
                <a:gd name="connsiteY15" fmla="*/ 177315 h 356653"/>
                <a:gd name="connsiteX16" fmla="*/ 178225 w 356654"/>
                <a:gd name="connsiteY16" fmla="*/ -1012 h 35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6654" h="356653">
                  <a:moveTo>
                    <a:pt x="178225" y="-1012"/>
                  </a:moveTo>
                  <a:cubicBezTo>
                    <a:pt x="205578" y="-1012"/>
                    <a:pt x="231500" y="5181"/>
                    <a:pt x="254679" y="16194"/>
                  </a:cubicBezTo>
                  <a:lnTo>
                    <a:pt x="236983" y="33909"/>
                  </a:lnTo>
                  <a:cubicBezTo>
                    <a:pt x="233624" y="37240"/>
                    <a:pt x="231728" y="41826"/>
                    <a:pt x="231724" y="46568"/>
                  </a:cubicBezTo>
                  <a:lnTo>
                    <a:pt x="231724" y="51467"/>
                  </a:lnTo>
                  <a:cubicBezTo>
                    <a:pt x="215286" y="44451"/>
                    <a:pt x="197206" y="40572"/>
                    <a:pt x="178225" y="40572"/>
                  </a:cubicBezTo>
                  <a:cubicBezTo>
                    <a:pt x="102791" y="40572"/>
                    <a:pt x="41497" y="101908"/>
                    <a:pt x="41497" y="177315"/>
                  </a:cubicBezTo>
                  <a:cubicBezTo>
                    <a:pt x="41497" y="252761"/>
                    <a:pt x="102791" y="314058"/>
                    <a:pt x="178225" y="314058"/>
                  </a:cubicBezTo>
                  <a:cubicBezTo>
                    <a:pt x="253664" y="314058"/>
                    <a:pt x="314953" y="252761"/>
                    <a:pt x="314953" y="177315"/>
                  </a:cubicBezTo>
                  <a:cubicBezTo>
                    <a:pt x="314953" y="158346"/>
                    <a:pt x="311073" y="140278"/>
                    <a:pt x="304066" y="123856"/>
                  </a:cubicBezTo>
                  <a:lnTo>
                    <a:pt x="308988" y="123856"/>
                  </a:lnTo>
                  <a:cubicBezTo>
                    <a:pt x="313727" y="123856"/>
                    <a:pt x="318289" y="121936"/>
                    <a:pt x="321628" y="118565"/>
                  </a:cubicBezTo>
                  <a:lnTo>
                    <a:pt x="339335" y="100850"/>
                  </a:lnTo>
                  <a:cubicBezTo>
                    <a:pt x="350364" y="124052"/>
                    <a:pt x="356553" y="149958"/>
                    <a:pt x="356553" y="177315"/>
                  </a:cubicBezTo>
                  <a:cubicBezTo>
                    <a:pt x="356553" y="275728"/>
                    <a:pt x="276642" y="355642"/>
                    <a:pt x="178225" y="355642"/>
                  </a:cubicBezTo>
                  <a:cubicBezTo>
                    <a:pt x="79808" y="355642"/>
                    <a:pt x="-102" y="275728"/>
                    <a:pt x="-102" y="177315"/>
                  </a:cubicBezTo>
                  <a:cubicBezTo>
                    <a:pt x="-102" y="78902"/>
                    <a:pt x="79808" y="-1012"/>
                    <a:pt x="178225" y="-1012"/>
                  </a:cubicBezTo>
                  <a:close/>
                </a:path>
              </a:pathLst>
            </a:custGeom>
            <a:solidFill>
              <a:srgbClr val="BABABA"/>
            </a:solidFill>
            <a:ln w="4659"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034BFEC-7A6D-E844-3147-0625249941A9}"/>
                </a:ext>
              </a:extLst>
            </p:cNvPr>
            <p:cNvSpPr/>
            <p:nvPr/>
          </p:nvSpPr>
          <p:spPr>
            <a:xfrm>
              <a:off x="5108397" y="2269990"/>
              <a:ext cx="192048" cy="192044"/>
            </a:xfrm>
            <a:custGeom>
              <a:avLst/>
              <a:gdLst>
                <a:gd name="connsiteX0" fmla="*/ 95944 w 192048"/>
                <a:gd name="connsiteY0" fmla="*/ -1012 h 192044"/>
                <a:gd name="connsiteX1" fmla="*/ 138484 w 192048"/>
                <a:gd name="connsiteY1" fmla="*/ 9061 h 192044"/>
                <a:gd name="connsiteX2" fmla="*/ 105593 w 192048"/>
                <a:gd name="connsiteY2" fmla="*/ 41944 h 192044"/>
                <a:gd name="connsiteX3" fmla="*/ 95944 w 192048"/>
                <a:gd name="connsiteY3" fmla="*/ 41042 h 192044"/>
                <a:gd name="connsiteX4" fmla="*/ 41944 w 192048"/>
                <a:gd name="connsiteY4" fmla="*/ 95049 h 192044"/>
                <a:gd name="connsiteX5" fmla="*/ 95944 w 192048"/>
                <a:gd name="connsiteY5" fmla="*/ 149018 h 192044"/>
                <a:gd name="connsiteX6" fmla="*/ 149948 w 192048"/>
                <a:gd name="connsiteY6" fmla="*/ 95049 h 192044"/>
                <a:gd name="connsiteX7" fmla="*/ 149031 w 192048"/>
                <a:gd name="connsiteY7" fmla="*/ 85408 h 192044"/>
                <a:gd name="connsiteX8" fmla="*/ 181909 w 192048"/>
                <a:gd name="connsiteY8" fmla="*/ 52486 h 192044"/>
                <a:gd name="connsiteX9" fmla="*/ 191947 w 192048"/>
                <a:gd name="connsiteY9" fmla="*/ 95049 h 192044"/>
                <a:gd name="connsiteX10" fmla="*/ 95944 w 192048"/>
                <a:gd name="connsiteY10" fmla="*/ 191032 h 192044"/>
                <a:gd name="connsiteX11" fmla="*/ -102 w 192048"/>
                <a:gd name="connsiteY11" fmla="*/ 95049 h 192044"/>
                <a:gd name="connsiteX12" fmla="*/ 95944 w 192048"/>
                <a:gd name="connsiteY12" fmla="*/ -1012 h 192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2048" h="192044">
                  <a:moveTo>
                    <a:pt x="95944" y="-1012"/>
                  </a:moveTo>
                  <a:cubicBezTo>
                    <a:pt x="111233" y="-1012"/>
                    <a:pt x="125644" y="2672"/>
                    <a:pt x="138484" y="9061"/>
                  </a:cubicBezTo>
                  <a:lnTo>
                    <a:pt x="105593" y="41944"/>
                  </a:lnTo>
                  <a:cubicBezTo>
                    <a:pt x="102458" y="41395"/>
                    <a:pt x="99244" y="41042"/>
                    <a:pt x="95944" y="41042"/>
                  </a:cubicBezTo>
                  <a:cubicBezTo>
                    <a:pt x="66185" y="41042"/>
                    <a:pt x="41944" y="65263"/>
                    <a:pt x="41944" y="95049"/>
                  </a:cubicBezTo>
                  <a:cubicBezTo>
                    <a:pt x="41944" y="124797"/>
                    <a:pt x="66185" y="149018"/>
                    <a:pt x="95944" y="149018"/>
                  </a:cubicBezTo>
                  <a:cubicBezTo>
                    <a:pt x="125703" y="149018"/>
                    <a:pt x="149948" y="124797"/>
                    <a:pt x="149948" y="95049"/>
                  </a:cubicBezTo>
                  <a:cubicBezTo>
                    <a:pt x="149948" y="91757"/>
                    <a:pt x="149603" y="88505"/>
                    <a:pt x="149031" y="85408"/>
                  </a:cubicBezTo>
                  <a:lnTo>
                    <a:pt x="181909" y="52486"/>
                  </a:lnTo>
                  <a:cubicBezTo>
                    <a:pt x="188278" y="65342"/>
                    <a:pt x="191947" y="79764"/>
                    <a:pt x="191947" y="95049"/>
                  </a:cubicBezTo>
                  <a:cubicBezTo>
                    <a:pt x="191947" y="147999"/>
                    <a:pt x="148905" y="191032"/>
                    <a:pt x="95944" y="191032"/>
                  </a:cubicBezTo>
                  <a:cubicBezTo>
                    <a:pt x="42987" y="191032"/>
                    <a:pt x="-102" y="147999"/>
                    <a:pt x="-102" y="95049"/>
                  </a:cubicBezTo>
                  <a:cubicBezTo>
                    <a:pt x="-102" y="42061"/>
                    <a:pt x="42987" y="-1012"/>
                    <a:pt x="95944" y="-1012"/>
                  </a:cubicBezTo>
                  <a:close/>
                </a:path>
              </a:pathLst>
            </a:custGeom>
            <a:solidFill>
              <a:srgbClr val="BABABA"/>
            </a:solidFill>
            <a:ln w="4659" cap="flat">
              <a:noFill/>
              <a:prstDash val="solid"/>
              <a:miter/>
            </a:ln>
          </p:spPr>
          <p:txBody>
            <a:bodyPr rtlCol="0" anchor="ctr"/>
            <a:lstStyle/>
            <a:p>
              <a:endParaRPr lang="en-US"/>
            </a:p>
          </p:txBody>
        </p:sp>
      </p:grpSp>
      <p:sp>
        <p:nvSpPr>
          <p:cNvPr id="31" name="Freeform: Shape 30">
            <a:extLst>
              <a:ext uri="{FF2B5EF4-FFF2-40B4-BE49-F238E27FC236}">
                <a16:creationId xmlns:a16="http://schemas.microsoft.com/office/drawing/2014/main" id="{6181DE2A-F3CA-B736-81AA-41BB2A3CB493}"/>
              </a:ext>
            </a:extLst>
          </p:cNvPr>
          <p:cNvSpPr/>
          <p:nvPr userDrawn="1"/>
        </p:nvSpPr>
        <p:spPr>
          <a:xfrm>
            <a:off x="5191218" y="2482907"/>
            <a:ext cx="109033" cy="18172"/>
          </a:xfrm>
          <a:custGeom>
            <a:avLst/>
            <a:gdLst>
              <a:gd name="connsiteX0" fmla="*/ 0 w 1402079"/>
              <a:gd name="connsiteY0" fmla="*/ 0 h 233679"/>
              <a:gd name="connsiteX1" fmla="*/ 20320 w 1402079"/>
              <a:gd name="connsiteY1" fmla="*/ 233680 h 233679"/>
              <a:gd name="connsiteX2" fmla="*/ 1381760 w 1402079"/>
              <a:gd name="connsiteY2" fmla="*/ 233680 h 233679"/>
              <a:gd name="connsiteX3" fmla="*/ 1402080 w 1402079"/>
              <a:gd name="connsiteY3" fmla="*/ 0 h 233679"/>
            </a:gdLst>
            <a:ahLst/>
            <a:cxnLst>
              <a:cxn ang="0">
                <a:pos x="connsiteX0" y="connsiteY0"/>
              </a:cxn>
              <a:cxn ang="0">
                <a:pos x="connsiteX1" y="connsiteY1"/>
              </a:cxn>
              <a:cxn ang="0">
                <a:pos x="connsiteX2" y="connsiteY2"/>
              </a:cxn>
              <a:cxn ang="0">
                <a:pos x="connsiteX3" y="connsiteY3"/>
              </a:cxn>
            </a:cxnLst>
            <a:rect l="l" t="t" r="r" b="b"/>
            <a:pathLst>
              <a:path w="1402079" h="233679">
                <a:moveTo>
                  <a:pt x="0" y="0"/>
                </a:moveTo>
                <a:cubicBezTo>
                  <a:pt x="10160" y="81280"/>
                  <a:pt x="20320" y="152400"/>
                  <a:pt x="20320" y="233680"/>
                </a:cubicBezTo>
                <a:lnTo>
                  <a:pt x="1381760" y="233680"/>
                </a:lnTo>
                <a:cubicBezTo>
                  <a:pt x="1381760" y="152400"/>
                  <a:pt x="1391920" y="71120"/>
                  <a:pt x="1402080" y="0"/>
                </a:cubicBezTo>
                <a:close/>
              </a:path>
            </a:pathLst>
          </a:custGeom>
          <a:solidFill>
            <a:schemeClr val="bg1">
              <a:lumMod val="65000"/>
            </a:schemeClr>
          </a:solidFill>
          <a:ln w="1016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AE54945A-C0DC-B13A-31BD-2845D28F120E}"/>
              </a:ext>
            </a:extLst>
          </p:cNvPr>
          <p:cNvSpPr/>
          <p:nvPr userDrawn="1"/>
        </p:nvSpPr>
        <p:spPr>
          <a:xfrm>
            <a:off x="5192799" y="2516880"/>
            <a:ext cx="105872" cy="71109"/>
          </a:xfrm>
          <a:custGeom>
            <a:avLst/>
            <a:gdLst>
              <a:gd name="connsiteX0" fmla="*/ 0 w 1361440"/>
              <a:gd name="connsiteY0" fmla="*/ 0 h 914400"/>
              <a:gd name="connsiteX1" fmla="*/ 0 w 1361440"/>
              <a:gd name="connsiteY1" fmla="*/ 355600 h 914400"/>
              <a:gd name="connsiteX2" fmla="*/ 101600 w 1361440"/>
              <a:gd name="connsiteY2" fmla="*/ 457200 h 914400"/>
              <a:gd name="connsiteX3" fmla="*/ 132080 w 1361440"/>
              <a:gd name="connsiteY3" fmla="*/ 457200 h 914400"/>
              <a:gd name="connsiteX4" fmla="*/ 680720 w 1361440"/>
              <a:gd name="connsiteY4" fmla="*/ 914400 h 914400"/>
              <a:gd name="connsiteX5" fmla="*/ 1229360 w 1361440"/>
              <a:gd name="connsiteY5" fmla="*/ 457200 h 914400"/>
              <a:gd name="connsiteX6" fmla="*/ 1259840 w 1361440"/>
              <a:gd name="connsiteY6" fmla="*/ 457200 h 914400"/>
              <a:gd name="connsiteX7" fmla="*/ 1361440 w 1361440"/>
              <a:gd name="connsiteY7" fmla="*/ 355600 h 914400"/>
              <a:gd name="connsiteX8" fmla="*/ 1361440 w 1361440"/>
              <a:gd name="connsiteY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440" h="914400">
                <a:moveTo>
                  <a:pt x="0" y="0"/>
                </a:moveTo>
                <a:lnTo>
                  <a:pt x="0" y="355600"/>
                </a:lnTo>
                <a:cubicBezTo>
                  <a:pt x="0" y="416560"/>
                  <a:pt x="40640" y="457200"/>
                  <a:pt x="101600" y="457200"/>
                </a:cubicBezTo>
                <a:lnTo>
                  <a:pt x="132080" y="457200"/>
                </a:lnTo>
                <a:cubicBezTo>
                  <a:pt x="182880" y="711200"/>
                  <a:pt x="416560" y="914400"/>
                  <a:pt x="680720" y="914400"/>
                </a:cubicBezTo>
                <a:cubicBezTo>
                  <a:pt x="955040" y="914400"/>
                  <a:pt x="1178560" y="721360"/>
                  <a:pt x="1229360" y="457200"/>
                </a:cubicBezTo>
                <a:lnTo>
                  <a:pt x="1259840" y="457200"/>
                </a:lnTo>
                <a:cubicBezTo>
                  <a:pt x="1320800" y="457200"/>
                  <a:pt x="1361440" y="416560"/>
                  <a:pt x="1361440" y="355600"/>
                </a:cubicBezTo>
                <a:lnTo>
                  <a:pt x="1361440" y="0"/>
                </a:lnTo>
                <a:close/>
              </a:path>
            </a:pathLst>
          </a:custGeom>
          <a:solidFill>
            <a:schemeClr val="bg1">
              <a:lumMod val="65000"/>
            </a:schemeClr>
          </a:solidFill>
          <a:ln w="1016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EA022ACC-4392-1C7A-9A34-E9419D5D8292}"/>
              </a:ext>
            </a:extLst>
          </p:cNvPr>
          <p:cNvSpPr/>
          <p:nvPr userDrawn="1"/>
        </p:nvSpPr>
        <p:spPr>
          <a:xfrm>
            <a:off x="5129784" y="2216511"/>
            <a:ext cx="232094" cy="249804"/>
          </a:xfrm>
          <a:custGeom>
            <a:avLst/>
            <a:gdLst>
              <a:gd name="connsiteX0" fmla="*/ 1409761 w 2984560"/>
              <a:gd name="connsiteY0" fmla="*/ 1730 h 3212289"/>
              <a:gd name="connsiteX1" fmla="*/ 7681 w 2984560"/>
              <a:gd name="connsiteY1" fmla="*/ 1332690 h 3212289"/>
              <a:gd name="connsiteX2" fmla="*/ 342961 w 2984560"/>
              <a:gd name="connsiteY2" fmla="*/ 2440130 h 3212289"/>
              <a:gd name="connsiteX3" fmla="*/ 749361 w 2984560"/>
              <a:gd name="connsiteY3" fmla="*/ 3212290 h 3212289"/>
              <a:gd name="connsiteX4" fmla="*/ 2232721 w 2984560"/>
              <a:gd name="connsiteY4" fmla="*/ 3212290 h 3212289"/>
              <a:gd name="connsiteX5" fmla="*/ 2639121 w 2984560"/>
              <a:gd name="connsiteY5" fmla="*/ 2429970 h 3212289"/>
              <a:gd name="connsiteX6" fmla="*/ 2984561 w 2984560"/>
              <a:gd name="connsiteY6" fmla="*/ 1485090 h 3212289"/>
              <a:gd name="connsiteX7" fmla="*/ 1409761 w 2984560"/>
              <a:gd name="connsiteY7" fmla="*/ 1730 h 321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4560" h="3212289">
                <a:moveTo>
                  <a:pt x="1409761" y="1730"/>
                </a:moveTo>
                <a:cubicBezTo>
                  <a:pt x="688401" y="42370"/>
                  <a:pt x="88961" y="611330"/>
                  <a:pt x="7681" y="1332690"/>
                </a:cubicBezTo>
                <a:cubicBezTo>
                  <a:pt x="-32959" y="1739090"/>
                  <a:pt x="88961" y="2135330"/>
                  <a:pt x="342961" y="2440130"/>
                </a:cubicBezTo>
                <a:cubicBezTo>
                  <a:pt x="536001" y="2673810"/>
                  <a:pt x="678241" y="2937970"/>
                  <a:pt x="749361" y="3212290"/>
                </a:cubicBezTo>
                <a:lnTo>
                  <a:pt x="2232721" y="3212290"/>
                </a:lnTo>
                <a:cubicBezTo>
                  <a:pt x="2303841" y="2937970"/>
                  <a:pt x="2446081" y="2663650"/>
                  <a:pt x="2639121" y="2429970"/>
                </a:cubicBezTo>
                <a:cubicBezTo>
                  <a:pt x="2862641" y="2165810"/>
                  <a:pt x="2984561" y="1830530"/>
                  <a:pt x="2984561" y="1485090"/>
                </a:cubicBezTo>
                <a:cubicBezTo>
                  <a:pt x="2984561" y="641810"/>
                  <a:pt x="2263201" y="-38910"/>
                  <a:pt x="1409761" y="1730"/>
                </a:cubicBezTo>
                <a:close/>
              </a:path>
            </a:pathLst>
          </a:custGeom>
          <a:solidFill>
            <a:srgbClr val="222043"/>
          </a:solidFill>
          <a:ln w="101600" cap="flat">
            <a:noFill/>
            <a:prstDash val="solid"/>
            <a:miter/>
          </a:ln>
        </p:spPr>
        <p:txBody>
          <a:bodyPr rtlCol="0" anchor="ctr"/>
          <a:lstStyle/>
          <a:p>
            <a:endParaRPr lang="en-US"/>
          </a:p>
        </p:txBody>
      </p:sp>
      <p:sp>
        <p:nvSpPr>
          <p:cNvPr id="34" name="Picture Placeholder 71">
            <a:extLst>
              <a:ext uri="{FF2B5EF4-FFF2-40B4-BE49-F238E27FC236}">
                <a16:creationId xmlns:a16="http://schemas.microsoft.com/office/drawing/2014/main" id="{EE170BED-D710-D054-CC82-E1980FB7B902}"/>
              </a:ext>
            </a:extLst>
          </p:cNvPr>
          <p:cNvSpPr>
            <a:spLocks noGrp="1"/>
          </p:cNvSpPr>
          <p:nvPr>
            <p:ph type="pic" sz="quarter" idx="29" hasCustomPrompt="1"/>
          </p:nvPr>
        </p:nvSpPr>
        <p:spPr>
          <a:xfrm>
            <a:off x="4978397" y="428624"/>
            <a:ext cx="6786880" cy="1609132"/>
          </a:xfrm>
          <a:custGeom>
            <a:avLst/>
            <a:gdLst>
              <a:gd name="connsiteX0" fmla="*/ 0 w 6786880"/>
              <a:gd name="connsiteY0" fmla="*/ 0 h 1609132"/>
              <a:gd name="connsiteX1" fmla="*/ 6664681 w 6786880"/>
              <a:gd name="connsiteY1" fmla="*/ 0 h 1609132"/>
              <a:gd name="connsiteX2" fmla="*/ 6786880 w 6786880"/>
              <a:gd name="connsiteY2" fmla="*/ 122199 h 1609132"/>
              <a:gd name="connsiteX3" fmla="*/ 6786880 w 6786880"/>
              <a:gd name="connsiteY3" fmla="*/ 312388 h 1609132"/>
              <a:gd name="connsiteX4" fmla="*/ 6786880 w 6786880"/>
              <a:gd name="connsiteY4" fmla="*/ 1418943 h 1609132"/>
              <a:gd name="connsiteX5" fmla="*/ 6786880 w 6786880"/>
              <a:gd name="connsiteY5" fmla="*/ 1609132 h 1609132"/>
              <a:gd name="connsiteX6" fmla="*/ 0 w 6786880"/>
              <a:gd name="connsiteY6" fmla="*/ 1609132 h 1609132"/>
              <a:gd name="connsiteX7" fmla="*/ 0 w 6786880"/>
              <a:gd name="connsiteY7" fmla="*/ 1418943 h 1609132"/>
              <a:gd name="connsiteX8" fmla="*/ 0 w 6786880"/>
              <a:gd name="connsiteY8" fmla="*/ 190189 h 1609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6880" h="1609132">
                <a:moveTo>
                  <a:pt x="0" y="0"/>
                </a:moveTo>
                <a:lnTo>
                  <a:pt x="6664681" y="0"/>
                </a:lnTo>
                <a:cubicBezTo>
                  <a:pt x="6732170" y="0"/>
                  <a:pt x="6786880" y="54710"/>
                  <a:pt x="6786880" y="122199"/>
                </a:cubicBezTo>
                <a:lnTo>
                  <a:pt x="6786880" y="312388"/>
                </a:lnTo>
                <a:lnTo>
                  <a:pt x="6786880" y="1418943"/>
                </a:lnTo>
                <a:lnTo>
                  <a:pt x="6786880" y="1609132"/>
                </a:lnTo>
                <a:lnTo>
                  <a:pt x="0" y="1609132"/>
                </a:lnTo>
                <a:lnTo>
                  <a:pt x="0" y="1418943"/>
                </a:lnTo>
                <a:lnTo>
                  <a:pt x="0" y="190189"/>
                </a:lnTo>
                <a:close/>
              </a:path>
            </a:pathLst>
          </a:custGeom>
          <a:solidFill>
            <a:schemeClr val="bg1">
              <a:lumMod val="95000"/>
            </a:schemeClr>
          </a:solidFill>
        </p:spPr>
        <p:txBody>
          <a:bodyPr wrap="square" anchor="ctr">
            <a:noAutofit/>
          </a:bodyPr>
          <a:lstStyle>
            <a:lvl1pPr marL="0" indent="0" algn="ctr">
              <a:buNone/>
              <a:defRPr>
                <a:solidFill>
                  <a:schemeClr val="tx1"/>
                </a:solidFill>
                <a:latin typeface="+mj-lt"/>
              </a:defRPr>
            </a:lvl1pPr>
          </a:lstStyle>
          <a:p>
            <a:r>
              <a:rPr lang="en-US"/>
              <a:t>Image</a:t>
            </a:r>
          </a:p>
        </p:txBody>
      </p:sp>
    </p:spTree>
    <p:extLst>
      <p:ext uri="{BB962C8B-B14F-4D97-AF65-F5344CB8AC3E}">
        <p14:creationId xmlns:p14="http://schemas.microsoft.com/office/powerpoint/2010/main" val="188821385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MCS TDM TY">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591EB205-B779-0D6A-E681-F10835F983C0}"/>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Rectangle: Single Corner Rounded 3">
            <a:extLst>
              <a:ext uri="{FF2B5EF4-FFF2-40B4-BE49-F238E27FC236}">
                <a16:creationId xmlns:a16="http://schemas.microsoft.com/office/drawing/2014/main" id="{E89BB27C-FD99-BA84-DA95-3D252BC397B0}"/>
              </a:ext>
            </a:extLst>
          </p:cNvPr>
          <p:cNvSpPr/>
          <p:nvPr userDrawn="1"/>
        </p:nvSpPr>
        <p:spPr>
          <a:xfrm rot="5400000" flipH="1">
            <a:off x="1051385" y="-453565"/>
            <a:ext cx="6260180" cy="8362950"/>
          </a:xfrm>
          <a:prstGeom prst="round1Rect">
            <a:avLst>
              <a:gd name="adj" fmla="val 7526"/>
            </a:avLst>
          </a:prstGeom>
          <a:solidFill>
            <a:schemeClr val="bg2">
              <a:lumMod val="75000"/>
            </a:schemeClr>
          </a:solidFill>
          <a:ln w="13730" cap="flat">
            <a:noFill/>
            <a:prstDash val="solid"/>
            <a:miter/>
          </a:ln>
          <a:effectLst>
            <a:outerShdw blurRad="990600" dist="38100" algn="l" rotWithShape="0">
              <a:prstClr val="black">
                <a:alpha val="14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Rectangle: Single Corner Rounded 4">
            <a:extLst>
              <a:ext uri="{FF2B5EF4-FFF2-40B4-BE49-F238E27FC236}">
                <a16:creationId xmlns:a16="http://schemas.microsoft.com/office/drawing/2014/main" id="{ACB51BF4-AC27-1523-5605-8314C9BA0839}"/>
              </a:ext>
            </a:extLst>
          </p:cNvPr>
          <p:cNvSpPr/>
          <p:nvPr userDrawn="1"/>
        </p:nvSpPr>
        <p:spPr>
          <a:xfrm rot="5400000">
            <a:off x="649212" y="-649210"/>
            <a:ext cx="6473979" cy="7772402"/>
          </a:xfrm>
          <a:prstGeom prst="round1Rect">
            <a:avLst>
              <a:gd name="adj" fmla="val 21121"/>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Rectangle: Single Corner Rounded 5">
            <a:extLst>
              <a:ext uri="{FF2B5EF4-FFF2-40B4-BE49-F238E27FC236}">
                <a16:creationId xmlns:a16="http://schemas.microsoft.com/office/drawing/2014/main" id="{CF9E901C-E240-9626-E6FF-FCFF444AAC91}"/>
              </a:ext>
            </a:extLst>
          </p:cNvPr>
          <p:cNvSpPr/>
          <p:nvPr userDrawn="1"/>
        </p:nvSpPr>
        <p:spPr>
          <a:xfrm flipH="1">
            <a:off x="11714484" y="1207802"/>
            <a:ext cx="477515" cy="3296919"/>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4887E5D5-401F-A838-17AB-051301A16973}"/>
              </a:ext>
            </a:extLst>
          </p:cNvPr>
          <p:cNvGrpSpPr/>
          <p:nvPr userDrawn="1"/>
        </p:nvGrpSpPr>
        <p:grpSpPr>
          <a:xfrm>
            <a:off x="9407085" y="5058333"/>
            <a:ext cx="2312991" cy="1235231"/>
            <a:chOff x="775130" y="5095348"/>
            <a:chExt cx="1891914" cy="1010359"/>
          </a:xfrm>
          <a:solidFill>
            <a:schemeClr val="bg2"/>
          </a:solidFill>
        </p:grpSpPr>
        <p:sp>
          <p:nvSpPr>
            <p:cNvPr id="8" name="Freeform: Shape 7">
              <a:extLst>
                <a:ext uri="{FF2B5EF4-FFF2-40B4-BE49-F238E27FC236}">
                  <a16:creationId xmlns:a16="http://schemas.microsoft.com/office/drawing/2014/main" id="{B6EC192C-E746-8A38-6B8D-6F2EFA223630}"/>
                </a:ext>
              </a:extLst>
            </p:cNvPr>
            <p:cNvSpPr/>
            <p:nvPr/>
          </p:nvSpPr>
          <p:spPr>
            <a:xfrm>
              <a:off x="775130"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316A56C3-60FE-3032-EACF-1A8675CF330C}"/>
                </a:ext>
              </a:extLst>
            </p:cNvPr>
            <p:cNvSpPr/>
            <p:nvPr/>
          </p:nvSpPr>
          <p:spPr>
            <a:xfrm>
              <a:off x="1216028"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5F19F2A9-EE6D-182F-58ED-A4C318A1DF08}"/>
                </a:ext>
              </a:extLst>
            </p:cNvPr>
            <p:cNvSpPr/>
            <p:nvPr/>
          </p:nvSpPr>
          <p:spPr>
            <a:xfrm>
              <a:off x="1656925"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06020952-32FC-B8E6-3E02-43E2127E4C7A}"/>
                </a:ext>
              </a:extLst>
            </p:cNvPr>
            <p:cNvSpPr/>
            <p:nvPr/>
          </p:nvSpPr>
          <p:spPr>
            <a:xfrm>
              <a:off x="2098058" y="5095348"/>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9B06273F-21DB-DB1F-9538-3227E12A1793}"/>
                </a:ext>
              </a:extLst>
            </p:cNvPr>
            <p:cNvSpPr/>
            <p:nvPr/>
          </p:nvSpPr>
          <p:spPr>
            <a:xfrm>
              <a:off x="2538720"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E00FCCFD-9AB3-AB26-4FDE-7914CB39589D}"/>
                </a:ext>
              </a:extLst>
            </p:cNvPr>
            <p:cNvSpPr/>
            <p:nvPr/>
          </p:nvSpPr>
          <p:spPr>
            <a:xfrm>
              <a:off x="775130"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EB6C9F1B-750F-7883-8387-F19017F597AD}"/>
                </a:ext>
              </a:extLst>
            </p:cNvPr>
            <p:cNvSpPr/>
            <p:nvPr/>
          </p:nvSpPr>
          <p:spPr>
            <a:xfrm>
              <a:off x="1216028"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7172347F-1144-ADFA-1DA1-749EF3DB4F49}"/>
                </a:ext>
              </a:extLst>
            </p:cNvPr>
            <p:cNvSpPr/>
            <p:nvPr/>
          </p:nvSpPr>
          <p:spPr>
            <a:xfrm>
              <a:off x="1656925"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82658335-7CD2-8EBF-08EA-1872102BA2C4}"/>
                </a:ext>
              </a:extLst>
            </p:cNvPr>
            <p:cNvSpPr/>
            <p:nvPr/>
          </p:nvSpPr>
          <p:spPr>
            <a:xfrm>
              <a:off x="2098058" y="5536482"/>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06C5190B-4D19-22B1-A458-8772A9B5E0CE}"/>
                </a:ext>
              </a:extLst>
            </p:cNvPr>
            <p:cNvSpPr/>
            <p:nvPr/>
          </p:nvSpPr>
          <p:spPr>
            <a:xfrm>
              <a:off x="2538720"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B0EA2D44-C2FF-5478-BDB4-C660C2C9A7C2}"/>
                </a:ext>
              </a:extLst>
            </p:cNvPr>
            <p:cNvSpPr/>
            <p:nvPr/>
          </p:nvSpPr>
          <p:spPr>
            <a:xfrm>
              <a:off x="775130"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3AF898B3-5530-4D67-FF58-24EA4B9CC190}"/>
                </a:ext>
              </a:extLst>
            </p:cNvPr>
            <p:cNvSpPr/>
            <p:nvPr/>
          </p:nvSpPr>
          <p:spPr>
            <a:xfrm>
              <a:off x="1216028"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45F705C9-D5C9-DE29-DEBD-6C739FA528EA}"/>
                </a:ext>
              </a:extLst>
            </p:cNvPr>
            <p:cNvSpPr/>
            <p:nvPr/>
          </p:nvSpPr>
          <p:spPr>
            <a:xfrm>
              <a:off x="1656925"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C26C6EBD-48FC-F99E-A1F9-6DF811505989}"/>
                </a:ext>
              </a:extLst>
            </p:cNvPr>
            <p:cNvSpPr/>
            <p:nvPr/>
          </p:nvSpPr>
          <p:spPr>
            <a:xfrm>
              <a:off x="2098058" y="5977379"/>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DA44FAC7-5DE5-506A-37CA-F249A54DD5B8}"/>
                </a:ext>
              </a:extLst>
            </p:cNvPr>
            <p:cNvSpPr/>
            <p:nvPr/>
          </p:nvSpPr>
          <p:spPr>
            <a:xfrm>
              <a:off x="2538720"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3" name="Rectangle: Single Corner Rounded 22">
            <a:extLst>
              <a:ext uri="{FF2B5EF4-FFF2-40B4-BE49-F238E27FC236}">
                <a16:creationId xmlns:a16="http://schemas.microsoft.com/office/drawing/2014/main" id="{B0BA93C0-7092-988B-D5DB-417DDBFDE35A}"/>
              </a:ext>
            </a:extLst>
          </p:cNvPr>
          <p:cNvSpPr/>
          <p:nvPr userDrawn="1"/>
        </p:nvSpPr>
        <p:spPr>
          <a:xfrm rot="5400000" flipH="1">
            <a:off x="-124054" y="5339270"/>
            <a:ext cx="1258762" cy="1010657"/>
          </a:xfrm>
          <a:prstGeom prst="round1Rect">
            <a:avLst>
              <a:gd name="adj" fmla="val 50000"/>
            </a:avLst>
          </a:pr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Text Box 3" descr="This is a copyright notice that should be included on the final slide.">
            <a:extLst>
              <a:ext uri="{FF2B5EF4-FFF2-40B4-BE49-F238E27FC236}">
                <a16:creationId xmlns:a16="http://schemas.microsoft.com/office/drawing/2014/main" id="{2D9864F0-4559-931C-5DEE-74E1A5C458F7}"/>
              </a:ext>
            </a:extLst>
          </p:cNvPr>
          <p:cNvSpPr txBox="1">
            <a:spLocks noChangeArrowheads="1"/>
          </p:cNvSpPr>
          <p:nvPr userDrawn="1"/>
        </p:nvSpPr>
        <p:spPr bwMode="blackWhite">
          <a:xfrm>
            <a:off x="122066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588263" y="3732514"/>
            <a:ext cx="6784994"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588263" y="4151724"/>
            <a:ext cx="6784994" cy="246221"/>
          </a:xfrm>
        </p:spPr>
        <p:txBody>
          <a:bodyPr/>
          <a:lstStyle>
            <a:lvl1pPr marL="0" indent="0">
              <a:buNone/>
              <a:defRPr sz="1600">
                <a:solidFill>
                  <a:schemeClr val="bg1"/>
                </a:solidFill>
              </a:defRPr>
            </a:lvl1pPr>
          </a:lstStyle>
          <a:p>
            <a:pPr lvl="0"/>
            <a:r>
              <a:rPr lang="en-US"/>
              <a:t>Contact information</a:t>
            </a:r>
          </a:p>
        </p:txBody>
      </p:sp>
      <p:sp>
        <p:nvSpPr>
          <p:cNvPr id="2" name="Title 1">
            <a:extLst>
              <a:ext uri="{FF2B5EF4-FFF2-40B4-BE49-F238E27FC236}">
                <a16:creationId xmlns:a16="http://schemas.microsoft.com/office/drawing/2014/main" id="{BC94F8B2-A920-AB0E-5686-1B46D40E934D}"/>
              </a:ext>
            </a:extLst>
          </p:cNvPr>
          <p:cNvSpPr>
            <a:spLocks noGrp="1"/>
          </p:cNvSpPr>
          <p:nvPr>
            <p:ph type="title" hasCustomPrompt="1"/>
          </p:nvPr>
        </p:nvSpPr>
        <p:spPr>
          <a:xfrm>
            <a:off x="588263" y="2386823"/>
            <a:ext cx="6784994" cy="73866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4800" b="0" i="0" u="none" strike="noStrike" kern="1200" cap="none" spc="0" normalizeH="0" baseline="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pic>
        <p:nvPicPr>
          <p:cNvPr id="24" name="Picture 23" descr="A logo on a black background&#10;&#10;AI-generated content may be incorrect.">
            <a:extLst>
              <a:ext uri="{FF2B5EF4-FFF2-40B4-BE49-F238E27FC236}">
                <a16:creationId xmlns:a16="http://schemas.microsoft.com/office/drawing/2014/main" id="{4E48091E-718E-00CA-F5E3-F799B7C417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4025" y="451050"/>
            <a:ext cx="1901958" cy="852471"/>
          </a:xfrm>
          <a:prstGeom prst="rect">
            <a:avLst/>
          </a:prstGeom>
        </p:spPr>
      </p:pic>
    </p:spTree>
    <p:extLst>
      <p:ext uri="{BB962C8B-B14F-4D97-AF65-F5344CB8AC3E}">
        <p14:creationId xmlns:p14="http://schemas.microsoft.com/office/powerpoint/2010/main" val="269849073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MCS BDM TY">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7E89DBC2-E590-B707-4E80-EAE9EA2C1CC5}"/>
              </a:ext>
            </a:extLst>
          </p:cNvPr>
          <p:cNvSpPr/>
          <p:nvPr userDrawn="1"/>
        </p:nvSpPr>
        <p:spPr>
          <a:xfrm>
            <a:off x="8028871" y="0"/>
            <a:ext cx="2906668" cy="1212512"/>
          </a:xfrm>
          <a:custGeom>
            <a:avLst/>
            <a:gdLst>
              <a:gd name="connsiteX0" fmla="*/ 0 w 2906668"/>
              <a:gd name="connsiteY0" fmla="*/ 0 h 1212512"/>
              <a:gd name="connsiteX1" fmla="*/ 2906668 w 2906668"/>
              <a:gd name="connsiteY1" fmla="*/ 0 h 1212512"/>
              <a:gd name="connsiteX2" fmla="*/ 1864298 w 2906668"/>
              <a:gd name="connsiteY2" fmla="*/ 1042371 h 1212512"/>
              <a:gd name="connsiteX3" fmla="*/ 1042370 w 2906668"/>
              <a:gd name="connsiteY3" fmla="*/ 1042371 h 1212512"/>
            </a:gdLst>
            <a:ahLst/>
            <a:cxnLst>
              <a:cxn ang="0">
                <a:pos x="connsiteX0" y="connsiteY0"/>
              </a:cxn>
              <a:cxn ang="0">
                <a:pos x="connsiteX1" y="connsiteY1"/>
              </a:cxn>
              <a:cxn ang="0">
                <a:pos x="connsiteX2" y="connsiteY2"/>
              </a:cxn>
              <a:cxn ang="0">
                <a:pos x="connsiteX3" y="connsiteY3"/>
              </a:cxn>
            </a:cxnLst>
            <a:rect l="l" t="t" r="r" b="b"/>
            <a:pathLst>
              <a:path w="2906668" h="1212512">
                <a:moveTo>
                  <a:pt x="0" y="0"/>
                </a:moveTo>
                <a:lnTo>
                  <a:pt x="2906668" y="0"/>
                </a:lnTo>
                <a:lnTo>
                  <a:pt x="1864298" y="1042371"/>
                </a:lnTo>
                <a:cubicBezTo>
                  <a:pt x="1637442" y="1269226"/>
                  <a:pt x="1269466" y="1269226"/>
                  <a:pt x="1042370" y="1042371"/>
                </a:cubicBezTo>
                <a:close/>
              </a:path>
            </a:pathLst>
          </a:custGeom>
          <a:solidFill>
            <a:schemeClr val="bg1">
              <a:lumMod val="95000"/>
            </a:schemeClr>
          </a:soli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 name="Freeform: Shape 43">
            <a:extLst>
              <a:ext uri="{FF2B5EF4-FFF2-40B4-BE49-F238E27FC236}">
                <a16:creationId xmlns:a16="http://schemas.microsoft.com/office/drawing/2014/main" id="{861B9A56-268D-67C2-DDDF-FA3A506DD8F2}"/>
              </a:ext>
            </a:extLst>
          </p:cNvPr>
          <p:cNvSpPr/>
          <p:nvPr userDrawn="1"/>
        </p:nvSpPr>
        <p:spPr>
          <a:xfrm>
            <a:off x="0" y="0"/>
            <a:ext cx="7115420" cy="6835839"/>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noFill/>
          <a:ln w="9525" cap="flat">
            <a:noFill/>
            <a:prstDash val="solid"/>
            <a:miter/>
          </a:ln>
        </p:spPr>
        <p:txBody>
          <a:bodyPr rtlCol="0" anchor="ctr"/>
          <a:lstStyle/>
          <a:p>
            <a:endParaRPr lang="en-IN"/>
          </a:p>
        </p:txBody>
      </p:sp>
      <p:sp>
        <p:nvSpPr>
          <p:cNvPr id="6" name="Freeform: Shape 65">
            <a:extLst>
              <a:ext uri="{FF2B5EF4-FFF2-40B4-BE49-F238E27FC236}">
                <a16:creationId xmlns:a16="http://schemas.microsoft.com/office/drawing/2014/main" id="{F699FA12-58D9-188E-991B-064FBC138412}"/>
              </a:ext>
            </a:extLst>
          </p:cNvPr>
          <p:cNvSpPr/>
          <p:nvPr userDrawn="1"/>
        </p:nvSpPr>
        <p:spPr>
          <a:xfrm>
            <a:off x="9149325" y="657946"/>
            <a:ext cx="3042675" cy="4045330"/>
          </a:xfrm>
          <a:custGeom>
            <a:avLst/>
            <a:gdLst>
              <a:gd name="connsiteX0" fmla="*/ 2022666 w 3042675"/>
              <a:gd name="connsiteY0" fmla="*/ 0 h 4045330"/>
              <a:gd name="connsiteX1" fmla="*/ 2512421 w 3042675"/>
              <a:gd name="connsiteY1" fmla="*/ 202880 h 4045330"/>
              <a:gd name="connsiteX2" fmla="*/ 3042675 w 3042675"/>
              <a:gd name="connsiteY2" fmla="*/ 733134 h 4045330"/>
              <a:gd name="connsiteX3" fmla="*/ 3042675 w 3042675"/>
              <a:gd name="connsiteY3" fmla="*/ 3312195 h 4045330"/>
              <a:gd name="connsiteX4" fmla="*/ 2512421 w 3042675"/>
              <a:gd name="connsiteY4" fmla="*/ 3842449 h 4045330"/>
              <a:gd name="connsiteX5" fmla="*/ 1532912 w 3042675"/>
              <a:gd name="connsiteY5" fmla="*/ 3842449 h 4045330"/>
              <a:gd name="connsiteX6" fmla="*/ 202880 w 3042675"/>
              <a:gd name="connsiteY6" fmla="*/ 2512420 h 4045330"/>
              <a:gd name="connsiteX7" fmla="*/ 202880 w 3042675"/>
              <a:gd name="connsiteY7" fmla="*/ 1532910 h 4045330"/>
              <a:gd name="connsiteX8" fmla="*/ 1532912 w 3042675"/>
              <a:gd name="connsiteY8" fmla="*/ 202880 h 4045330"/>
              <a:gd name="connsiteX9" fmla="*/ 2022666 w 3042675"/>
              <a:gd name="connsiteY9" fmla="*/ 0 h 404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2675" h="4045330">
                <a:moveTo>
                  <a:pt x="2022666" y="0"/>
                </a:moveTo>
                <a:cubicBezTo>
                  <a:pt x="2199916" y="0"/>
                  <a:pt x="2377167" y="67626"/>
                  <a:pt x="2512421" y="202880"/>
                </a:cubicBezTo>
                <a:lnTo>
                  <a:pt x="3042675" y="733134"/>
                </a:lnTo>
                <a:lnTo>
                  <a:pt x="3042675" y="3312195"/>
                </a:lnTo>
                <a:lnTo>
                  <a:pt x="2512421" y="3842449"/>
                </a:lnTo>
                <a:cubicBezTo>
                  <a:pt x="2241913" y="4112957"/>
                  <a:pt x="1803418" y="4112957"/>
                  <a:pt x="1532912" y="3842449"/>
                </a:cubicBezTo>
                <a:lnTo>
                  <a:pt x="202880" y="2512420"/>
                </a:lnTo>
                <a:cubicBezTo>
                  <a:pt x="-67626" y="2241912"/>
                  <a:pt x="-67626" y="1803418"/>
                  <a:pt x="202880" y="1532910"/>
                </a:cubicBezTo>
                <a:lnTo>
                  <a:pt x="1532912" y="202880"/>
                </a:lnTo>
                <a:cubicBezTo>
                  <a:pt x="1668165" y="67626"/>
                  <a:pt x="1845415" y="0"/>
                  <a:pt x="2022666" y="0"/>
                </a:cubicBezTo>
                <a:close/>
              </a:path>
            </a:pathLst>
          </a:custGeom>
          <a:solidFill>
            <a:schemeClr val="bg1">
              <a:lumMod val="95000"/>
            </a:schemeClr>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7" name="Freeform: Shape 67">
            <a:extLst>
              <a:ext uri="{FF2B5EF4-FFF2-40B4-BE49-F238E27FC236}">
                <a16:creationId xmlns:a16="http://schemas.microsoft.com/office/drawing/2014/main" id="{9B6AAD40-7A48-BA5A-1A1F-7A9563E8D7C2}"/>
              </a:ext>
            </a:extLst>
          </p:cNvPr>
          <p:cNvSpPr/>
          <p:nvPr userDrawn="1"/>
        </p:nvSpPr>
        <p:spPr>
          <a:xfrm>
            <a:off x="10989364" y="3351596"/>
            <a:ext cx="1202635" cy="1563304"/>
          </a:xfrm>
          <a:custGeom>
            <a:avLst/>
            <a:gdLst>
              <a:gd name="connsiteX0" fmla="*/ 1426739 w 2195042"/>
              <a:gd name="connsiteY0" fmla="*/ 0 h 2853334"/>
              <a:gd name="connsiteX1" fmla="*/ 1772204 w 2195042"/>
              <a:gd name="connsiteY1" fmla="*/ 143019 h 2853334"/>
              <a:gd name="connsiteX2" fmla="*/ 2195042 w 2195042"/>
              <a:gd name="connsiteY2" fmla="*/ 565856 h 2853334"/>
              <a:gd name="connsiteX3" fmla="*/ 2195042 w 2195042"/>
              <a:gd name="connsiteY3" fmla="*/ 2287334 h 2853334"/>
              <a:gd name="connsiteX4" fmla="*/ 1772204 w 2195042"/>
              <a:gd name="connsiteY4" fmla="*/ 2710172 h 2853334"/>
              <a:gd name="connsiteX5" fmla="*/ 1081274 w 2195042"/>
              <a:gd name="connsiteY5" fmla="*/ 2710172 h 2853334"/>
              <a:gd name="connsiteX6" fmla="*/ 143163 w 2195042"/>
              <a:gd name="connsiteY6" fmla="*/ 1772062 h 2853334"/>
              <a:gd name="connsiteX7" fmla="*/ 143163 w 2195042"/>
              <a:gd name="connsiteY7" fmla="*/ 1081129 h 2853334"/>
              <a:gd name="connsiteX8" fmla="*/ 1081274 w 2195042"/>
              <a:gd name="connsiteY8" fmla="*/ 143019 h 2853334"/>
              <a:gd name="connsiteX9" fmla="*/ 1426739 w 2195042"/>
              <a:gd name="connsiteY9" fmla="*/ 0 h 285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5042" h="2853334">
                <a:moveTo>
                  <a:pt x="1426739" y="0"/>
                </a:moveTo>
                <a:cubicBezTo>
                  <a:pt x="1551751" y="0"/>
                  <a:pt x="1676763" y="47673"/>
                  <a:pt x="1772204" y="143019"/>
                </a:cubicBezTo>
                <a:lnTo>
                  <a:pt x="2195042" y="565856"/>
                </a:lnTo>
                <a:lnTo>
                  <a:pt x="2195042" y="2287334"/>
                </a:lnTo>
                <a:lnTo>
                  <a:pt x="1772204" y="2710172"/>
                </a:lnTo>
                <a:cubicBezTo>
                  <a:pt x="1581321" y="2901055"/>
                  <a:pt x="1272157" y="2901055"/>
                  <a:pt x="1081274" y="2710172"/>
                </a:cubicBezTo>
                <a:lnTo>
                  <a:pt x="143163" y="1772062"/>
                </a:lnTo>
                <a:cubicBezTo>
                  <a:pt x="-47720" y="1581178"/>
                  <a:pt x="-47720" y="1272013"/>
                  <a:pt x="143163" y="1081129"/>
                </a:cubicBezTo>
                <a:lnTo>
                  <a:pt x="1081274" y="143019"/>
                </a:lnTo>
                <a:cubicBezTo>
                  <a:pt x="1176716" y="47673"/>
                  <a:pt x="1301727" y="0"/>
                  <a:pt x="1426739" y="0"/>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IN"/>
          </a:p>
        </p:txBody>
      </p:sp>
      <p:sp>
        <p:nvSpPr>
          <p:cNvPr id="8" name="Freeform: Shape 42">
            <a:extLst>
              <a:ext uri="{FF2B5EF4-FFF2-40B4-BE49-F238E27FC236}">
                <a16:creationId xmlns:a16="http://schemas.microsoft.com/office/drawing/2014/main" id="{82052EFA-31C2-FB2F-6549-476706AF16F3}"/>
              </a:ext>
            </a:extLst>
          </p:cNvPr>
          <p:cNvSpPr/>
          <p:nvPr userDrawn="1"/>
        </p:nvSpPr>
        <p:spPr>
          <a:xfrm>
            <a:off x="-1" y="0"/>
            <a:ext cx="7138487" cy="6858000"/>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gradFill>
            <a:gsLst>
              <a:gs pos="100000">
                <a:schemeClr val="bg2"/>
              </a:gs>
              <a:gs pos="0">
                <a:schemeClr val="tx2">
                  <a:alpha val="9900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0" name="Freeform: Shape 45">
            <a:extLst>
              <a:ext uri="{FF2B5EF4-FFF2-40B4-BE49-F238E27FC236}">
                <a16:creationId xmlns:a16="http://schemas.microsoft.com/office/drawing/2014/main" id="{43B0CF48-2EC9-28C3-A2FB-197B69CF4B5C}"/>
              </a:ext>
            </a:extLst>
          </p:cNvPr>
          <p:cNvSpPr/>
          <p:nvPr userDrawn="1"/>
        </p:nvSpPr>
        <p:spPr>
          <a:xfrm>
            <a:off x="4416650" y="5542838"/>
            <a:ext cx="2550524" cy="1315162"/>
          </a:xfrm>
          <a:custGeom>
            <a:avLst/>
            <a:gdLst>
              <a:gd name="connsiteX0" fmla="*/ 2800816 w 2802809"/>
              <a:gd name="connsiteY0" fmla="*/ 1445252 h 1445251"/>
              <a:gd name="connsiteX1" fmla="*/ 1990 w 2802809"/>
              <a:gd name="connsiteY1" fmla="*/ 1445252 h 1445251"/>
              <a:gd name="connsiteX2" fmla="*/ 140579 w 2802809"/>
              <a:gd name="connsiteY2" fmla="*/ 1062061 h 1445251"/>
              <a:gd name="connsiteX3" fmla="*/ 1062123 w 2802809"/>
              <a:gd name="connsiteY3" fmla="*/ 140518 h 1445251"/>
              <a:gd name="connsiteX4" fmla="*/ 1740779 w 2802809"/>
              <a:gd name="connsiteY4" fmla="*/ 140518 h 1445251"/>
              <a:gd name="connsiteX5" fmla="*/ 2662323 w 2802809"/>
              <a:gd name="connsiteY5" fmla="*/ 1062061 h 1445251"/>
              <a:gd name="connsiteX6" fmla="*/ 2800816 w 2802809"/>
              <a:gd name="connsiteY6" fmla="*/ 1445252 h 1445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2809" h="1445251">
                <a:moveTo>
                  <a:pt x="2800816" y="1445252"/>
                </a:moveTo>
                <a:lnTo>
                  <a:pt x="1990" y="1445252"/>
                </a:lnTo>
                <a:cubicBezTo>
                  <a:pt x="-10488" y="1308283"/>
                  <a:pt x="35709" y="1166932"/>
                  <a:pt x="140579" y="1062061"/>
                </a:cubicBezTo>
                <a:lnTo>
                  <a:pt x="1062123" y="140518"/>
                </a:lnTo>
                <a:cubicBezTo>
                  <a:pt x="1249479" y="-46839"/>
                  <a:pt x="1553327" y="-46839"/>
                  <a:pt x="1740779" y="140518"/>
                </a:cubicBezTo>
                <a:lnTo>
                  <a:pt x="2662323" y="1062061"/>
                </a:lnTo>
                <a:cubicBezTo>
                  <a:pt x="2767193" y="1166932"/>
                  <a:pt x="2813294" y="1308283"/>
                  <a:pt x="2800816" y="1445252"/>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4" name="Freeform: Shape 46">
            <a:extLst>
              <a:ext uri="{FF2B5EF4-FFF2-40B4-BE49-F238E27FC236}">
                <a16:creationId xmlns:a16="http://schemas.microsoft.com/office/drawing/2014/main" id="{A8AEFA1B-FFEC-7EC7-A93A-E11E46461F11}"/>
              </a:ext>
            </a:extLst>
          </p:cNvPr>
          <p:cNvSpPr/>
          <p:nvPr userDrawn="1"/>
        </p:nvSpPr>
        <p:spPr>
          <a:xfrm>
            <a:off x="7607668" y="1051007"/>
            <a:ext cx="1203136" cy="1203136"/>
          </a:xfrm>
          <a:custGeom>
            <a:avLst/>
            <a:gdLst>
              <a:gd name="connsiteX0" fmla="*/ 1275159 w 1342453"/>
              <a:gd name="connsiteY0" fmla="*/ 833771 h 1342453"/>
              <a:gd name="connsiteX1" fmla="*/ 833771 w 1342453"/>
              <a:gd name="connsiteY1" fmla="*/ 1275159 h 1342453"/>
              <a:gd name="connsiteX2" fmla="*/ 508682 w 1342453"/>
              <a:gd name="connsiteY2" fmla="*/ 1275159 h 1342453"/>
              <a:gd name="connsiteX3" fmla="*/ 67294 w 1342453"/>
              <a:gd name="connsiteY3" fmla="*/ 833771 h 1342453"/>
              <a:gd name="connsiteX4" fmla="*/ 67294 w 1342453"/>
              <a:gd name="connsiteY4" fmla="*/ 508683 h 1342453"/>
              <a:gd name="connsiteX5" fmla="*/ 508682 w 1342453"/>
              <a:gd name="connsiteY5" fmla="*/ 67294 h 1342453"/>
              <a:gd name="connsiteX6" fmla="*/ 833771 w 1342453"/>
              <a:gd name="connsiteY6" fmla="*/ 67294 h 1342453"/>
              <a:gd name="connsiteX7" fmla="*/ 1275159 w 1342453"/>
              <a:gd name="connsiteY7" fmla="*/ 508683 h 1342453"/>
              <a:gd name="connsiteX8" fmla="*/ 1275159 w 1342453"/>
              <a:gd name="connsiteY8" fmla="*/ 833771 h 134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453" h="1342453">
                <a:moveTo>
                  <a:pt x="1275159" y="833771"/>
                </a:moveTo>
                <a:lnTo>
                  <a:pt x="833771" y="1275159"/>
                </a:lnTo>
                <a:cubicBezTo>
                  <a:pt x="744045" y="1364885"/>
                  <a:pt x="598503" y="1364885"/>
                  <a:pt x="508682" y="1275159"/>
                </a:cubicBezTo>
                <a:lnTo>
                  <a:pt x="67294" y="833771"/>
                </a:lnTo>
                <a:cubicBezTo>
                  <a:pt x="-22431" y="744045"/>
                  <a:pt x="-22431" y="598503"/>
                  <a:pt x="67294" y="508683"/>
                </a:cubicBezTo>
                <a:lnTo>
                  <a:pt x="508682" y="67294"/>
                </a:lnTo>
                <a:cubicBezTo>
                  <a:pt x="598408" y="-22431"/>
                  <a:pt x="743950" y="-22431"/>
                  <a:pt x="833771" y="67294"/>
                </a:cubicBezTo>
                <a:lnTo>
                  <a:pt x="1275159" y="508683"/>
                </a:lnTo>
                <a:cubicBezTo>
                  <a:pt x="1364885" y="598408"/>
                  <a:pt x="1364885" y="743950"/>
                  <a:pt x="1275159" y="833771"/>
                </a:cubicBezTo>
                <a:close/>
              </a:path>
            </a:pathLst>
          </a:custGeom>
          <a:gradFill>
            <a:gsLst>
              <a:gs pos="0">
                <a:schemeClr val="accent2">
                  <a:alpha val="40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5" name="Freeform: Shape 47">
            <a:extLst>
              <a:ext uri="{FF2B5EF4-FFF2-40B4-BE49-F238E27FC236}">
                <a16:creationId xmlns:a16="http://schemas.microsoft.com/office/drawing/2014/main" id="{2D12AD1E-5A50-B221-CF80-4EBCD0160B61}"/>
              </a:ext>
            </a:extLst>
          </p:cNvPr>
          <p:cNvSpPr/>
          <p:nvPr userDrawn="1"/>
        </p:nvSpPr>
        <p:spPr>
          <a:xfrm>
            <a:off x="5943600" y="664956"/>
            <a:ext cx="838200" cy="838200"/>
          </a:xfrm>
          <a:custGeom>
            <a:avLst/>
            <a:gdLst>
              <a:gd name="connsiteX0" fmla="*/ 662892 w 697896"/>
              <a:gd name="connsiteY0" fmla="*/ 433435 h 697896"/>
              <a:gd name="connsiteX1" fmla="*/ 433435 w 697896"/>
              <a:gd name="connsiteY1" fmla="*/ 662892 h 697896"/>
              <a:gd name="connsiteX2" fmla="*/ 264462 w 697896"/>
              <a:gd name="connsiteY2" fmla="*/ 662892 h 697896"/>
              <a:gd name="connsiteX3" fmla="*/ 35004 w 697896"/>
              <a:gd name="connsiteY3" fmla="*/ 433435 h 697896"/>
              <a:gd name="connsiteX4" fmla="*/ 35004 w 697896"/>
              <a:gd name="connsiteY4" fmla="*/ 264462 h 697896"/>
              <a:gd name="connsiteX5" fmla="*/ 264462 w 697896"/>
              <a:gd name="connsiteY5" fmla="*/ 35004 h 697896"/>
              <a:gd name="connsiteX6" fmla="*/ 433435 w 697896"/>
              <a:gd name="connsiteY6" fmla="*/ 35004 h 697896"/>
              <a:gd name="connsiteX7" fmla="*/ 662892 w 697896"/>
              <a:gd name="connsiteY7" fmla="*/ 264462 h 697896"/>
              <a:gd name="connsiteX8" fmla="*/ 662892 w 697896"/>
              <a:gd name="connsiteY8" fmla="*/ 433435 h 69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896" h="697896">
                <a:moveTo>
                  <a:pt x="662892" y="433435"/>
                </a:moveTo>
                <a:lnTo>
                  <a:pt x="433435" y="662892"/>
                </a:lnTo>
                <a:cubicBezTo>
                  <a:pt x="386763" y="709565"/>
                  <a:pt x="311134" y="709565"/>
                  <a:pt x="264462" y="662892"/>
                </a:cubicBezTo>
                <a:lnTo>
                  <a:pt x="35004" y="433435"/>
                </a:lnTo>
                <a:cubicBezTo>
                  <a:pt x="-11668" y="386763"/>
                  <a:pt x="-11668" y="311134"/>
                  <a:pt x="35004" y="264462"/>
                </a:cubicBezTo>
                <a:lnTo>
                  <a:pt x="264462" y="35004"/>
                </a:lnTo>
                <a:cubicBezTo>
                  <a:pt x="311134" y="-11668"/>
                  <a:pt x="386763" y="-11668"/>
                  <a:pt x="433435" y="35004"/>
                </a:cubicBezTo>
                <a:lnTo>
                  <a:pt x="662892" y="264462"/>
                </a:lnTo>
                <a:cubicBezTo>
                  <a:pt x="709565" y="311134"/>
                  <a:pt x="709565" y="386763"/>
                  <a:pt x="662892" y="433435"/>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20" name="Freeform: Shape 49">
            <a:extLst>
              <a:ext uri="{FF2B5EF4-FFF2-40B4-BE49-F238E27FC236}">
                <a16:creationId xmlns:a16="http://schemas.microsoft.com/office/drawing/2014/main" id="{49FCA802-0F32-433E-C874-76E5D1066F55}"/>
              </a:ext>
            </a:extLst>
          </p:cNvPr>
          <p:cNvSpPr/>
          <p:nvPr userDrawn="1"/>
        </p:nvSpPr>
        <p:spPr>
          <a:xfrm rot="18900000">
            <a:off x="8172545" y="4881734"/>
            <a:ext cx="1276518" cy="1276518"/>
          </a:xfrm>
          <a:custGeom>
            <a:avLst/>
            <a:gdLst>
              <a:gd name="connsiteX0" fmla="*/ 134207 w 632841"/>
              <a:gd name="connsiteY0" fmla="*/ 0 h 632841"/>
              <a:gd name="connsiteX1" fmla="*/ 498634 w 632841"/>
              <a:gd name="connsiteY1" fmla="*/ 0 h 632841"/>
              <a:gd name="connsiteX2" fmla="*/ 632841 w 632841"/>
              <a:gd name="connsiteY2" fmla="*/ 134207 h 632841"/>
              <a:gd name="connsiteX3" fmla="*/ 632841 w 632841"/>
              <a:gd name="connsiteY3" fmla="*/ 498634 h 632841"/>
              <a:gd name="connsiteX4" fmla="*/ 498634 w 632841"/>
              <a:gd name="connsiteY4" fmla="*/ 632841 h 632841"/>
              <a:gd name="connsiteX5" fmla="*/ 134207 w 632841"/>
              <a:gd name="connsiteY5" fmla="*/ 632841 h 632841"/>
              <a:gd name="connsiteX6" fmla="*/ 0 w 632841"/>
              <a:gd name="connsiteY6" fmla="*/ 498634 h 632841"/>
              <a:gd name="connsiteX7" fmla="*/ 0 w 632841"/>
              <a:gd name="connsiteY7" fmla="*/ 134207 h 632841"/>
              <a:gd name="connsiteX8" fmla="*/ 134207 w 632841"/>
              <a:gd name="connsiteY8" fmla="*/ 0 h 63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2841" h="632841">
                <a:moveTo>
                  <a:pt x="134207" y="0"/>
                </a:moveTo>
                <a:lnTo>
                  <a:pt x="498634" y="0"/>
                </a:lnTo>
                <a:cubicBezTo>
                  <a:pt x="572739" y="0"/>
                  <a:pt x="632841" y="60103"/>
                  <a:pt x="632841" y="134207"/>
                </a:cubicBezTo>
                <a:lnTo>
                  <a:pt x="632841" y="498634"/>
                </a:lnTo>
                <a:cubicBezTo>
                  <a:pt x="632841" y="572738"/>
                  <a:pt x="572739" y="632841"/>
                  <a:pt x="498634" y="632841"/>
                </a:cubicBezTo>
                <a:lnTo>
                  <a:pt x="134207" y="632841"/>
                </a:lnTo>
                <a:cubicBezTo>
                  <a:pt x="60103" y="632841"/>
                  <a:pt x="0" y="572738"/>
                  <a:pt x="0" y="498634"/>
                </a:cubicBezTo>
                <a:lnTo>
                  <a:pt x="0" y="134207"/>
                </a:lnTo>
                <a:cubicBezTo>
                  <a:pt x="0" y="60103"/>
                  <a:pt x="60103" y="0"/>
                  <a:pt x="134207" y="0"/>
                </a:cubicBezTo>
                <a:close/>
              </a:path>
            </a:pathLst>
          </a:custGeom>
          <a:solidFill>
            <a:schemeClr val="bg1">
              <a:lumMod val="95000"/>
            </a:schemeClr>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28" name="Rectangle 27">
            <a:extLst>
              <a:ext uri="{FF2B5EF4-FFF2-40B4-BE49-F238E27FC236}">
                <a16:creationId xmlns:a16="http://schemas.microsoft.com/office/drawing/2014/main" id="{8ED97726-6615-4B1E-4EE0-45ED40432796}"/>
              </a:ext>
            </a:extLst>
          </p:cNvPr>
          <p:cNvSpPr/>
          <p:nvPr userDrawn="1"/>
        </p:nvSpPr>
        <p:spPr>
          <a:xfrm rot="10800000" flipH="1">
            <a:off x="1" y="1902878"/>
            <a:ext cx="241159" cy="3052244"/>
          </a:xfrm>
          <a:prstGeom prst="rect">
            <a:avLst/>
          </a:prstGeom>
          <a:solidFill>
            <a:schemeClr val="accent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Text Box 3" descr="This is a copyright notice that should be included on the final slide.">
            <a:extLst>
              <a:ext uri="{FF2B5EF4-FFF2-40B4-BE49-F238E27FC236}">
                <a16:creationId xmlns:a16="http://schemas.microsoft.com/office/drawing/2014/main" id="{8F78F77A-D1AE-DC3B-27C3-404F633EAF5A}"/>
              </a:ext>
            </a:extLst>
          </p:cNvPr>
          <p:cNvSpPr txBox="1">
            <a:spLocks noChangeArrowheads="1"/>
          </p:cNvSpPr>
          <p:nvPr userDrawn="1"/>
        </p:nvSpPr>
        <p:spPr bwMode="blackWhite">
          <a:xfrm>
            <a:off x="604894" y="6462131"/>
            <a:ext cx="448212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egoe UI"/>
                <a:ea typeface="+mn-ea"/>
                <a:cs typeface="Segoe UI" pitchFamily="34" charset="0"/>
              </a:rPr>
              <a:t>© Copyright Microsoft Corporation. All rights reserved. </a:t>
            </a:r>
          </a:p>
        </p:txBody>
      </p:sp>
      <p:sp>
        <p:nvSpPr>
          <p:cNvPr id="3" name="Title 1">
            <a:extLst>
              <a:ext uri="{FF2B5EF4-FFF2-40B4-BE49-F238E27FC236}">
                <a16:creationId xmlns:a16="http://schemas.microsoft.com/office/drawing/2014/main" id="{EDFEE6E9-8666-CBFD-B1A5-1DAFB51F4B7A}"/>
              </a:ext>
            </a:extLst>
          </p:cNvPr>
          <p:cNvSpPr>
            <a:spLocks noGrp="1"/>
          </p:cNvSpPr>
          <p:nvPr>
            <p:ph type="title" hasCustomPrompt="1"/>
          </p:nvPr>
        </p:nvSpPr>
        <p:spPr>
          <a:xfrm>
            <a:off x="585216" y="2285223"/>
            <a:ext cx="4567355" cy="923330"/>
          </a:xfrm>
        </p:spPr>
        <p:txBody>
          <a:bodyPr anchor="ctr"/>
          <a:lstStyle>
            <a:lvl1pPr marL="0" marR="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defRPr kumimoji="0" lang="en-GB" sz="6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GB"/>
              <a:t>Thank you!</a:t>
            </a:r>
          </a:p>
        </p:txBody>
      </p:sp>
      <p:sp>
        <p:nvSpPr>
          <p:cNvPr id="29" name="Text Placeholder 4">
            <a:extLst>
              <a:ext uri="{FF2B5EF4-FFF2-40B4-BE49-F238E27FC236}">
                <a16:creationId xmlns:a16="http://schemas.microsoft.com/office/drawing/2014/main" id="{ED1427E7-1656-6F99-4DC0-44C3C0980B9B}"/>
              </a:ext>
            </a:extLst>
          </p:cNvPr>
          <p:cNvSpPr>
            <a:spLocks noGrp="1"/>
          </p:cNvSpPr>
          <p:nvPr>
            <p:ph type="body" sz="quarter" idx="12" hasCustomPrompt="1"/>
          </p:nvPr>
        </p:nvSpPr>
        <p:spPr>
          <a:xfrm>
            <a:off x="588263" y="3732514"/>
            <a:ext cx="4564308"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0" name="Text Placeholder 3">
            <a:extLst>
              <a:ext uri="{FF2B5EF4-FFF2-40B4-BE49-F238E27FC236}">
                <a16:creationId xmlns:a16="http://schemas.microsoft.com/office/drawing/2014/main" id="{10C2B09A-54BA-8905-D458-3913B0BEA66C}"/>
              </a:ext>
            </a:extLst>
          </p:cNvPr>
          <p:cNvSpPr>
            <a:spLocks noGrp="1"/>
          </p:cNvSpPr>
          <p:nvPr>
            <p:ph type="body" sz="quarter" idx="13" hasCustomPrompt="1"/>
          </p:nvPr>
        </p:nvSpPr>
        <p:spPr>
          <a:xfrm>
            <a:off x="588263" y="4151724"/>
            <a:ext cx="4564308" cy="246221"/>
          </a:xfrm>
        </p:spPr>
        <p:txBody>
          <a:bodyPr/>
          <a:lstStyle>
            <a:lvl1pPr marL="0" indent="0">
              <a:buNone/>
              <a:defRPr sz="1600">
                <a:solidFill>
                  <a:schemeClr val="bg1"/>
                </a:solidFill>
              </a:defRPr>
            </a:lvl1pPr>
          </a:lstStyle>
          <a:p>
            <a:pPr lvl="0"/>
            <a:r>
              <a:rPr lang="en-US"/>
              <a:t>Contact information</a:t>
            </a:r>
          </a:p>
        </p:txBody>
      </p:sp>
      <p:pic>
        <p:nvPicPr>
          <p:cNvPr id="2" name="Picture 1" descr="A logo on a black background&#10;&#10;AI-generated content may be incorrect.">
            <a:extLst>
              <a:ext uri="{FF2B5EF4-FFF2-40B4-BE49-F238E27FC236}">
                <a16:creationId xmlns:a16="http://schemas.microsoft.com/office/drawing/2014/main" id="{7A38718F-9F89-EF9A-855F-BE688BB80F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4025" y="451050"/>
            <a:ext cx="1901958" cy="852471"/>
          </a:xfrm>
          <a:prstGeom prst="rect">
            <a:avLst/>
          </a:prstGeom>
        </p:spPr>
      </p:pic>
    </p:spTree>
    <p:extLst>
      <p:ext uri="{BB962C8B-B14F-4D97-AF65-F5344CB8AC3E}">
        <p14:creationId xmlns:p14="http://schemas.microsoft.com/office/powerpoint/2010/main" val="150667596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hank you 2">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2D98E6F3-7EE0-FB03-9025-521119AF4593}"/>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E81611C8-93AA-7022-A142-671523F3CEA8}"/>
              </a:ext>
            </a:extLst>
          </p:cNvPr>
          <p:cNvSpPr/>
          <p:nvPr userDrawn="1"/>
        </p:nvSpPr>
        <p:spPr>
          <a:xfrm>
            <a:off x="0" y="0"/>
            <a:ext cx="7115420" cy="6858000"/>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gradFill>
            <a:gsLst>
              <a:gs pos="100000">
                <a:schemeClr val="bg2"/>
              </a:gs>
              <a:gs pos="0">
                <a:schemeClr val="tx2">
                  <a:alpha val="9900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588263" y="3732514"/>
            <a:ext cx="6784994"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588263" y="4151724"/>
            <a:ext cx="6784994" cy="246221"/>
          </a:xfrm>
        </p:spPr>
        <p:txBody>
          <a:bodyPr/>
          <a:lstStyle>
            <a:lvl1pPr marL="0" indent="0">
              <a:buNone/>
              <a:defRPr sz="1600">
                <a:solidFill>
                  <a:schemeClr val="bg1"/>
                </a:solidFill>
              </a:defRPr>
            </a:lvl1pPr>
          </a:lstStyle>
          <a:p>
            <a:pPr lvl="0"/>
            <a:r>
              <a:rPr lang="en-US"/>
              <a:t>Contact information</a:t>
            </a:r>
          </a:p>
        </p:txBody>
      </p:sp>
      <p:sp>
        <p:nvSpPr>
          <p:cNvPr id="2" name="Title 1">
            <a:extLst>
              <a:ext uri="{FF2B5EF4-FFF2-40B4-BE49-F238E27FC236}">
                <a16:creationId xmlns:a16="http://schemas.microsoft.com/office/drawing/2014/main" id="{BC94F8B2-A920-AB0E-5686-1B46D40E934D}"/>
              </a:ext>
            </a:extLst>
          </p:cNvPr>
          <p:cNvSpPr>
            <a:spLocks noGrp="1"/>
          </p:cNvSpPr>
          <p:nvPr>
            <p:ph type="title" hasCustomPrompt="1"/>
          </p:nvPr>
        </p:nvSpPr>
        <p:spPr>
          <a:xfrm>
            <a:off x="588263" y="2386823"/>
            <a:ext cx="6784994" cy="73866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4800" b="0" i="0" u="none" strike="noStrike" kern="1200" cap="none" spc="0" normalizeH="0" baseline="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sp>
        <p:nvSpPr>
          <p:cNvPr id="25" name="Freeform: Shape 24">
            <a:extLst>
              <a:ext uri="{FF2B5EF4-FFF2-40B4-BE49-F238E27FC236}">
                <a16:creationId xmlns:a16="http://schemas.microsoft.com/office/drawing/2014/main" id="{02B87522-736E-9852-6D47-C8CEF32F44AB}"/>
              </a:ext>
            </a:extLst>
          </p:cNvPr>
          <p:cNvSpPr/>
          <p:nvPr userDrawn="1"/>
        </p:nvSpPr>
        <p:spPr>
          <a:xfrm>
            <a:off x="0" y="0"/>
            <a:ext cx="7115420" cy="6835839"/>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noFill/>
          <a:ln w="9525" cap="flat">
            <a:no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E6E44912-C00E-DCB4-D5A9-AB47917BB602}"/>
              </a:ext>
            </a:extLst>
          </p:cNvPr>
          <p:cNvSpPr/>
          <p:nvPr userDrawn="1"/>
        </p:nvSpPr>
        <p:spPr>
          <a:xfrm>
            <a:off x="9149325" y="1129894"/>
            <a:ext cx="3042675" cy="4045330"/>
          </a:xfrm>
          <a:custGeom>
            <a:avLst/>
            <a:gdLst>
              <a:gd name="connsiteX0" fmla="*/ 2022666 w 3042675"/>
              <a:gd name="connsiteY0" fmla="*/ 0 h 4045330"/>
              <a:gd name="connsiteX1" fmla="*/ 2512421 w 3042675"/>
              <a:gd name="connsiteY1" fmla="*/ 202880 h 4045330"/>
              <a:gd name="connsiteX2" fmla="*/ 3042675 w 3042675"/>
              <a:gd name="connsiteY2" fmla="*/ 733134 h 4045330"/>
              <a:gd name="connsiteX3" fmla="*/ 3042675 w 3042675"/>
              <a:gd name="connsiteY3" fmla="*/ 3312195 h 4045330"/>
              <a:gd name="connsiteX4" fmla="*/ 2512421 w 3042675"/>
              <a:gd name="connsiteY4" fmla="*/ 3842449 h 4045330"/>
              <a:gd name="connsiteX5" fmla="*/ 1532912 w 3042675"/>
              <a:gd name="connsiteY5" fmla="*/ 3842449 h 4045330"/>
              <a:gd name="connsiteX6" fmla="*/ 202880 w 3042675"/>
              <a:gd name="connsiteY6" fmla="*/ 2512420 h 4045330"/>
              <a:gd name="connsiteX7" fmla="*/ 202880 w 3042675"/>
              <a:gd name="connsiteY7" fmla="*/ 1532910 h 4045330"/>
              <a:gd name="connsiteX8" fmla="*/ 1532912 w 3042675"/>
              <a:gd name="connsiteY8" fmla="*/ 202880 h 4045330"/>
              <a:gd name="connsiteX9" fmla="*/ 2022666 w 3042675"/>
              <a:gd name="connsiteY9" fmla="*/ 0 h 404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2675" h="4045330">
                <a:moveTo>
                  <a:pt x="2022666" y="0"/>
                </a:moveTo>
                <a:cubicBezTo>
                  <a:pt x="2199916" y="0"/>
                  <a:pt x="2377167" y="67626"/>
                  <a:pt x="2512421" y="202880"/>
                </a:cubicBezTo>
                <a:lnTo>
                  <a:pt x="3042675" y="733134"/>
                </a:lnTo>
                <a:lnTo>
                  <a:pt x="3042675" y="3312195"/>
                </a:lnTo>
                <a:lnTo>
                  <a:pt x="2512421" y="3842449"/>
                </a:lnTo>
                <a:cubicBezTo>
                  <a:pt x="2241913" y="4112957"/>
                  <a:pt x="1803418" y="4112957"/>
                  <a:pt x="1532912" y="3842449"/>
                </a:cubicBezTo>
                <a:lnTo>
                  <a:pt x="202880" y="2512420"/>
                </a:lnTo>
                <a:cubicBezTo>
                  <a:pt x="-67626" y="2241912"/>
                  <a:pt x="-67626" y="1803418"/>
                  <a:pt x="202880" y="1532910"/>
                </a:cubicBezTo>
                <a:lnTo>
                  <a:pt x="1532912" y="202880"/>
                </a:lnTo>
                <a:cubicBezTo>
                  <a:pt x="1668165" y="67626"/>
                  <a:pt x="1845415" y="0"/>
                  <a:pt x="2022666" y="0"/>
                </a:cubicBezTo>
                <a:close/>
              </a:path>
            </a:pathLst>
          </a:custGeom>
          <a:gradFill>
            <a:gsLst>
              <a:gs pos="100000">
                <a:schemeClr val="bg2"/>
              </a:gs>
              <a:gs pos="0">
                <a:schemeClr val="tx2">
                  <a:alpha val="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1" name="Freeform: Shape 30">
            <a:extLst>
              <a:ext uri="{FF2B5EF4-FFF2-40B4-BE49-F238E27FC236}">
                <a16:creationId xmlns:a16="http://schemas.microsoft.com/office/drawing/2014/main" id="{B57D4C78-5153-04B6-D95C-10D5548BB268}"/>
              </a:ext>
            </a:extLst>
          </p:cNvPr>
          <p:cNvSpPr/>
          <p:nvPr userDrawn="1"/>
        </p:nvSpPr>
        <p:spPr>
          <a:xfrm>
            <a:off x="9996958" y="3351596"/>
            <a:ext cx="2195042" cy="2853334"/>
          </a:xfrm>
          <a:custGeom>
            <a:avLst/>
            <a:gdLst>
              <a:gd name="connsiteX0" fmla="*/ 1426739 w 2195042"/>
              <a:gd name="connsiteY0" fmla="*/ 0 h 2853334"/>
              <a:gd name="connsiteX1" fmla="*/ 1772204 w 2195042"/>
              <a:gd name="connsiteY1" fmla="*/ 143019 h 2853334"/>
              <a:gd name="connsiteX2" fmla="*/ 2195042 w 2195042"/>
              <a:gd name="connsiteY2" fmla="*/ 565856 h 2853334"/>
              <a:gd name="connsiteX3" fmla="*/ 2195042 w 2195042"/>
              <a:gd name="connsiteY3" fmla="*/ 2287334 h 2853334"/>
              <a:gd name="connsiteX4" fmla="*/ 1772204 w 2195042"/>
              <a:gd name="connsiteY4" fmla="*/ 2710172 h 2853334"/>
              <a:gd name="connsiteX5" fmla="*/ 1081274 w 2195042"/>
              <a:gd name="connsiteY5" fmla="*/ 2710172 h 2853334"/>
              <a:gd name="connsiteX6" fmla="*/ 143163 w 2195042"/>
              <a:gd name="connsiteY6" fmla="*/ 1772062 h 2853334"/>
              <a:gd name="connsiteX7" fmla="*/ 143163 w 2195042"/>
              <a:gd name="connsiteY7" fmla="*/ 1081129 h 2853334"/>
              <a:gd name="connsiteX8" fmla="*/ 1081274 w 2195042"/>
              <a:gd name="connsiteY8" fmla="*/ 143019 h 2853334"/>
              <a:gd name="connsiteX9" fmla="*/ 1426739 w 2195042"/>
              <a:gd name="connsiteY9" fmla="*/ 0 h 285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5042" h="2853334">
                <a:moveTo>
                  <a:pt x="1426739" y="0"/>
                </a:moveTo>
                <a:cubicBezTo>
                  <a:pt x="1551751" y="0"/>
                  <a:pt x="1676763" y="47673"/>
                  <a:pt x="1772204" y="143019"/>
                </a:cubicBezTo>
                <a:lnTo>
                  <a:pt x="2195042" y="565856"/>
                </a:lnTo>
                <a:lnTo>
                  <a:pt x="2195042" y="2287334"/>
                </a:lnTo>
                <a:lnTo>
                  <a:pt x="1772204" y="2710172"/>
                </a:lnTo>
                <a:cubicBezTo>
                  <a:pt x="1581321" y="2901055"/>
                  <a:pt x="1272157" y="2901055"/>
                  <a:pt x="1081274" y="2710172"/>
                </a:cubicBezTo>
                <a:lnTo>
                  <a:pt x="143163" y="1772062"/>
                </a:lnTo>
                <a:cubicBezTo>
                  <a:pt x="-47720" y="1581178"/>
                  <a:pt x="-47720" y="1272013"/>
                  <a:pt x="143163" y="1081129"/>
                </a:cubicBezTo>
                <a:lnTo>
                  <a:pt x="1081274" y="143019"/>
                </a:lnTo>
                <a:cubicBezTo>
                  <a:pt x="1176716" y="47673"/>
                  <a:pt x="1301727" y="0"/>
                  <a:pt x="1426739" y="0"/>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3" name="Freeform: Shape 32">
            <a:extLst>
              <a:ext uri="{FF2B5EF4-FFF2-40B4-BE49-F238E27FC236}">
                <a16:creationId xmlns:a16="http://schemas.microsoft.com/office/drawing/2014/main" id="{1C888D4E-EF77-F66A-0410-0F85E991CC63}"/>
              </a:ext>
            </a:extLst>
          </p:cNvPr>
          <p:cNvSpPr/>
          <p:nvPr userDrawn="1"/>
        </p:nvSpPr>
        <p:spPr>
          <a:xfrm>
            <a:off x="4630468" y="0"/>
            <a:ext cx="2706859" cy="1094861"/>
          </a:xfrm>
          <a:custGeom>
            <a:avLst/>
            <a:gdLst>
              <a:gd name="connsiteX0" fmla="*/ 1878616 w 1878615"/>
              <a:gd name="connsiteY0" fmla="*/ 0 h 759856"/>
              <a:gd name="connsiteX1" fmla="*/ 1864900 w 1878615"/>
              <a:gd name="connsiteY1" fmla="*/ 14383 h 759856"/>
              <a:gd name="connsiteX2" fmla="*/ 1246632 w 1878615"/>
              <a:gd name="connsiteY2" fmla="*/ 632555 h 759856"/>
              <a:gd name="connsiteX3" fmla="*/ 1236726 w 1878615"/>
              <a:gd name="connsiteY3" fmla="*/ 642176 h 759856"/>
              <a:gd name="connsiteX4" fmla="*/ 631888 w 1878615"/>
              <a:gd name="connsiteY4" fmla="*/ 632555 h 759856"/>
              <a:gd name="connsiteX5" fmla="*/ 424910 w 1878615"/>
              <a:gd name="connsiteY5" fmla="*/ 425577 h 759856"/>
              <a:gd name="connsiteX6" fmla="*/ 13716 w 1878615"/>
              <a:gd name="connsiteY6" fmla="*/ 14383 h 759856"/>
              <a:gd name="connsiteX7" fmla="*/ 0 w 1878615"/>
              <a:gd name="connsiteY7" fmla="*/ 0 h 759856"/>
              <a:gd name="connsiteX8" fmla="*/ 1878616 w 1878615"/>
              <a:gd name="connsiteY8" fmla="*/ 0 h 75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15" h="759856">
                <a:moveTo>
                  <a:pt x="1878616" y="0"/>
                </a:moveTo>
                <a:cubicBezTo>
                  <a:pt x="1874234" y="4858"/>
                  <a:pt x="1869662" y="9620"/>
                  <a:pt x="1864900" y="14383"/>
                </a:cubicBezTo>
                <a:lnTo>
                  <a:pt x="1246632" y="632555"/>
                </a:lnTo>
                <a:cubicBezTo>
                  <a:pt x="1243393" y="635794"/>
                  <a:pt x="1240060" y="639032"/>
                  <a:pt x="1236726" y="642176"/>
                </a:cubicBezTo>
                <a:cubicBezTo>
                  <a:pt x="1066324" y="802196"/>
                  <a:pt x="798385" y="799052"/>
                  <a:pt x="631888" y="632555"/>
                </a:cubicBezTo>
                <a:lnTo>
                  <a:pt x="424910" y="425577"/>
                </a:lnTo>
                <a:lnTo>
                  <a:pt x="13716" y="14383"/>
                </a:lnTo>
                <a:cubicBezTo>
                  <a:pt x="8953" y="9620"/>
                  <a:pt x="4381" y="4858"/>
                  <a:pt x="0" y="0"/>
                </a:cubicBezTo>
                <a:lnTo>
                  <a:pt x="1878616" y="0"/>
                </a:lnTo>
                <a:close/>
              </a:path>
            </a:pathLst>
          </a:custGeom>
          <a:gradFill>
            <a:gsLst>
              <a:gs pos="0">
                <a:schemeClr val="bg2"/>
              </a:gs>
              <a:gs pos="100000">
                <a:schemeClr val="tx2">
                  <a:alpha val="0"/>
                </a:schemeClr>
              </a:gs>
            </a:gsLst>
            <a:lin ang="5400000" scaled="1"/>
          </a:gradFill>
          <a:ln w="9525" cap="flat">
            <a:noFill/>
            <a:prstDash val="solid"/>
            <a:miter/>
          </a:ln>
        </p:spPr>
        <p:txBody>
          <a:bodyPr rtlCol="0" anchor="ctr"/>
          <a:lstStyle/>
          <a:p>
            <a:endParaRPr lang="en-IN"/>
          </a:p>
        </p:txBody>
      </p:sp>
      <p:sp>
        <p:nvSpPr>
          <p:cNvPr id="34" name="Freeform: Shape 33">
            <a:extLst>
              <a:ext uri="{FF2B5EF4-FFF2-40B4-BE49-F238E27FC236}">
                <a16:creationId xmlns:a16="http://schemas.microsoft.com/office/drawing/2014/main" id="{82CB47DB-4BBC-F383-C97B-886EA9A5058B}"/>
              </a:ext>
            </a:extLst>
          </p:cNvPr>
          <p:cNvSpPr/>
          <p:nvPr userDrawn="1"/>
        </p:nvSpPr>
        <p:spPr>
          <a:xfrm>
            <a:off x="3964576" y="4753406"/>
            <a:ext cx="4038511" cy="2104594"/>
          </a:xfrm>
          <a:custGeom>
            <a:avLst/>
            <a:gdLst>
              <a:gd name="connsiteX0" fmla="*/ 2800816 w 2802809"/>
              <a:gd name="connsiteY0" fmla="*/ 1445252 h 1445251"/>
              <a:gd name="connsiteX1" fmla="*/ 1990 w 2802809"/>
              <a:gd name="connsiteY1" fmla="*/ 1445252 h 1445251"/>
              <a:gd name="connsiteX2" fmla="*/ 140579 w 2802809"/>
              <a:gd name="connsiteY2" fmla="*/ 1062061 h 1445251"/>
              <a:gd name="connsiteX3" fmla="*/ 1062123 w 2802809"/>
              <a:gd name="connsiteY3" fmla="*/ 140518 h 1445251"/>
              <a:gd name="connsiteX4" fmla="*/ 1740779 w 2802809"/>
              <a:gd name="connsiteY4" fmla="*/ 140518 h 1445251"/>
              <a:gd name="connsiteX5" fmla="*/ 2662323 w 2802809"/>
              <a:gd name="connsiteY5" fmla="*/ 1062061 h 1445251"/>
              <a:gd name="connsiteX6" fmla="*/ 2800816 w 2802809"/>
              <a:gd name="connsiteY6" fmla="*/ 1445252 h 1445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2809" h="1445251">
                <a:moveTo>
                  <a:pt x="2800816" y="1445252"/>
                </a:moveTo>
                <a:lnTo>
                  <a:pt x="1990" y="1445252"/>
                </a:lnTo>
                <a:cubicBezTo>
                  <a:pt x="-10488" y="1308283"/>
                  <a:pt x="35709" y="1166932"/>
                  <a:pt x="140579" y="1062061"/>
                </a:cubicBezTo>
                <a:lnTo>
                  <a:pt x="1062123" y="140518"/>
                </a:lnTo>
                <a:cubicBezTo>
                  <a:pt x="1249479" y="-46839"/>
                  <a:pt x="1553327" y="-46839"/>
                  <a:pt x="1740779" y="140518"/>
                </a:cubicBezTo>
                <a:lnTo>
                  <a:pt x="2662323" y="1062061"/>
                </a:lnTo>
                <a:cubicBezTo>
                  <a:pt x="2767193" y="1166932"/>
                  <a:pt x="2813294" y="1308283"/>
                  <a:pt x="2800816" y="1445252"/>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7" name="Freeform: Shape 36">
            <a:extLst>
              <a:ext uri="{FF2B5EF4-FFF2-40B4-BE49-F238E27FC236}">
                <a16:creationId xmlns:a16="http://schemas.microsoft.com/office/drawing/2014/main" id="{7D6839E2-39F2-5404-C8B3-8FC3C7AF5A7C}"/>
              </a:ext>
            </a:extLst>
          </p:cNvPr>
          <p:cNvSpPr/>
          <p:nvPr userDrawn="1"/>
        </p:nvSpPr>
        <p:spPr>
          <a:xfrm>
            <a:off x="4704374" y="321630"/>
            <a:ext cx="1934314" cy="1934314"/>
          </a:xfrm>
          <a:custGeom>
            <a:avLst/>
            <a:gdLst>
              <a:gd name="connsiteX0" fmla="*/ 1275159 w 1342453"/>
              <a:gd name="connsiteY0" fmla="*/ 833771 h 1342453"/>
              <a:gd name="connsiteX1" fmla="*/ 833771 w 1342453"/>
              <a:gd name="connsiteY1" fmla="*/ 1275159 h 1342453"/>
              <a:gd name="connsiteX2" fmla="*/ 508682 w 1342453"/>
              <a:gd name="connsiteY2" fmla="*/ 1275159 h 1342453"/>
              <a:gd name="connsiteX3" fmla="*/ 67294 w 1342453"/>
              <a:gd name="connsiteY3" fmla="*/ 833771 h 1342453"/>
              <a:gd name="connsiteX4" fmla="*/ 67294 w 1342453"/>
              <a:gd name="connsiteY4" fmla="*/ 508683 h 1342453"/>
              <a:gd name="connsiteX5" fmla="*/ 508682 w 1342453"/>
              <a:gd name="connsiteY5" fmla="*/ 67294 h 1342453"/>
              <a:gd name="connsiteX6" fmla="*/ 833771 w 1342453"/>
              <a:gd name="connsiteY6" fmla="*/ 67294 h 1342453"/>
              <a:gd name="connsiteX7" fmla="*/ 1275159 w 1342453"/>
              <a:gd name="connsiteY7" fmla="*/ 508683 h 1342453"/>
              <a:gd name="connsiteX8" fmla="*/ 1275159 w 1342453"/>
              <a:gd name="connsiteY8" fmla="*/ 833771 h 134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453" h="1342453">
                <a:moveTo>
                  <a:pt x="1275159" y="833771"/>
                </a:moveTo>
                <a:lnTo>
                  <a:pt x="833771" y="1275159"/>
                </a:lnTo>
                <a:cubicBezTo>
                  <a:pt x="744045" y="1364885"/>
                  <a:pt x="598503" y="1364885"/>
                  <a:pt x="508682" y="1275159"/>
                </a:cubicBezTo>
                <a:lnTo>
                  <a:pt x="67294" y="833771"/>
                </a:lnTo>
                <a:cubicBezTo>
                  <a:pt x="-22431" y="744045"/>
                  <a:pt x="-22431" y="598503"/>
                  <a:pt x="67294" y="508683"/>
                </a:cubicBezTo>
                <a:lnTo>
                  <a:pt x="508682" y="67294"/>
                </a:lnTo>
                <a:cubicBezTo>
                  <a:pt x="598408" y="-22431"/>
                  <a:pt x="743950" y="-22431"/>
                  <a:pt x="833771" y="67294"/>
                </a:cubicBezTo>
                <a:lnTo>
                  <a:pt x="1275159" y="508683"/>
                </a:lnTo>
                <a:cubicBezTo>
                  <a:pt x="1364885" y="598408"/>
                  <a:pt x="1364885" y="743950"/>
                  <a:pt x="1275159" y="833771"/>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8" name="Freeform: Shape 37">
            <a:extLst>
              <a:ext uri="{FF2B5EF4-FFF2-40B4-BE49-F238E27FC236}">
                <a16:creationId xmlns:a16="http://schemas.microsoft.com/office/drawing/2014/main" id="{C19C1E11-FB5A-49B0-CD5F-94B8020DB9E3}"/>
              </a:ext>
            </a:extLst>
          </p:cNvPr>
          <p:cNvSpPr/>
          <p:nvPr userDrawn="1"/>
        </p:nvSpPr>
        <p:spPr>
          <a:xfrm>
            <a:off x="6888885" y="365136"/>
            <a:ext cx="1005584" cy="1005584"/>
          </a:xfrm>
          <a:custGeom>
            <a:avLst/>
            <a:gdLst>
              <a:gd name="connsiteX0" fmla="*/ 662892 w 697896"/>
              <a:gd name="connsiteY0" fmla="*/ 433435 h 697896"/>
              <a:gd name="connsiteX1" fmla="*/ 433435 w 697896"/>
              <a:gd name="connsiteY1" fmla="*/ 662892 h 697896"/>
              <a:gd name="connsiteX2" fmla="*/ 264462 w 697896"/>
              <a:gd name="connsiteY2" fmla="*/ 662892 h 697896"/>
              <a:gd name="connsiteX3" fmla="*/ 35004 w 697896"/>
              <a:gd name="connsiteY3" fmla="*/ 433435 h 697896"/>
              <a:gd name="connsiteX4" fmla="*/ 35004 w 697896"/>
              <a:gd name="connsiteY4" fmla="*/ 264462 h 697896"/>
              <a:gd name="connsiteX5" fmla="*/ 264462 w 697896"/>
              <a:gd name="connsiteY5" fmla="*/ 35004 h 697896"/>
              <a:gd name="connsiteX6" fmla="*/ 433435 w 697896"/>
              <a:gd name="connsiteY6" fmla="*/ 35004 h 697896"/>
              <a:gd name="connsiteX7" fmla="*/ 662892 w 697896"/>
              <a:gd name="connsiteY7" fmla="*/ 264462 h 697896"/>
              <a:gd name="connsiteX8" fmla="*/ 662892 w 697896"/>
              <a:gd name="connsiteY8" fmla="*/ 433435 h 69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896" h="697896">
                <a:moveTo>
                  <a:pt x="662892" y="433435"/>
                </a:moveTo>
                <a:lnTo>
                  <a:pt x="433435" y="662892"/>
                </a:lnTo>
                <a:cubicBezTo>
                  <a:pt x="386763" y="709565"/>
                  <a:pt x="311134" y="709565"/>
                  <a:pt x="264462" y="662892"/>
                </a:cubicBezTo>
                <a:lnTo>
                  <a:pt x="35004" y="433435"/>
                </a:lnTo>
                <a:cubicBezTo>
                  <a:pt x="-11668" y="386763"/>
                  <a:pt x="-11668" y="311134"/>
                  <a:pt x="35004" y="264462"/>
                </a:cubicBezTo>
                <a:lnTo>
                  <a:pt x="264462" y="35004"/>
                </a:lnTo>
                <a:cubicBezTo>
                  <a:pt x="311134" y="-11668"/>
                  <a:pt x="386763" y="-11668"/>
                  <a:pt x="433435" y="35004"/>
                </a:cubicBezTo>
                <a:lnTo>
                  <a:pt x="662892" y="264462"/>
                </a:lnTo>
                <a:cubicBezTo>
                  <a:pt x="709565" y="311134"/>
                  <a:pt x="709565" y="386763"/>
                  <a:pt x="662892" y="433435"/>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9" name="Freeform: Shape 38">
            <a:extLst>
              <a:ext uri="{FF2B5EF4-FFF2-40B4-BE49-F238E27FC236}">
                <a16:creationId xmlns:a16="http://schemas.microsoft.com/office/drawing/2014/main" id="{C2533B60-A6CB-5F3F-E6E0-B9B8FA26352A}"/>
              </a:ext>
            </a:extLst>
          </p:cNvPr>
          <p:cNvSpPr/>
          <p:nvPr userDrawn="1"/>
        </p:nvSpPr>
        <p:spPr>
          <a:xfrm>
            <a:off x="7331532" y="5741599"/>
            <a:ext cx="2062310" cy="1094240"/>
          </a:xfrm>
          <a:custGeom>
            <a:avLst/>
            <a:gdLst>
              <a:gd name="connsiteX0" fmla="*/ 1427319 w 1431285"/>
              <a:gd name="connsiteY0" fmla="*/ 759426 h 759425"/>
              <a:gd name="connsiteX1" fmla="*/ 3903 w 1431285"/>
              <a:gd name="connsiteY1" fmla="*/ 759426 h 759425"/>
              <a:gd name="connsiteX2" fmla="*/ 665 w 1431285"/>
              <a:gd name="connsiteY2" fmla="*/ 733423 h 759425"/>
              <a:gd name="connsiteX3" fmla="*/ 71721 w 1431285"/>
              <a:gd name="connsiteY3" fmla="*/ 542256 h 759425"/>
              <a:gd name="connsiteX4" fmla="*/ 542351 w 1431285"/>
              <a:gd name="connsiteY4" fmla="*/ 71721 h 759425"/>
              <a:gd name="connsiteX5" fmla="*/ 733423 w 1431285"/>
              <a:gd name="connsiteY5" fmla="*/ 665 h 759425"/>
              <a:gd name="connsiteX6" fmla="*/ 888966 w 1431285"/>
              <a:gd name="connsiteY6" fmla="*/ 71721 h 759425"/>
              <a:gd name="connsiteX7" fmla="*/ 1359501 w 1431285"/>
              <a:gd name="connsiteY7" fmla="*/ 542256 h 759425"/>
              <a:gd name="connsiteX8" fmla="*/ 1427319 w 1431285"/>
              <a:gd name="connsiteY8" fmla="*/ 759426 h 75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1285" h="759425">
                <a:moveTo>
                  <a:pt x="1427319" y="759426"/>
                </a:moveTo>
                <a:lnTo>
                  <a:pt x="3903" y="759426"/>
                </a:lnTo>
                <a:cubicBezTo>
                  <a:pt x="2284" y="750758"/>
                  <a:pt x="1141" y="742091"/>
                  <a:pt x="665" y="733423"/>
                </a:cubicBezTo>
                <a:cubicBezTo>
                  <a:pt x="-4384" y="664938"/>
                  <a:pt x="19333" y="594643"/>
                  <a:pt x="71721" y="542256"/>
                </a:cubicBezTo>
                <a:lnTo>
                  <a:pt x="542351" y="71721"/>
                </a:lnTo>
                <a:cubicBezTo>
                  <a:pt x="594739" y="19333"/>
                  <a:pt x="664938" y="-4384"/>
                  <a:pt x="733423" y="665"/>
                </a:cubicBezTo>
                <a:cubicBezTo>
                  <a:pt x="790097" y="4665"/>
                  <a:pt x="845627" y="28382"/>
                  <a:pt x="888966" y="71721"/>
                </a:cubicBezTo>
                <a:lnTo>
                  <a:pt x="1359501" y="542256"/>
                </a:lnTo>
                <a:cubicBezTo>
                  <a:pt x="1418556" y="601311"/>
                  <a:pt x="1441225" y="683035"/>
                  <a:pt x="1427319" y="759426"/>
                </a:cubicBezTo>
                <a:close/>
              </a:path>
            </a:pathLst>
          </a:custGeom>
          <a:gradFill>
            <a:gsLst>
              <a:gs pos="0">
                <a:schemeClr val="bg2"/>
              </a:gs>
              <a:gs pos="100000">
                <a:schemeClr val="tx2"/>
              </a:gs>
            </a:gsLst>
            <a:lin ang="5400000" scaled="1"/>
          </a:gradFill>
          <a:ln w="381" cap="flat">
            <a:noFill/>
            <a:prstDash val="solid"/>
            <a:miter/>
          </a:ln>
        </p:spPr>
        <p:txBody>
          <a:bodyPr rtlCol="0" anchor="ctr"/>
          <a:lstStyle/>
          <a:p>
            <a:endParaRPr lang="en-IN"/>
          </a:p>
        </p:txBody>
      </p:sp>
      <p:sp>
        <p:nvSpPr>
          <p:cNvPr id="40" name="Freeform: Shape 39">
            <a:extLst>
              <a:ext uri="{FF2B5EF4-FFF2-40B4-BE49-F238E27FC236}">
                <a16:creationId xmlns:a16="http://schemas.microsoft.com/office/drawing/2014/main" id="{4E54C0A5-C467-BB7C-45B9-5578723A3A1A}"/>
              </a:ext>
            </a:extLst>
          </p:cNvPr>
          <p:cNvSpPr/>
          <p:nvPr userDrawn="1"/>
        </p:nvSpPr>
        <p:spPr>
          <a:xfrm rot="18900000">
            <a:off x="7258675" y="2755790"/>
            <a:ext cx="911848" cy="911848"/>
          </a:xfrm>
          <a:custGeom>
            <a:avLst/>
            <a:gdLst>
              <a:gd name="connsiteX0" fmla="*/ 134207 w 632841"/>
              <a:gd name="connsiteY0" fmla="*/ 0 h 632841"/>
              <a:gd name="connsiteX1" fmla="*/ 498634 w 632841"/>
              <a:gd name="connsiteY1" fmla="*/ 0 h 632841"/>
              <a:gd name="connsiteX2" fmla="*/ 632841 w 632841"/>
              <a:gd name="connsiteY2" fmla="*/ 134207 h 632841"/>
              <a:gd name="connsiteX3" fmla="*/ 632841 w 632841"/>
              <a:gd name="connsiteY3" fmla="*/ 498634 h 632841"/>
              <a:gd name="connsiteX4" fmla="*/ 498634 w 632841"/>
              <a:gd name="connsiteY4" fmla="*/ 632841 h 632841"/>
              <a:gd name="connsiteX5" fmla="*/ 134207 w 632841"/>
              <a:gd name="connsiteY5" fmla="*/ 632841 h 632841"/>
              <a:gd name="connsiteX6" fmla="*/ 0 w 632841"/>
              <a:gd name="connsiteY6" fmla="*/ 498634 h 632841"/>
              <a:gd name="connsiteX7" fmla="*/ 0 w 632841"/>
              <a:gd name="connsiteY7" fmla="*/ 134207 h 632841"/>
              <a:gd name="connsiteX8" fmla="*/ 134207 w 632841"/>
              <a:gd name="connsiteY8" fmla="*/ 0 h 63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2841" h="632841">
                <a:moveTo>
                  <a:pt x="134207" y="0"/>
                </a:moveTo>
                <a:lnTo>
                  <a:pt x="498634" y="0"/>
                </a:lnTo>
                <a:cubicBezTo>
                  <a:pt x="572739" y="0"/>
                  <a:pt x="632841" y="60103"/>
                  <a:pt x="632841" y="134207"/>
                </a:cubicBezTo>
                <a:lnTo>
                  <a:pt x="632841" y="498634"/>
                </a:lnTo>
                <a:cubicBezTo>
                  <a:pt x="632841" y="572738"/>
                  <a:pt x="572739" y="632841"/>
                  <a:pt x="498634" y="632841"/>
                </a:cubicBezTo>
                <a:lnTo>
                  <a:pt x="134207" y="632841"/>
                </a:lnTo>
                <a:cubicBezTo>
                  <a:pt x="60103" y="632841"/>
                  <a:pt x="0" y="572738"/>
                  <a:pt x="0" y="498634"/>
                </a:cubicBezTo>
                <a:lnTo>
                  <a:pt x="0" y="134207"/>
                </a:lnTo>
                <a:cubicBezTo>
                  <a:pt x="0" y="60103"/>
                  <a:pt x="60103" y="0"/>
                  <a:pt x="134207" y="0"/>
                </a:cubicBezTo>
                <a:close/>
              </a:path>
            </a:pathLst>
          </a:custGeom>
          <a:gradFill>
            <a:gsLst>
              <a:gs pos="100000">
                <a:schemeClr val="bg2"/>
              </a:gs>
              <a:gs pos="0">
                <a:schemeClr val="bg2">
                  <a:alpha val="5000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48" name="Text Box 3" descr="This is a copyright notice that should be included on the final slide.">
            <a:extLst>
              <a:ext uri="{FF2B5EF4-FFF2-40B4-BE49-F238E27FC236}">
                <a16:creationId xmlns:a16="http://schemas.microsoft.com/office/drawing/2014/main" id="{4FE2DEFD-B84C-D79E-A041-B106CAD074B7}"/>
              </a:ext>
            </a:extLst>
          </p:cNvPr>
          <p:cNvSpPr txBox="1">
            <a:spLocks noChangeArrowheads="1"/>
          </p:cNvSpPr>
          <p:nvPr userDrawn="1"/>
        </p:nvSpPr>
        <p:spPr bwMode="blackWhite">
          <a:xfrm>
            <a:off x="604894" y="6462131"/>
            <a:ext cx="567684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3" name="Picture 2" descr="A logo on a black background&#10;&#10;AI-generated content may be incorrect.">
            <a:extLst>
              <a:ext uri="{FF2B5EF4-FFF2-40B4-BE49-F238E27FC236}">
                <a16:creationId xmlns:a16="http://schemas.microsoft.com/office/drawing/2014/main" id="{E3D76396-0D3B-A224-C406-012CEA26C22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4025" y="451050"/>
            <a:ext cx="1901958" cy="852471"/>
          </a:xfrm>
          <a:prstGeom prst="rect">
            <a:avLst/>
          </a:prstGeom>
        </p:spPr>
      </p:pic>
    </p:spTree>
    <p:extLst>
      <p:ext uri="{BB962C8B-B14F-4D97-AF65-F5344CB8AC3E}">
        <p14:creationId xmlns:p14="http://schemas.microsoft.com/office/powerpoint/2010/main" val="50647837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hank you 3">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EA4DF7DC-ACCC-3116-897F-C427604F3BDD}"/>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6F6CCBF4-272C-F4DA-7D11-C8FDE34873D4}"/>
              </a:ext>
            </a:extLst>
          </p:cNvPr>
          <p:cNvSpPr/>
          <p:nvPr userDrawn="1"/>
        </p:nvSpPr>
        <p:spPr bwMode="auto">
          <a:xfrm>
            <a:off x="6324600" y="209550"/>
            <a:ext cx="2247900" cy="552450"/>
          </a:xfrm>
          <a:custGeom>
            <a:avLst/>
            <a:gdLst>
              <a:gd name="connsiteX0" fmla="*/ 0 w 2247900"/>
              <a:gd name="connsiteY0" fmla="*/ 552450 h 552450"/>
              <a:gd name="connsiteX1" fmla="*/ 1695450 w 2247900"/>
              <a:gd name="connsiteY1" fmla="*/ 552450 h 552450"/>
              <a:gd name="connsiteX2" fmla="*/ 2247900 w 2247900"/>
              <a:gd name="connsiteY2" fmla="*/ 0 h 552450"/>
            </a:gdLst>
            <a:ahLst/>
            <a:cxnLst>
              <a:cxn ang="0">
                <a:pos x="connsiteX0" y="connsiteY0"/>
              </a:cxn>
              <a:cxn ang="0">
                <a:pos x="connsiteX1" y="connsiteY1"/>
              </a:cxn>
              <a:cxn ang="0">
                <a:pos x="connsiteX2" y="connsiteY2"/>
              </a:cxn>
            </a:cxnLst>
            <a:rect l="l" t="t" r="r" b="b"/>
            <a:pathLst>
              <a:path w="2247900" h="552450">
                <a:moveTo>
                  <a:pt x="0" y="552450"/>
                </a:moveTo>
                <a:lnTo>
                  <a:pt x="1695450" y="552450"/>
                </a:lnTo>
                <a:lnTo>
                  <a:pt x="2247900"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30" name="Oval 29">
            <a:extLst>
              <a:ext uri="{FF2B5EF4-FFF2-40B4-BE49-F238E27FC236}">
                <a16:creationId xmlns:a16="http://schemas.microsoft.com/office/drawing/2014/main" id="{EA75A26C-5730-D692-9E3F-5137CB67B89E}"/>
              </a:ext>
            </a:extLst>
          </p:cNvPr>
          <p:cNvSpPr/>
          <p:nvPr userDrawn="1"/>
        </p:nvSpPr>
        <p:spPr bwMode="auto">
          <a:xfrm>
            <a:off x="6288969" y="655626"/>
            <a:ext cx="221812" cy="221812"/>
          </a:xfrm>
          <a:prstGeom prst="ellipse">
            <a:avLst/>
          </a:prstGeom>
          <a:solidFill>
            <a:schemeClr val="bg2">
              <a:lumMod val="50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err="1"/>
          </a:p>
        </p:txBody>
      </p:sp>
      <p:sp>
        <p:nvSpPr>
          <p:cNvPr id="31" name="Freeform: Shape 30">
            <a:extLst>
              <a:ext uri="{FF2B5EF4-FFF2-40B4-BE49-F238E27FC236}">
                <a16:creationId xmlns:a16="http://schemas.microsoft.com/office/drawing/2014/main" id="{FA6311BE-46D2-AC07-4055-6A3CC8FF565A}"/>
              </a:ext>
            </a:extLst>
          </p:cNvPr>
          <p:cNvSpPr/>
          <p:nvPr userDrawn="1"/>
        </p:nvSpPr>
        <p:spPr bwMode="auto">
          <a:xfrm flipV="1">
            <a:off x="0" y="0"/>
            <a:ext cx="6521042" cy="1475908"/>
          </a:xfrm>
          <a:custGeom>
            <a:avLst/>
            <a:gdLst>
              <a:gd name="connsiteX0" fmla="*/ 0 w 6521042"/>
              <a:gd name="connsiteY0" fmla="*/ 1475908 h 1475908"/>
              <a:gd name="connsiteX1" fmla="*/ 6521042 w 6521042"/>
              <a:gd name="connsiteY1" fmla="*/ 1475908 h 1475908"/>
              <a:gd name="connsiteX2" fmla="*/ 6511585 w 6521042"/>
              <a:gd name="connsiteY2" fmla="*/ 1456276 h 1475908"/>
              <a:gd name="connsiteX3" fmla="*/ 4064782 w 6521042"/>
              <a:gd name="connsiteY3" fmla="*/ 0 h 1475908"/>
              <a:gd name="connsiteX4" fmla="*/ 0 w 6521042"/>
              <a:gd name="connsiteY4" fmla="*/ 0 h 1475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1042" h="1475908">
                <a:moveTo>
                  <a:pt x="0" y="1475908"/>
                </a:moveTo>
                <a:lnTo>
                  <a:pt x="6521042" y="1475908"/>
                </a:lnTo>
                <a:lnTo>
                  <a:pt x="6511585" y="1456276"/>
                </a:lnTo>
                <a:cubicBezTo>
                  <a:pt x="6040372" y="588853"/>
                  <a:pt x="5121343" y="0"/>
                  <a:pt x="4064782" y="0"/>
                </a:cubicBezTo>
                <a:lnTo>
                  <a:pt x="0" y="0"/>
                </a:lnTo>
                <a:close/>
              </a:path>
            </a:pathLst>
          </a:custGeom>
          <a:gradFill flip="none" rotWithShape="1">
            <a:gsLst>
              <a:gs pos="0">
                <a:schemeClr val="bg2">
                  <a:lumMod val="60000"/>
                  <a:lumOff val="40000"/>
                </a:schemeClr>
              </a:gs>
              <a:gs pos="39000">
                <a:schemeClr val="bg2"/>
              </a:gs>
              <a:gs pos="100000">
                <a:schemeClr val="bg2">
                  <a:lumMod val="50000"/>
                </a:schemeClr>
              </a:gs>
            </a:gsLst>
            <a:lin ang="10800000" scaled="1"/>
            <a:tileRect/>
          </a:gradFill>
          <a:ln w="14405" cap="flat">
            <a:noFill/>
            <a:prstDash val="solid"/>
            <a:miter/>
          </a:ln>
          <a:effectLst>
            <a:outerShdw blurRad="4826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err="1">
              <a:solidFill>
                <a:schemeClr val="tx1"/>
              </a:solidFill>
            </a:endParaRPr>
          </a:p>
        </p:txBody>
      </p:sp>
      <p:sp>
        <p:nvSpPr>
          <p:cNvPr id="64" name="Freeform: Shape 63">
            <a:extLst>
              <a:ext uri="{FF2B5EF4-FFF2-40B4-BE49-F238E27FC236}">
                <a16:creationId xmlns:a16="http://schemas.microsoft.com/office/drawing/2014/main" id="{182B72D1-17E8-B612-B642-A2BFB1D3E3B0}"/>
              </a:ext>
            </a:extLst>
          </p:cNvPr>
          <p:cNvSpPr/>
          <p:nvPr userDrawn="1"/>
        </p:nvSpPr>
        <p:spPr bwMode="auto">
          <a:xfrm>
            <a:off x="3315790" y="0"/>
            <a:ext cx="8795748" cy="6864864"/>
          </a:xfrm>
          <a:custGeom>
            <a:avLst/>
            <a:gdLst>
              <a:gd name="connsiteX0" fmla="*/ 6296933 w 8795748"/>
              <a:gd name="connsiteY0" fmla="*/ 0 h 6864864"/>
              <a:gd name="connsiteX1" fmla="*/ 8795748 w 8795748"/>
              <a:gd name="connsiteY1" fmla="*/ 0 h 6864864"/>
              <a:gd name="connsiteX2" fmla="*/ 8795748 w 8795748"/>
              <a:gd name="connsiteY2" fmla="*/ 6864864 h 6864864"/>
              <a:gd name="connsiteX3" fmla="*/ 0 w 8795748"/>
              <a:gd name="connsiteY3" fmla="*/ 6864864 h 6864864"/>
              <a:gd name="connsiteX4" fmla="*/ 6296933 w 8795748"/>
              <a:gd name="connsiteY4" fmla="*/ 0 h 6864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5748" h="6864864">
                <a:moveTo>
                  <a:pt x="6296933" y="0"/>
                </a:moveTo>
                <a:lnTo>
                  <a:pt x="8795748" y="0"/>
                </a:lnTo>
                <a:lnTo>
                  <a:pt x="8795748" y="6864864"/>
                </a:lnTo>
                <a:lnTo>
                  <a:pt x="0" y="6864864"/>
                </a:lnTo>
                <a:lnTo>
                  <a:pt x="6296933" y="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40" name="Freeform: Shape 39">
            <a:extLst>
              <a:ext uri="{FF2B5EF4-FFF2-40B4-BE49-F238E27FC236}">
                <a16:creationId xmlns:a16="http://schemas.microsoft.com/office/drawing/2014/main" id="{DA9F41BB-F7E8-0672-0EC7-D6FFDDD44857}"/>
              </a:ext>
            </a:extLst>
          </p:cNvPr>
          <p:cNvSpPr/>
          <p:nvPr userDrawn="1"/>
        </p:nvSpPr>
        <p:spPr bwMode="auto">
          <a:xfrm>
            <a:off x="7879579"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1" name="Freeform: Shape 40">
            <a:extLst>
              <a:ext uri="{FF2B5EF4-FFF2-40B4-BE49-F238E27FC236}">
                <a16:creationId xmlns:a16="http://schemas.microsoft.com/office/drawing/2014/main" id="{CE28C725-1034-E372-9FAB-BAEC5BE11AB9}"/>
              </a:ext>
            </a:extLst>
          </p:cNvPr>
          <p:cNvSpPr/>
          <p:nvPr userDrawn="1"/>
        </p:nvSpPr>
        <p:spPr bwMode="auto">
          <a:xfrm>
            <a:off x="7629812"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2" name="Freeform: Shape 41">
            <a:extLst>
              <a:ext uri="{FF2B5EF4-FFF2-40B4-BE49-F238E27FC236}">
                <a16:creationId xmlns:a16="http://schemas.microsoft.com/office/drawing/2014/main" id="{8C93B40D-32C7-0044-16D4-C6F2F43C228A}"/>
              </a:ext>
            </a:extLst>
          </p:cNvPr>
          <p:cNvSpPr/>
          <p:nvPr userDrawn="1"/>
        </p:nvSpPr>
        <p:spPr bwMode="auto">
          <a:xfrm>
            <a:off x="7380045"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3" name="Freeform: Shape 42">
            <a:extLst>
              <a:ext uri="{FF2B5EF4-FFF2-40B4-BE49-F238E27FC236}">
                <a16:creationId xmlns:a16="http://schemas.microsoft.com/office/drawing/2014/main" id="{2B6E2C7A-E5D8-2E26-E735-877FA5E1B122}"/>
              </a:ext>
            </a:extLst>
          </p:cNvPr>
          <p:cNvSpPr/>
          <p:nvPr userDrawn="1"/>
        </p:nvSpPr>
        <p:spPr bwMode="auto">
          <a:xfrm>
            <a:off x="7130278"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4" name="Freeform: Shape 43">
            <a:extLst>
              <a:ext uri="{FF2B5EF4-FFF2-40B4-BE49-F238E27FC236}">
                <a16:creationId xmlns:a16="http://schemas.microsoft.com/office/drawing/2014/main" id="{7EE747CE-B6AB-C6A3-0B90-346B4FE846A3}"/>
              </a:ext>
            </a:extLst>
          </p:cNvPr>
          <p:cNvSpPr/>
          <p:nvPr userDrawn="1"/>
        </p:nvSpPr>
        <p:spPr bwMode="auto">
          <a:xfrm>
            <a:off x="6880511"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5" name="Freeform: Shape 44">
            <a:extLst>
              <a:ext uri="{FF2B5EF4-FFF2-40B4-BE49-F238E27FC236}">
                <a16:creationId xmlns:a16="http://schemas.microsoft.com/office/drawing/2014/main" id="{60336D2A-909B-BFD2-9715-0CF15A8672C3}"/>
              </a:ext>
            </a:extLst>
          </p:cNvPr>
          <p:cNvSpPr/>
          <p:nvPr userDrawn="1"/>
        </p:nvSpPr>
        <p:spPr bwMode="auto">
          <a:xfrm>
            <a:off x="6630744"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6" name="Freeform: Shape 45">
            <a:extLst>
              <a:ext uri="{FF2B5EF4-FFF2-40B4-BE49-F238E27FC236}">
                <a16:creationId xmlns:a16="http://schemas.microsoft.com/office/drawing/2014/main" id="{23F5B6F2-7FC6-4C5A-89D5-78F74B317BD5}"/>
              </a:ext>
            </a:extLst>
          </p:cNvPr>
          <p:cNvSpPr/>
          <p:nvPr userDrawn="1"/>
        </p:nvSpPr>
        <p:spPr>
          <a:xfrm rot="16200000" flipV="1">
            <a:off x="9711359" y="208185"/>
            <a:ext cx="2688826" cy="2272456"/>
          </a:xfrm>
          <a:custGeom>
            <a:avLst/>
            <a:gdLst>
              <a:gd name="connsiteX0" fmla="*/ 2688827 w 2688826"/>
              <a:gd name="connsiteY0" fmla="*/ 0 h 2272456"/>
              <a:gd name="connsiteX1" fmla="*/ 2673720 w 2688826"/>
              <a:gd name="connsiteY1" fmla="*/ 15223 h 2272456"/>
              <a:gd name="connsiteX2" fmla="*/ 1821102 w 2688826"/>
              <a:gd name="connsiteY2" fmla="*/ 874244 h 2272456"/>
              <a:gd name="connsiteX3" fmla="*/ 638405 w 2688826"/>
              <a:gd name="connsiteY3" fmla="*/ 2066188 h 2272456"/>
              <a:gd name="connsiteX4" fmla="*/ 637197 w 2688826"/>
              <a:gd name="connsiteY4" fmla="*/ 2067405 h 2272456"/>
              <a:gd name="connsiteX5" fmla="*/ 627529 w 2688826"/>
              <a:gd name="connsiteY5" fmla="*/ 2076996 h 2272456"/>
              <a:gd name="connsiteX6" fmla="*/ 523595 w 2688826"/>
              <a:gd name="connsiteY6" fmla="*/ 2181729 h 2272456"/>
              <a:gd name="connsiteX7" fmla="*/ 510301 w 2688826"/>
              <a:gd name="connsiteY7" fmla="*/ 2194211 h 2272456"/>
              <a:gd name="connsiteX8" fmla="*/ 509999 w 2688826"/>
              <a:gd name="connsiteY8" fmla="*/ 2194364 h 2272456"/>
              <a:gd name="connsiteX9" fmla="*/ 498367 w 2688826"/>
              <a:gd name="connsiteY9" fmla="*/ 2204563 h 2272456"/>
              <a:gd name="connsiteX10" fmla="*/ 454558 w 2688826"/>
              <a:gd name="connsiteY10" fmla="*/ 2234095 h 2272456"/>
              <a:gd name="connsiteX11" fmla="*/ 445795 w 2688826"/>
              <a:gd name="connsiteY11" fmla="*/ 2238814 h 2272456"/>
              <a:gd name="connsiteX12" fmla="*/ 415582 w 2688826"/>
              <a:gd name="connsiteY12" fmla="*/ 2252362 h 2272456"/>
              <a:gd name="connsiteX13" fmla="*/ 406821 w 2688826"/>
              <a:gd name="connsiteY13" fmla="*/ 2255559 h 2272456"/>
              <a:gd name="connsiteX14" fmla="*/ 391412 w 2688826"/>
              <a:gd name="connsiteY14" fmla="*/ 2260430 h 2272456"/>
              <a:gd name="connsiteX15" fmla="*/ 381291 w 2688826"/>
              <a:gd name="connsiteY15" fmla="*/ 2263170 h 2272456"/>
              <a:gd name="connsiteX16" fmla="*/ 352135 w 2688826"/>
              <a:gd name="connsiteY16" fmla="*/ 2269107 h 2272456"/>
              <a:gd name="connsiteX17" fmla="*/ 340654 w 2688826"/>
              <a:gd name="connsiteY17" fmla="*/ 2270478 h 2272456"/>
              <a:gd name="connsiteX18" fmla="*/ 326454 w 2688826"/>
              <a:gd name="connsiteY18" fmla="*/ 2271848 h 2272456"/>
              <a:gd name="connsiteX19" fmla="*/ 307722 w 2688826"/>
              <a:gd name="connsiteY19" fmla="*/ 2272456 h 2272456"/>
              <a:gd name="connsiteX20" fmla="*/ 302585 w 2688826"/>
              <a:gd name="connsiteY20" fmla="*/ 2272304 h 2272456"/>
              <a:gd name="connsiteX21" fmla="*/ 301075 w 2688826"/>
              <a:gd name="connsiteY21" fmla="*/ 2272304 h 2272456"/>
              <a:gd name="connsiteX22" fmla="*/ 296543 w 2688826"/>
              <a:gd name="connsiteY22" fmla="*/ 2272304 h 2272456"/>
              <a:gd name="connsiteX23" fmla="*/ 290651 w 2688826"/>
              <a:gd name="connsiteY23" fmla="*/ 2272000 h 2272456"/>
              <a:gd name="connsiteX24" fmla="*/ 274638 w 2688826"/>
              <a:gd name="connsiteY24" fmla="*/ 2270782 h 2272456"/>
              <a:gd name="connsiteX25" fmla="*/ 269502 w 2688826"/>
              <a:gd name="connsiteY25" fmla="*/ 2270173 h 2272456"/>
              <a:gd name="connsiteX26" fmla="*/ 264366 w 2688826"/>
              <a:gd name="connsiteY26" fmla="*/ 2269412 h 2272456"/>
              <a:gd name="connsiteX27" fmla="*/ 263459 w 2688826"/>
              <a:gd name="connsiteY27" fmla="*/ 2269412 h 2272456"/>
              <a:gd name="connsiteX28" fmla="*/ 259078 w 2688826"/>
              <a:gd name="connsiteY28" fmla="*/ 2268651 h 2272456"/>
              <a:gd name="connsiteX29" fmla="*/ 249259 w 2688826"/>
              <a:gd name="connsiteY29" fmla="*/ 2266976 h 2272456"/>
              <a:gd name="connsiteX30" fmla="*/ 238836 w 2688826"/>
              <a:gd name="connsiteY30" fmla="*/ 2264693 h 2272456"/>
              <a:gd name="connsiteX31" fmla="*/ 230073 w 2688826"/>
              <a:gd name="connsiteY31" fmla="*/ 2262714 h 2272456"/>
              <a:gd name="connsiteX32" fmla="*/ 228865 w 2688826"/>
              <a:gd name="connsiteY32" fmla="*/ 2262257 h 2272456"/>
              <a:gd name="connsiteX33" fmla="*/ 220859 w 2688826"/>
              <a:gd name="connsiteY33" fmla="*/ 2260126 h 2272456"/>
              <a:gd name="connsiteX34" fmla="*/ 194724 w 2688826"/>
              <a:gd name="connsiteY34" fmla="*/ 2251145 h 2272456"/>
              <a:gd name="connsiteX35" fmla="*/ 186113 w 2688826"/>
              <a:gd name="connsiteY35" fmla="*/ 2247491 h 2272456"/>
              <a:gd name="connsiteX36" fmla="*/ 172215 w 2688826"/>
              <a:gd name="connsiteY36" fmla="*/ 2241098 h 2272456"/>
              <a:gd name="connsiteX37" fmla="*/ 148497 w 2688826"/>
              <a:gd name="connsiteY37" fmla="*/ 2228158 h 2272456"/>
              <a:gd name="connsiteX38" fmla="*/ 141850 w 2688826"/>
              <a:gd name="connsiteY38" fmla="*/ 2224048 h 2272456"/>
              <a:gd name="connsiteX39" fmla="*/ 134751 w 2688826"/>
              <a:gd name="connsiteY39" fmla="*/ 2219329 h 2272456"/>
              <a:gd name="connsiteX40" fmla="*/ 131277 w 2688826"/>
              <a:gd name="connsiteY40" fmla="*/ 2216893 h 2272456"/>
              <a:gd name="connsiteX41" fmla="*/ 127953 w 2688826"/>
              <a:gd name="connsiteY41" fmla="*/ 2214458 h 2272456"/>
              <a:gd name="connsiteX42" fmla="*/ 124478 w 2688826"/>
              <a:gd name="connsiteY42" fmla="*/ 2211870 h 2272456"/>
              <a:gd name="connsiteX43" fmla="*/ 114659 w 2688826"/>
              <a:gd name="connsiteY43" fmla="*/ 2204411 h 2272456"/>
              <a:gd name="connsiteX44" fmla="*/ 108918 w 2688826"/>
              <a:gd name="connsiteY44" fmla="*/ 2199539 h 2272456"/>
              <a:gd name="connsiteX45" fmla="*/ 105444 w 2688826"/>
              <a:gd name="connsiteY45" fmla="*/ 2196495 h 2272456"/>
              <a:gd name="connsiteX46" fmla="*/ 101970 w 2688826"/>
              <a:gd name="connsiteY46" fmla="*/ 2193450 h 2272456"/>
              <a:gd name="connsiteX47" fmla="*/ 98948 w 2688826"/>
              <a:gd name="connsiteY47" fmla="*/ 2190558 h 2272456"/>
              <a:gd name="connsiteX48" fmla="*/ 96078 w 2688826"/>
              <a:gd name="connsiteY48" fmla="*/ 2187970 h 2272456"/>
              <a:gd name="connsiteX49" fmla="*/ 93056 w 2688826"/>
              <a:gd name="connsiteY49" fmla="*/ 2185078 h 2272456"/>
              <a:gd name="connsiteX50" fmla="*/ 89582 w 2688826"/>
              <a:gd name="connsiteY50" fmla="*/ 2181729 h 2272456"/>
              <a:gd name="connsiteX51" fmla="*/ 84294 w 2688826"/>
              <a:gd name="connsiteY51" fmla="*/ 2176096 h 2272456"/>
              <a:gd name="connsiteX52" fmla="*/ 73116 w 2688826"/>
              <a:gd name="connsiteY52" fmla="*/ 2163766 h 2272456"/>
              <a:gd name="connsiteX53" fmla="*/ 72209 w 2688826"/>
              <a:gd name="connsiteY53" fmla="*/ 2162548 h 2272456"/>
              <a:gd name="connsiteX54" fmla="*/ 62692 w 2688826"/>
              <a:gd name="connsiteY54" fmla="*/ 2150827 h 2272456"/>
              <a:gd name="connsiteX55" fmla="*/ 57706 w 2688826"/>
              <a:gd name="connsiteY55" fmla="*/ 2144281 h 2272456"/>
              <a:gd name="connsiteX56" fmla="*/ 55441 w 2688826"/>
              <a:gd name="connsiteY56" fmla="*/ 2140932 h 2272456"/>
              <a:gd name="connsiteX57" fmla="*/ 55290 w 2688826"/>
              <a:gd name="connsiteY57" fmla="*/ 2140627 h 2272456"/>
              <a:gd name="connsiteX58" fmla="*/ 54837 w 2688826"/>
              <a:gd name="connsiteY58" fmla="*/ 2140018 h 2272456"/>
              <a:gd name="connsiteX59" fmla="*/ 54686 w 2688826"/>
              <a:gd name="connsiteY59" fmla="*/ 2140018 h 2272456"/>
              <a:gd name="connsiteX60" fmla="*/ 52873 w 2688826"/>
              <a:gd name="connsiteY60" fmla="*/ 2137126 h 2272456"/>
              <a:gd name="connsiteX61" fmla="*/ 52722 w 2688826"/>
              <a:gd name="connsiteY61" fmla="*/ 2137126 h 2272456"/>
              <a:gd name="connsiteX62" fmla="*/ 50456 w 2688826"/>
              <a:gd name="connsiteY62" fmla="*/ 2133625 h 2272456"/>
              <a:gd name="connsiteX63" fmla="*/ 42298 w 2688826"/>
              <a:gd name="connsiteY63" fmla="*/ 2120533 h 2272456"/>
              <a:gd name="connsiteX64" fmla="*/ 42298 w 2688826"/>
              <a:gd name="connsiteY64" fmla="*/ 2120533 h 2272456"/>
              <a:gd name="connsiteX65" fmla="*/ 39730 w 2688826"/>
              <a:gd name="connsiteY65" fmla="*/ 2115662 h 2272456"/>
              <a:gd name="connsiteX66" fmla="*/ 28098 w 2688826"/>
              <a:gd name="connsiteY66" fmla="*/ 2093132 h 2272456"/>
              <a:gd name="connsiteX67" fmla="*/ 28098 w 2688826"/>
              <a:gd name="connsiteY67" fmla="*/ 2093132 h 2272456"/>
              <a:gd name="connsiteX68" fmla="*/ 24019 w 2688826"/>
              <a:gd name="connsiteY68" fmla="*/ 2083542 h 2272456"/>
              <a:gd name="connsiteX69" fmla="*/ 22660 w 2688826"/>
              <a:gd name="connsiteY69" fmla="*/ 2080345 h 2272456"/>
              <a:gd name="connsiteX70" fmla="*/ 17674 w 2688826"/>
              <a:gd name="connsiteY70" fmla="*/ 2067101 h 2272456"/>
              <a:gd name="connsiteX71" fmla="*/ 11934 w 2688826"/>
              <a:gd name="connsiteY71" fmla="*/ 2049443 h 2272456"/>
              <a:gd name="connsiteX72" fmla="*/ 10725 w 2688826"/>
              <a:gd name="connsiteY72" fmla="*/ 2044571 h 2272456"/>
              <a:gd name="connsiteX73" fmla="*/ 9517 w 2688826"/>
              <a:gd name="connsiteY73" fmla="*/ 2039700 h 2272456"/>
              <a:gd name="connsiteX74" fmla="*/ 7704 w 2688826"/>
              <a:gd name="connsiteY74" fmla="*/ 2031937 h 2272456"/>
              <a:gd name="connsiteX75" fmla="*/ 7402 w 2688826"/>
              <a:gd name="connsiteY75" fmla="*/ 2030566 h 2272456"/>
              <a:gd name="connsiteX76" fmla="*/ 4532 w 2688826"/>
              <a:gd name="connsiteY76" fmla="*/ 2015953 h 2272456"/>
              <a:gd name="connsiteX77" fmla="*/ 4532 w 2688826"/>
              <a:gd name="connsiteY77" fmla="*/ 2015953 h 2272456"/>
              <a:gd name="connsiteX78" fmla="*/ 3625 w 2688826"/>
              <a:gd name="connsiteY78" fmla="*/ 2010777 h 2272456"/>
              <a:gd name="connsiteX79" fmla="*/ 1057 w 2688826"/>
              <a:gd name="connsiteY79" fmla="*/ 1989617 h 2272456"/>
              <a:gd name="connsiteX80" fmla="*/ 0 w 2688826"/>
              <a:gd name="connsiteY80" fmla="*/ 1963586 h 2272456"/>
              <a:gd name="connsiteX81" fmla="*/ 89582 w 2688826"/>
              <a:gd name="connsiteY81" fmla="*/ 1744835 h 2272456"/>
              <a:gd name="connsiteX82" fmla="*/ 1806297 w 2688826"/>
              <a:gd name="connsiteY82" fmla="*/ 15223 h 2272456"/>
              <a:gd name="connsiteX83" fmla="*/ 1806751 w 2688826"/>
              <a:gd name="connsiteY83" fmla="*/ 14766 h 2272456"/>
              <a:gd name="connsiteX84" fmla="*/ 1821404 w 2688826"/>
              <a:gd name="connsiteY84" fmla="*/ 0 h 2272456"/>
              <a:gd name="connsiteX85" fmla="*/ 2688827 w 2688826"/>
              <a:gd name="connsiteY85" fmla="*/ 0 h 227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2688826" h="2272456">
                <a:moveTo>
                  <a:pt x="2688827" y="0"/>
                </a:moveTo>
                <a:lnTo>
                  <a:pt x="2673720" y="15223"/>
                </a:lnTo>
                <a:lnTo>
                  <a:pt x="1821102" y="874244"/>
                </a:lnTo>
                <a:lnTo>
                  <a:pt x="638405" y="2066188"/>
                </a:lnTo>
                <a:lnTo>
                  <a:pt x="637197" y="2067405"/>
                </a:lnTo>
                <a:lnTo>
                  <a:pt x="627529" y="2076996"/>
                </a:lnTo>
                <a:lnTo>
                  <a:pt x="523595" y="2181729"/>
                </a:lnTo>
                <a:cubicBezTo>
                  <a:pt x="519214" y="2186143"/>
                  <a:pt x="514833" y="2190253"/>
                  <a:pt x="510301" y="2194211"/>
                </a:cubicBezTo>
                <a:cubicBezTo>
                  <a:pt x="510301" y="2194211"/>
                  <a:pt x="510195" y="2194257"/>
                  <a:pt x="509999" y="2194364"/>
                </a:cubicBezTo>
                <a:cubicBezTo>
                  <a:pt x="506222" y="2198017"/>
                  <a:pt x="502295" y="2201366"/>
                  <a:pt x="498367" y="2204563"/>
                </a:cubicBezTo>
                <a:cubicBezTo>
                  <a:pt x="484468" y="2215828"/>
                  <a:pt x="469815" y="2225723"/>
                  <a:pt x="454558" y="2234095"/>
                </a:cubicBezTo>
                <a:cubicBezTo>
                  <a:pt x="451687" y="2235770"/>
                  <a:pt x="448666" y="2237292"/>
                  <a:pt x="445795" y="2238814"/>
                </a:cubicBezTo>
                <a:cubicBezTo>
                  <a:pt x="435977" y="2243990"/>
                  <a:pt x="425856" y="2248404"/>
                  <a:pt x="415582" y="2252362"/>
                </a:cubicBezTo>
                <a:cubicBezTo>
                  <a:pt x="412712" y="2253428"/>
                  <a:pt x="409843" y="2254494"/>
                  <a:pt x="406821" y="2255559"/>
                </a:cubicBezTo>
                <a:cubicBezTo>
                  <a:pt x="401684" y="2257386"/>
                  <a:pt x="396549" y="2258908"/>
                  <a:pt x="391412" y="2260430"/>
                </a:cubicBezTo>
                <a:cubicBezTo>
                  <a:pt x="388089" y="2261496"/>
                  <a:pt x="384614" y="2262410"/>
                  <a:pt x="381291" y="2263170"/>
                </a:cubicBezTo>
                <a:cubicBezTo>
                  <a:pt x="371622" y="2265606"/>
                  <a:pt x="361954" y="2267585"/>
                  <a:pt x="352135" y="2269107"/>
                </a:cubicBezTo>
                <a:cubicBezTo>
                  <a:pt x="348359" y="2269564"/>
                  <a:pt x="344582" y="2270173"/>
                  <a:pt x="340654" y="2270478"/>
                </a:cubicBezTo>
                <a:cubicBezTo>
                  <a:pt x="335971" y="2271086"/>
                  <a:pt x="331288" y="2271543"/>
                  <a:pt x="326454" y="2271848"/>
                </a:cubicBezTo>
                <a:cubicBezTo>
                  <a:pt x="320260" y="2272152"/>
                  <a:pt x="313915" y="2272456"/>
                  <a:pt x="307722" y="2272456"/>
                </a:cubicBezTo>
                <a:cubicBezTo>
                  <a:pt x="305909" y="2272456"/>
                  <a:pt x="304247" y="2272304"/>
                  <a:pt x="302585" y="2272304"/>
                </a:cubicBezTo>
                <a:cubicBezTo>
                  <a:pt x="302132" y="2272456"/>
                  <a:pt x="301527" y="2272456"/>
                  <a:pt x="301075" y="2272304"/>
                </a:cubicBezTo>
                <a:lnTo>
                  <a:pt x="296543" y="2272304"/>
                </a:lnTo>
                <a:cubicBezTo>
                  <a:pt x="294579" y="2272152"/>
                  <a:pt x="292615" y="2272152"/>
                  <a:pt x="290651" y="2272000"/>
                </a:cubicBezTo>
                <a:cubicBezTo>
                  <a:pt x="285213" y="2271695"/>
                  <a:pt x="279925" y="2271391"/>
                  <a:pt x="274638" y="2270782"/>
                </a:cubicBezTo>
                <a:cubicBezTo>
                  <a:pt x="272976" y="2270782"/>
                  <a:pt x="271163" y="2270325"/>
                  <a:pt x="269502" y="2270173"/>
                </a:cubicBezTo>
                <a:cubicBezTo>
                  <a:pt x="267840" y="2270021"/>
                  <a:pt x="266179" y="2269716"/>
                  <a:pt x="264366" y="2269412"/>
                </a:cubicBezTo>
                <a:lnTo>
                  <a:pt x="263459" y="2269412"/>
                </a:lnTo>
                <a:cubicBezTo>
                  <a:pt x="261948" y="2269107"/>
                  <a:pt x="260589" y="2268955"/>
                  <a:pt x="259078" y="2268651"/>
                </a:cubicBezTo>
                <a:cubicBezTo>
                  <a:pt x="255755" y="2268194"/>
                  <a:pt x="252431" y="2267585"/>
                  <a:pt x="249259" y="2266976"/>
                </a:cubicBezTo>
                <a:cubicBezTo>
                  <a:pt x="245784" y="2266367"/>
                  <a:pt x="242310" y="2265606"/>
                  <a:pt x="238836" y="2264693"/>
                </a:cubicBezTo>
                <a:cubicBezTo>
                  <a:pt x="235814" y="2264084"/>
                  <a:pt x="232944" y="2263475"/>
                  <a:pt x="230073" y="2262714"/>
                </a:cubicBezTo>
                <a:cubicBezTo>
                  <a:pt x="229620" y="2262562"/>
                  <a:pt x="229318" y="2262410"/>
                  <a:pt x="228865" y="2262257"/>
                </a:cubicBezTo>
                <a:cubicBezTo>
                  <a:pt x="226146" y="2261648"/>
                  <a:pt x="223578" y="2260887"/>
                  <a:pt x="220859" y="2260126"/>
                </a:cubicBezTo>
                <a:cubicBezTo>
                  <a:pt x="212097" y="2257538"/>
                  <a:pt x="203334" y="2254494"/>
                  <a:pt x="194724" y="2251145"/>
                </a:cubicBezTo>
                <a:cubicBezTo>
                  <a:pt x="191853" y="2250079"/>
                  <a:pt x="188983" y="2248861"/>
                  <a:pt x="186113" y="2247491"/>
                </a:cubicBezTo>
                <a:cubicBezTo>
                  <a:pt x="181430" y="2245512"/>
                  <a:pt x="176747" y="2243381"/>
                  <a:pt x="172215" y="2241098"/>
                </a:cubicBezTo>
                <a:cubicBezTo>
                  <a:pt x="164058" y="2237292"/>
                  <a:pt x="156202" y="2232877"/>
                  <a:pt x="148497" y="2228158"/>
                </a:cubicBezTo>
                <a:cubicBezTo>
                  <a:pt x="146232" y="2226788"/>
                  <a:pt x="143966" y="2225418"/>
                  <a:pt x="141850" y="2224048"/>
                </a:cubicBezTo>
                <a:cubicBezTo>
                  <a:pt x="139434" y="2222526"/>
                  <a:pt x="137016" y="2221004"/>
                  <a:pt x="134751" y="2219329"/>
                </a:cubicBezTo>
                <a:cubicBezTo>
                  <a:pt x="133542" y="2218568"/>
                  <a:pt x="132333" y="2217655"/>
                  <a:pt x="131277" y="2216893"/>
                </a:cubicBezTo>
                <a:cubicBezTo>
                  <a:pt x="130068" y="2216132"/>
                  <a:pt x="129010" y="2215371"/>
                  <a:pt x="127953" y="2214458"/>
                </a:cubicBezTo>
                <a:cubicBezTo>
                  <a:pt x="126744" y="2213696"/>
                  <a:pt x="125536" y="2212783"/>
                  <a:pt x="124478" y="2211870"/>
                </a:cubicBezTo>
                <a:cubicBezTo>
                  <a:pt x="121154" y="2209586"/>
                  <a:pt x="117831" y="2206999"/>
                  <a:pt x="114659" y="2204411"/>
                </a:cubicBezTo>
                <a:cubicBezTo>
                  <a:pt x="112695" y="2202888"/>
                  <a:pt x="110882" y="2201214"/>
                  <a:pt x="108918" y="2199539"/>
                </a:cubicBezTo>
                <a:cubicBezTo>
                  <a:pt x="107710" y="2198626"/>
                  <a:pt x="106501" y="2197560"/>
                  <a:pt x="105444" y="2196495"/>
                </a:cubicBezTo>
                <a:cubicBezTo>
                  <a:pt x="104235" y="2195582"/>
                  <a:pt x="103026" y="2194516"/>
                  <a:pt x="101970" y="2193450"/>
                </a:cubicBezTo>
                <a:cubicBezTo>
                  <a:pt x="100912" y="2192537"/>
                  <a:pt x="99855" y="2191623"/>
                  <a:pt x="98948" y="2190558"/>
                </a:cubicBezTo>
                <a:cubicBezTo>
                  <a:pt x="97891" y="2189797"/>
                  <a:pt x="96984" y="2188883"/>
                  <a:pt x="96078" y="2187970"/>
                </a:cubicBezTo>
                <a:cubicBezTo>
                  <a:pt x="95020" y="2187057"/>
                  <a:pt x="93963" y="2186143"/>
                  <a:pt x="93056" y="2185078"/>
                </a:cubicBezTo>
                <a:cubicBezTo>
                  <a:pt x="91848" y="2184012"/>
                  <a:pt x="90790" y="2182947"/>
                  <a:pt x="89582" y="2181729"/>
                </a:cubicBezTo>
                <a:cubicBezTo>
                  <a:pt x="87769" y="2179902"/>
                  <a:pt x="85957" y="2178075"/>
                  <a:pt x="84294" y="2176096"/>
                </a:cubicBezTo>
                <a:cubicBezTo>
                  <a:pt x="80366" y="2172138"/>
                  <a:pt x="76590" y="2168028"/>
                  <a:pt x="73116" y="2163766"/>
                </a:cubicBezTo>
                <a:cubicBezTo>
                  <a:pt x="72813" y="2163461"/>
                  <a:pt x="72360" y="2163005"/>
                  <a:pt x="72209" y="2162548"/>
                </a:cubicBezTo>
                <a:cubicBezTo>
                  <a:pt x="68886" y="2158742"/>
                  <a:pt x="65713" y="2154784"/>
                  <a:pt x="62692" y="2150827"/>
                </a:cubicBezTo>
                <a:cubicBezTo>
                  <a:pt x="61030" y="2148695"/>
                  <a:pt x="59369" y="2146412"/>
                  <a:pt x="57706" y="2144281"/>
                </a:cubicBezTo>
                <a:cubicBezTo>
                  <a:pt x="56951" y="2143215"/>
                  <a:pt x="56196" y="2141997"/>
                  <a:pt x="55441" y="2140932"/>
                </a:cubicBezTo>
                <a:cubicBezTo>
                  <a:pt x="55441" y="2140932"/>
                  <a:pt x="55290" y="2140779"/>
                  <a:pt x="55290" y="2140627"/>
                </a:cubicBezTo>
                <a:cubicBezTo>
                  <a:pt x="55139" y="2140475"/>
                  <a:pt x="54987" y="2140323"/>
                  <a:pt x="54837" y="2140018"/>
                </a:cubicBezTo>
                <a:lnTo>
                  <a:pt x="54686" y="2140018"/>
                </a:lnTo>
                <a:cubicBezTo>
                  <a:pt x="54081" y="2138953"/>
                  <a:pt x="53477" y="2138039"/>
                  <a:pt x="52873" y="2137126"/>
                </a:cubicBezTo>
                <a:lnTo>
                  <a:pt x="52722" y="2137126"/>
                </a:lnTo>
                <a:cubicBezTo>
                  <a:pt x="51967" y="2135908"/>
                  <a:pt x="51211" y="2134843"/>
                  <a:pt x="50456" y="2133625"/>
                </a:cubicBezTo>
                <a:cubicBezTo>
                  <a:pt x="47737" y="2129362"/>
                  <a:pt x="45017" y="2124948"/>
                  <a:pt x="42298" y="2120533"/>
                </a:cubicBezTo>
                <a:lnTo>
                  <a:pt x="42298" y="2120533"/>
                </a:lnTo>
                <a:cubicBezTo>
                  <a:pt x="41392" y="2118859"/>
                  <a:pt x="40486" y="2117336"/>
                  <a:pt x="39730" y="2115662"/>
                </a:cubicBezTo>
                <a:cubicBezTo>
                  <a:pt x="35500" y="2108355"/>
                  <a:pt x="31572" y="2100743"/>
                  <a:pt x="28098" y="2093132"/>
                </a:cubicBezTo>
                <a:lnTo>
                  <a:pt x="28098" y="2093132"/>
                </a:lnTo>
                <a:cubicBezTo>
                  <a:pt x="26587" y="2089783"/>
                  <a:pt x="25228" y="2086738"/>
                  <a:pt x="24019" y="2083542"/>
                </a:cubicBezTo>
                <a:cubicBezTo>
                  <a:pt x="23415" y="2082476"/>
                  <a:pt x="22961" y="2081411"/>
                  <a:pt x="22660" y="2080345"/>
                </a:cubicBezTo>
                <a:cubicBezTo>
                  <a:pt x="20847" y="2075930"/>
                  <a:pt x="19185" y="2071516"/>
                  <a:pt x="17674" y="2067101"/>
                </a:cubicBezTo>
                <a:cubicBezTo>
                  <a:pt x="15559" y="2061316"/>
                  <a:pt x="13747" y="2055380"/>
                  <a:pt x="11934" y="2049443"/>
                </a:cubicBezTo>
                <a:cubicBezTo>
                  <a:pt x="11480" y="2047920"/>
                  <a:pt x="11028" y="2046246"/>
                  <a:pt x="10725" y="2044571"/>
                </a:cubicBezTo>
                <a:cubicBezTo>
                  <a:pt x="10272" y="2042897"/>
                  <a:pt x="9819" y="2041375"/>
                  <a:pt x="9517" y="2039700"/>
                </a:cubicBezTo>
                <a:cubicBezTo>
                  <a:pt x="8761" y="2037112"/>
                  <a:pt x="8157" y="2034524"/>
                  <a:pt x="7704" y="2031937"/>
                </a:cubicBezTo>
                <a:cubicBezTo>
                  <a:pt x="7402" y="2031480"/>
                  <a:pt x="7402" y="2031023"/>
                  <a:pt x="7402" y="2030566"/>
                </a:cubicBezTo>
                <a:cubicBezTo>
                  <a:pt x="6193" y="2025695"/>
                  <a:pt x="5287" y="2020824"/>
                  <a:pt x="4532" y="2015953"/>
                </a:cubicBezTo>
                <a:lnTo>
                  <a:pt x="4532" y="2015953"/>
                </a:lnTo>
                <a:cubicBezTo>
                  <a:pt x="4078" y="2014126"/>
                  <a:pt x="3777" y="2012604"/>
                  <a:pt x="3625" y="2010777"/>
                </a:cubicBezTo>
                <a:cubicBezTo>
                  <a:pt x="2568" y="2003774"/>
                  <a:pt x="1662" y="1996772"/>
                  <a:pt x="1057" y="1989617"/>
                </a:cubicBezTo>
                <a:cubicBezTo>
                  <a:pt x="302" y="1980940"/>
                  <a:pt x="0" y="1972263"/>
                  <a:pt x="0" y="1963586"/>
                </a:cubicBezTo>
                <a:cubicBezTo>
                  <a:pt x="0" y="1884428"/>
                  <a:pt x="29911" y="1805269"/>
                  <a:pt x="89582" y="1744835"/>
                </a:cubicBezTo>
                <a:lnTo>
                  <a:pt x="1806297" y="15223"/>
                </a:lnTo>
                <a:lnTo>
                  <a:pt x="1806751" y="14766"/>
                </a:lnTo>
                <a:lnTo>
                  <a:pt x="1821404" y="0"/>
                </a:lnTo>
                <a:lnTo>
                  <a:pt x="2688827" y="0"/>
                </a:lnTo>
                <a:close/>
              </a:path>
            </a:pathLst>
          </a:custGeom>
          <a:solidFill>
            <a:schemeClr val="bg2">
              <a:lumMod val="60000"/>
              <a:lumOff val="40000"/>
            </a:schemeClr>
          </a:solidFill>
          <a:ln w="14405" cap="flat">
            <a:noFill/>
            <a:prstDash val="solid"/>
            <a:miter/>
          </a:ln>
        </p:spPr>
        <p:txBody>
          <a:bodyPr rtlCol="0" anchor="ctr"/>
          <a:lstStyle/>
          <a:p>
            <a:endParaRPr lang="en-IN"/>
          </a:p>
        </p:txBody>
      </p:sp>
      <p:sp>
        <p:nvSpPr>
          <p:cNvPr id="47" name="Freeform: Shape 46">
            <a:extLst>
              <a:ext uri="{FF2B5EF4-FFF2-40B4-BE49-F238E27FC236}">
                <a16:creationId xmlns:a16="http://schemas.microsoft.com/office/drawing/2014/main" id="{AEF18F38-3263-CAF1-826C-10660024AFA0}"/>
              </a:ext>
            </a:extLst>
          </p:cNvPr>
          <p:cNvSpPr/>
          <p:nvPr userDrawn="1"/>
        </p:nvSpPr>
        <p:spPr>
          <a:xfrm>
            <a:off x="6493982" y="0"/>
            <a:ext cx="3421799" cy="3010853"/>
          </a:xfrm>
          <a:custGeom>
            <a:avLst/>
            <a:gdLst>
              <a:gd name="connsiteX0" fmla="*/ 3421800 w 3421799"/>
              <a:gd name="connsiteY0" fmla="*/ 0 h 3010853"/>
              <a:gd name="connsiteX1" fmla="*/ 3218616 w 3421799"/>
              <a:gd name="connsiteY1" fmla="*/ 204746 h 3010853"/>
              <a:gd name="connsiteX2" fmla="*/ 1644204 w 3421799"/>
              <a:gd name="connsiteY2" fmla="*/ 1791112 h 3010853"/>
              <a:gd name="connsiteX3" fmla="*/ 1532868 w 3421799"/>
              <a:gd name="connsiteY3" fmla="*/ 1903304 h 3010853"/>
              <a:gd name="connsiteX4" fmla="*/ 1527279 w 3421799"/>
              <a:gd name="connsiteY4" fmla="*/ 1908784 h 3010853"/>
              <a:gd name="connsiteX5" fmla="*/ 1525466 w 3421799"/>
              <a:gd name="connsiteY5" fmla="*/ 1910763 h 3010853"/>
              <a:gd name="connsiteX6" fmla="*/ 1478182 w 3421799"/>
              <a:gd name="connsiteY6" fmla="*/ 1958411 h 3010853"/>
              <a:gd name="connsiteX7" fmla="*/ 1458544 w 3421799"/>
              <a:gd name="connsiteY7" fmla="*/ 1978048 h 3010853"/>
              <a:gd name="connsiteX8" fmla="*/ 1441020 w 3421799"/>
              <a:gd name="connsiteY8" fmla="*/ 1995858 h 3010853"/>
              <a:gd name="connsiteX9" fmla="*/ 1437394 w 3421799"/>
              <a:gd name="connsiteY9" fmla="*/ 1999512 h 3010853"/>
              <a:gd name="connsiteX10" fmla="*/ 1434222 w 3421799"/>
              <a:gd name="connsiteY10" fmla="*/ 2002709 h 3010853"/>
              <a:gd name="connsiteX11" fmla="*/ 1432560 w 3421799"/>
              <a:gd name="connsiteY11" fmla="*/ 2004383 h 3010853"/>
              <a:gd name="connsiteX12" fmla="*/ 1430294 w 3421799"/>
              <a:gd name="connsiteY12" fmla="*/ 2006667 h 3010853"/>
              <a:gd name="connsiteX13" fmla="*/ 1418813 w 3421799"/>
              <a:gd name="connsiteY13" fmla="*/ 2018084 h 3010853"/>
              <a:gd name="connsiteX14" fmla="*/ 1415943 w 3421799"/>
              <a:gd name="connsiteY14" fmla="*/ 2020976 h 3010853"/>
              <a:gd name="connsiteX15" fmla="*/ 1405217 w 3421799"/>
              <a:gd name="connsiteY15" fmla="*/ 2031937 h 3010853"/>
              <a:gd name="connsiteX16" fmla="*/ 1402649 w 3421799"/>
              <a:gd name="connsiteY16" fmla="*/ 2034524 h 3010853"/>
              <a:gd name="connsiteX17" fmla="*/ 1380140 w 3421799"/>
              <a:gd name="connsiteY17" fmla="*/ 2057206 h 3010853"/>
              <a:gd name="connsiteX18" fmla="*/ 1346754 w 3421799"/>
              <a:gd name="connsiteY18" fmla="*/ 2090849 h 3010853"/>
              <a:gd name="connsiteX19" fmla="*/ 1183905 w 3421799"/>
              <a:gd name="connsiteY19" fmla="*/ 2254798 h 3010853"/>
              <a:gd name="connsiteX20" fmla="*/ 523444 w 3421799"/>
              <a:gd name="connsiteY20" fmla="*/ 2920338 h 3010853"/>
              <a:gd name="connsiteX21" fmla="*/ 508791 w 3421799"/>
              <a:gd name="connsiteY21" fmla="*/ 2934038 h 3010853"/>
              <a:gd name="connsiteX22" fmla="*/ 454406 w 3421799"/>
              <a:gd name="connsiteY22" fmla="*/ 2972552 h 3010853"/>
              <a:gd name="connsiteX23" fmla="*/ 391261 w 3421799"/>
              <a:gd name="connsiteY23" fmla="*/ 2998887 h 3010853"/>
              <a:gd name="connsiteX24" fmla="*/ 300168 w 3421799"/>
              <a:gd name="connsiteY24" fmla="*/ 3010761 h 3010853"/>
              <a:gd name="connsiteX25" fmla="*/ 263308 w 3421799"/>
              <a:gd name="connsiteY25" fmla="*/ 3007869 h 3010853"/>
              <a:gd name="connsiteX26" fmla="*/ 229318 w 3421799"/>
              <a:gd name="connsiteY26" fmla="*/ 3000866 h 3010853"/>
              <a:gd name="connsiteX27" fmla="*/ 221010 w 3421799"/>
              <a:gd name="connsiteY27" fmla="*/ 2998583 h 3010853"/>
              <a:gd name="connsiteX28" fmla="*/ 186264 w 3421799"/>
              <a:gd name="connsiteY28" fmla="*/ 2986100 h 3010853"/>
              <a:gd name="connsiteX29" fmla="*/ 148649 w 3421799"/>
              <a:gd name="connsiteY29" fmla="*/ 2966615 h 3010853"/>
              <a:gd name="connsiteX30" fmla="*/ 108617 w 3421799"/>
              <a:gd name="connsiteY30" fmla="*/ 2937540 h 3010853"/>
              <a:gd name="connsiteX31" fmla="*/ 89885 w 3421799"/>
              <a:gd name="connsiteY31" fmla="*/ 2920186 h 3010853"/>
              <a:gd name="connsiteX32" fmla="*/ 54837 w 3421799"/>
              <a:gd name="connsiteY32" fmla="*/ 2877714 h 3010853"/>
              <a:gd name="connsiteX33" fmla="*/ 52420 w 3421799"/>
              <a:gd name="connsiteY33" fmla="*/ 2874213 h 3010853"/>
              <a:gd name="connsiteX34" fmla="*/ 42450 w 3421799"/>
              <a:gd name="connsiteY34" fmla="*/ 2858381 h 3010853"/>
              <a:gd name="connsiteX35" fmla="*/ 27947 w 3421799"/>
              <a:gd name="connsiteY35" fmla="*/ 2830371 h 3010853"/>
              <a:gd name="connsiteX36" fmla="*/ 22811 w 3421799"/>
              <a:gd name="connsiteY36" fmla="*/ 2818650 h 3010853"/>
              <a:gd name="connsiteX37" fmla="*/ 4683 w 3421799"/>
              <a:gd name="connsiteY37" fmla="*/ 2755475 h 3010853"/>
              <a:gd name="connsiteX38" fmla="*/ 0 w 3421799"/>
              <a:gd name="connsiteY38" fmla="*/ 2701739 h 3010853"/>
              <a:gd name="connsiteX39" fmla="*/ 89885 w 3421799"/>
              <a:gd name="connsiteY39" fmla="*/ 2483444 h 3010853"/>
              <a:gd name="connsiteX40" fmla="*/ 2539119 w 3421799"/>
              <a:gd name="connsiteY40" fmla="*/ 15223 h 3010853"/>
              <a:gd name="connsiteX41" fmla="*/ 2539573 w 3421799"/>
              <a:gd name="connsiteY41" fmla="*/ 14766 h 3010853"/>
              <a:gd name="connsiteX42" fmla="*/ 2554226 w 3421799"/>
              <a:gd name="connsiteY42" fmla="*/ 0 h 3010853"/>
              <a:gd name="connsiteX43" fmla="*/ 3421800 w 3421799"/>
              <a:gd name="connsiteY43" fmla="*/ 0 h 301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21799" h="3010853">
                <a:moveTo>
                  <a:pt x="3421800" y="0"/>
                </a:moveTo>
                <a:lnTo>
                  <a:pt x="3218616" y="204746"/>
                </a:lnTo>
                <a:lnTo>
                  <a:pt x="1644204" y="1791112"/>
                </a:lnTo>
                <a:lnTo>
                  <a:pt x="1532868" y="1903304"/>
                </a:lnTo>
                <a:lnTo>
                  <a:pt x="1527279" y="1908784"/>
                </a:lnTo>
                <a:lnTo>
                  <a:pt x="1525466" y="1910763"/>
                </a:lnTo>
                <a:lnTo>
                  <a:pt x="1478182" y="1958411"/>
                </a:lnTo>
                <a:lnTo>
                  <a:pt x="1458544" y="1978048"/>
                </a:lnTo>
                <a:lnTo>
                  <a:pt x="1441020" y="1995858"/>
                </a:lnTo>
                <a:lnTo>
                  <a:pt x="1437394" y="1999512"/>
                </a:lnTo>
                <a:lnTo>
                  <a:pt x="1434222" y="2002709"/>
                </a:lnTo>
                <a:lnTo>
                  <a:pt x="1432560" y="2004383"/>
                </a:lnTo>
                <a:lnTo>
                  <a:pt x="1430294" y="2006667"/>
                </a:lnTo>
                <a:lnTo>
                  <a:pt x="1418813" y="2018084"/>
                </a:lnTo>
                <a:lnTo>
                  <a:pt x="1415943" y="2020976"/>
                </a:lnTo>
                <a:lnTo>
                  <a:pt x="1405217" y="2031937"/>
                </a:lnTo>
                <a:lnTo>
                  <a:pt x="1402649" y="2034524"/>
                </a:lnTo>
                <a:lnTo>
                  <a:pt x="1380140" y="2057206"/>
                </a:lnTo>
                <a:lnTo>
                  <a:pt x="1346754" y="2090849"/>
                </a:lnTo>
                <a:lnTo>
                  <a:pt x="1183905" y="2254798"/>
                </a:lnTo>
                <a:lnTo>
                  <a:pt x="523444" y="2920338"/>
                </a:lnTo>
                <a:cubicBezTo>
                  <a:pt x="518761" y="2925057"/>
                  <a:pt x="513776" y="2929776"/>
                  <a:pt x="508791" y="2934038"/>
                </a:cubicBezTo>
                <a:cubicBezTo>
                  <a:pt x="491871" y="2949109"/>
                  <a:pt x="473592" y="2962048"/>
                  <a:pt x="454406" y="2972552"/>
                </a:cubicBezTo>
                <a:cubicBezTo>
                  <a:pt x="434164" y="2983969"/>
                  <a:pt x="413014" y="2992646"/>
                  <a:pt x="391261" y="2998887"/>
                </a:cubicBezTo>
                <a:cubicBezTo>
                  <a:pt x="361501" y="3007564"/>
                  <a:pt x="330684" y="3011522"/>
                  <a:pt x="300168" y="3010761"/>
                </a:cubicBezTo>
                <a:cubicBezTo>
                  <a:pt x="287781" y="3010609"/>
                  <a:pt x="275545" y="3009543"/>
                  <a:pt x="263308" y="3007869"/>
                </a:cubicBezTo>
                <a:cubicBezTo>
                  <a:pt x="251827" y="3006194"/>
                  <a:pt x="240497" y="3003911"/>
                  <a:pt x="229318" y="3000866"/>
                </a:cubicBezTo>
                <a:cubicBezTo>
                  <a:pt x="226448" y="3000257"/>
                  <a:pt x="223729" y="2999496"/>
                  <a:pt x="221010" y="2998583"/>
                </a:cubicBezTo>
                <a:cubicBezTo>
                  <a:pt x="209226" y="2995234"/>
                  <a:pt x="197594" y="2990972"/>
                  <a:pt x="186264" y="2986100"/>
                </a:cubicBezTo>
                <a:cubicBezTo>
                  <a:pt x="173424" y="2980620"/>
                  <a:pt x="160735" y="2974074"/>
                  <a:pt x="148649" y="2966615"/>
                </a:cubicBezTo>
                <a:cubicBezTo>
                  <a:pt x="134600" y="2958090"/>
                  <a:pt x="121306" y="2948500"/>
                  <a:pt x="108617" y="2937540"/>
                </a:cubicBezTo>
                <a:cubicBezTo>
                  <a:pt x="102121" y="2932059"/>
                  <a:pt x="95927" y="2926275"/>
                  <a:pt x="89885" y="2920186"/>
                </a:cubicBezTo>
                <a:cubicBezTo>
                  <a:pt x="76741" y="2906942"/>
                  <a:pt x="64958" y="2892632"/>
                  <a:pt x="54837" y="2877714"/>
                </a:cubicBezTo>
                <a:cubicBezTo>
                  <a:pt x="53931" y="2876648"/>
                  <a:pt x="53175" y="2875431"/>
                  <a:pt x="52420" y="2874213"/>
                </a:cubicBezTo>
                <a:cubicBezTo>
                  <a:pt x="48794" y="2869037"/>
                  <a:pt x="45471" y="2863709"/>
                  <a:pt x="42450" y="2858381"/>
                </a:cubicBezTo>
                <a:cubicBezTo>
                  <a:pt x="37011" y="2849247"/>
                  <a:pt x="32177" y="2839962"/>
                  <a:pt x="27947" y="2830371"/>
                </a:cubicBezTo>
                <a:cubicBezTo>
                  <a:pt x="26134" y="2826566"/>
                  <a:pt x="24321" y="2822608"/>
                  <a:pt x="22811" y="2818650"/>
                </a:cubicBezTo>
                <a:cubicBezTo>
                  <a:pt x="14502" y="2798099"/>
                  <a:pt x="8460" y="2776939"/>
                  <a:pt x="4683" y="2755475"/>
                </a:cubicBezTo>
                <a:cubicBezTo>
                  <a:pt x="1510" y="2737664"/>
                  <a:pt x="0" y="2719702"/>
                  <a:pt x="0" y="2701739"/>
                </a:cubicBezTo>
                <a:cubicBezTo>
                  <a:pt x="0" y="2622885"/>
                  <a:pt x="30062" y="2543726"/>
                  <a:pt x="89885" y="2483444"/>
                </a:cubicBezTo>
                <a:lnTo>
                  <a:pt x="2539119" y="15223"/>
                </a:lnTo>
                <a:lnTo>
                  <a:pt x="2539573" y="14766"/>
                </a:lnTo>
                <a:lnTo>
                  <a:pt x="2554226" y="0"/>
                </a:lnTo>
                <a:lnTo>
                  <a:pt x="3421800" y="0"/>
                </a:lnTo>
                <a:close/>
              </a:path>
            </a:pathLst>
          </a:custGeom>
          <a:solidFill>
            <a:schemeClr val="bg2">
              <a:lumMod val="20000"/>
              <a:lumOff val="80000"/>
            </a:schemeClr>
          </a:solidFill>
          <a:ln w="14405" cap="flat">
            <a:noFill/>
            <a:prstDash val="solid"/>
            <a:miter/>
          </a:ln>
        </p:spPr>
        <p:txBody>
          <a:bodyPr rtlCol="0" anchor="ctr"/>
          <a:lstStyle/>
          <a:p>
            <a:endParaRPr lang="en-IN"/>
          </a:p>
        </p:txBody>
      </p:sp>
      <p:sp>
        <p:nvSpPr>
          <p:cNvPr id="48" name="Freeform: Shape 47">
            <a:extLst>
              <a:ext uri="{FF2B5EF4-FFF2-40B4-BE49-F238E27FC236}">
                <a16:creationId xmlns:a16="http://schemas.microsoft.com/office/drawing/2014/main" id="{EBADE599-5FC2-7971-14E3-084AA5ED4744}"/>
              </a:ext>
            </a:extLst>
          </p:cNvPr>
          <p:cNvSpPr/>
          <p:nvPr userDrawn="1"/>
        </p:nvSpPr>
        <p:spPr>
          <a:xfrm>
            <a:off x="5063945" y="1420453"/>
            <a:ext cx="7128055" cy="5437547"/>
          </a:xfrm>
          <a:custGeom>
            <a:avLst/>
            <a:gdLst>
              <a:gd name="connsiteX0" fmla="*/ 5285805 w 5285804"/>
              <a:gd name="connsiteY0" fmla="*/ 0 h 4032209"/>
              <a:gd name="connsiteX1" fmla="*/ 5285805 w 5285804"/>
              <a:gd name="connsiteY1" fmla="*/ 4032209 h 4032209"/>
              <a:gd name="connsiteX2" fmla="*/ 0 w 5285804"/>
              <a:gd name="connsiteY2" fmla="*/ 4032209 h 4032209"/>
              <a:gd name="connsiteX3" fmla="*/ 0 w 5285804"/>
              <a:gd name="connsiteY3" fmla="*/ 3667624 h 4032209"/>
              <a:gd name="connsiteX4" fmla="*/ 1241008 w 5285804"/>
              <a:gd name="connsiteY4" fmla="*/ 2150979 h 4032209"/>
              <a:gd name="connsiteX5" fmla="*/ 1533020 w 5285804"/>
              <a:gd name="connsiteY5" fmla="*/ 2122817 h 4032209"/>
              <a:gd name="connsiteX6" fmla="*/ 2777955 w 5285804"/>
              <a:gd name="connsiteY6" fmla="*/ 2122817 h 4032209"/>
              <a:gd name="connsiteX7" fmla="*/ 3592354 w 5285804"/>
              <a:gd name="connsiteY7" fmla="*/ 1773606 h 4032209"/>
              <a:gd name="connsiteX8" fmla="*/ 4093289 w 5285804"/>
              <a:gd name="connsiteY8" fmla="*/ 1249029 h 4032209"/>
              <a:gd name="connsiteX9" fmla="*/ 4216408 w 5285804"/>
              <a:gd name="connsiteY9" fmla="*/ 1120092 h 4032209"/>
              <a:gd name="connsiteX10" fmla="*/ 5285503 w 5285804"/>
              <a:gd name="connsiteY10" fmla="*/ 305 h 4032209"/>
              <a:gd name="connsiteX11" fmla="*/ 5285805 w 5285804"/>
              <a:gd name="connsiteY11" fmla="*/ 0 h 403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5804" h="4032209">
                <a:moveTo>
                  <a:pt x="5285805" y="0"/>
                </a:moveTo>
                <a:lnTo>
                  <a:pt x="5285805" y="4032209"/>
                </a:lnTo>
                <a:lnTo>
                  <a:pt x="0" y="4032209"/>
                </a:lnTo>
                <a:lnTo>
                  <a:pt x="0" y="3667624"/>
                </a:lnTo>
                <a:cubicBezTo>
                  <a:pt x="0" y="2915010"/>
                  <a:pt x="534019" y="2288288"/>
                  <a:pt x="1241008" y="2150979"/>
                </a:cubicBezTo>
                <a:cubicBezTo>
                  <a:pt x="1335576" y="2132407"/>
                  <a:pt x="1433165" y="2122817"/>
                  <a:pt x="1533020" y="2122817"/>
                </a:cubicBezTo>
                <a:lnTo>
                  <a:pt x="2777955" y="2122817"/>
                </a:lnTo>
                <a:cubicBezTo>
                  <a:pt x="3085224" y="2122817"/>
                  <a:pt x="3379199" y="1996772"/>
                  <a:pt x="3592354" y="1773606"/>
                </a:cubicBezTo>
                <a:lnTo>
                  <a:pt x="4093289" y="1249029"/>
                </a:lnTo>
                <a:lnTo>
                  <a:pt x="4216408" y="1120092"/>
                </a:lnTo>
                <a:lnTo>
                  <a:pt x="5285503" y="305"/>
                </a:lnTo>
                <a:lnTo>
                  <a:pt x="5285805" y="0"/>
                </a:lnTo>
                <a:close/>
              </a:path>
            </a:pathLst>
          </a:custGeom>
          <a:gradFill>
            <a:gsLst>
              <a:gs pos="0">
                <a:schemeClr val="bg2">
                  <a:lumMod val="50000"/>
                </a:schemeClr>
              </a:gs>
              <a:gs pos="26000">
                <a:schemeClr val="bg2">
                  <a:lumMod val="75000"/>
                </a:schemeClr>
              </a:gs>
              <a:gs pos="100000">
                <a:schemeClr val="bg2">
                  <a:lumMod val="50000"/>
                </a:schemeClr>
              </a:gs>
            </a:gsLst>
            <a:lin ang="17728526" scaled="1"/>
          </a:gradFill>
          <a:ln w="14405" cap="flat">
            <a:noFill/>
            <a:prstDash val="solid"/>
            <a:miter/>
          </a:ln>
        </p:spPr>
        <p:txBody>
          <a:bodyPr rtlCol="0" anchor="ctr"/>
          <a:lstStyle/>
          <a:p>
            <a:endParaRPr lang="en-IN"/>
          </a:p>
        </p:txBody>
      </p:sp>
      <p:sp>
        <p:nvSpPr>
          <p:cNvPr id="49" name="Freeform: Shape 48">
            <a:extLst>
              <a:ext uri="{FF2B5EF4-FFF2-40B4-BE49-F238E27FC236}">
                <a16:creationId xmlns:a16="http://schemas.microsoft.com/office/drawing/2014/main" id="{770D6DBC-FAA5-C691-76B9-13E401B99999}"/>
              </a:ext>
            </a:extLst>
          </p:cNvPr>
          <p:cNvSpPr/>
          <p:nvPr userDrawn="1"/>
        </p:nvSpPr>
        <p:spPr>
          <a:xfrm rot="20264999">
            <a:off x="5667673" y="3801859"/>
            <a:ext cx="1182546" cy="1191639"/>
          </a:xfrm>
          <a:custGeom>
            <a:avLst/>
            <a:gdLst>
              <a:gd name="connsiteX0" fmla="*/ 1182547 w 1182546"/>
              <a:gd name="connsiteY0" fmla="*/ 595820 h 1191639"/>
              <a:gd name="connsiteX1" fmla="*/ 591273 w 1182546"/>
              <a:gd name="connsiteY1" fmla="*/ 1191640 h 1191639"/>
              <a:gd name="connsiteX2" fmla="*/ 0 w 1182546"/>
              <a:gd name="connsiteY2" fmla="*/ 595820 h 1191639"/>
              <a:gd name="connsiteX3" fmla="*/ 591273 w 1182546"/>
              <a:gd name="connsiteY3" fmla="*/ 0 h 1191639"/>
              <a:gd name="connsiteX4" fmla="*/ 1182547 w 1182546"/>
              <a:gd name="connsiteY4" fmla="*/ 595820 h 119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546" h="1191639">
                <a:moveTo>
                  <a:pt x="1182547" y="595820"/>
                </a:moveTo>
                <a:cubicBezTo>
                  <a:pt x="1182547" y="924882"/>
                  <a:pt x="917825" y="1191640"/>
                  <a:pt x="591273" y="1191640"/>
                </a:cubicBezTo>
                <a:cubicBezTo>
                  <a:pt x="264721" y="1191640"/>
                  <a:pt x="0" y="924882"/>
                  <a:pt x="0" y="595820"/>
                </a:cubicBezTo>
                <a:cubicBezTo>
                  <a:pt x="0" y="266758"/>
                  <a:pt x="264721" y="0"/>
                  <a:pt x="591273" y="0"/>
                </a:cubicBezTo>
                <a:cubicBezTo>
                  <a:pt x="917825" y="0"/>
                  <a:pt x="1182547" y="266758"/>
                  <a:pt x="1182547" y="595820"/>
                </a:cubicBezTo>
                <a:close/>
              </a:path>
            </a:pathLst>
          </a:custGeom>
          <a:gradFill>
            <a:gsLst>
              <a:gs pos="0">
                <a:schemeClr val="bg2"/>
              </a:gs>
              <a:gs pos="44000">
                <a:schemeClr val="bg2">
                  <a:lumMod val="75000"/>
                </a:schemeClr>
              </a:gs>
              <a:gs pos="100000">
                <a:schemeClr val="bg2">
                  <a:lumMod val="50000"/>
                </a:schemeClr>
              </a:gs>
            </a:gsLst>
            <a:lin ang="9497293" scaled="1"/>
          </a:gradFill>
          <a:ln w="14405" cap="flat">
            <a:noFill/>
            <a:prstDash val="solid"/>
            <a:miter/>
          </a:ln>
        </p:spPr>
        <p:txBody>
          <a:bodyPr rtlCol="0" anchor="ctr"/>
          <a:lstStyle/>
          <a:p>
            <a:endParaRPr lang="en-IN"/>
          </a:p>
        </p:txBody>
      </p:sp>
      <p:sp>
        <p:nvSpPr>
          <p:cNvPr id="50" name="Freeform: Shape 49">
            <a:extLst>
              <a:ext uri="{FF2B5EF4-FFF2-40B4-BE49-F238E27FC236}">
                <a16:creationId xmlns:a16="http://schemas.microsoft.com/office/drawing/2014/main" id="{B36FB050-6728-9B2D-7EC8-2634A699D1BF}"/>
              </a:ext>
            </a:extLst>
          </p:cNvPr>
          <p:cNvSpPr/>
          <p:nvPr userDrawn="1"/>
        </p:nvSpPr>
        <p:spPr>
          <a:xfrm rot="5400000" flipV="1">
            <a:off x="5765903" y="4611326"/>
            <a:ext cx="2068713" cy="2424635"/>
          </a:xfrm>
          <a:custGeom>
            <a:avLst/>
            <a:gdLst>
              <a:gd name="connsiteX0" fmla="*/ 2656952 w 2656951"/>
              <a:gd name="connsiteY0" fmla="*/ 0 h 3114079"/>
              <a:gd name="connsiteX1" fmla="*/ 2656952 w 2656951"/>
              <a:gd name="connsiteY1" fmla="*/ 874092 h 3114079"/>
              <a:gd name="connsiteX2" fmla="*/ 2656649 w 2656951"/>
              <a:gd name="connsiteY2" fmla="*/ 874396 h 3114079"/>
              <a:gd name="connsiteX3" fmla="*/ 1587555 w 2656951"/>
              <a:gd name="connsiteY3" fmla="*/ 1951712 h 3114079"/>
              <a:gd name="connsiteX4" fmla="*/ 1244634 w 2656951"/>
              <a:gd name="connsiteY4" fmla="*/ 2297270 h 3114079"/>
              <a:gd name="connsiteX5" fmla="*/ 1225449 w 2656951"/>
              <a:gd name="connsiteY5" fmla="*/ 2316603 h 3114079"/>
              <a:gd name="connsiteX6" fmla="*/ 1207019 w 2656951"/>
              <a:gd name="connsiteY6" fmla="*/ 2335174 h 3114079"/>
              <a:gd name="connsiteX7" fmla="*/ 1186776 w 2656951"/>
              <a:gd name="connsiteY7" fmla="*/ 2355573 h 3114079"/>
              <a:gd name="connsiteX8" fmla="*/ 1168799 w 2656951"/>
              <a:gd name="connsiteY8" fmla="*/ 2373688 h 3114079"/>
              <a:gd name="connsiteX9" fmla="*/ 1154146 w 2656951"/>
              <a:gd name="connsiteY9" fmla="*/ 2388454 h 3114079"/>
              <a:gd name="connsiteX10" fmla="*/ 1139946 w 2656951"/>
              <a:gd name="connsiteY10" fmla="*/ 2402764 h 3114079"/>
              <a:gd name="connsiteX11" fmla="*/ 1134809 w 2656951"/>
              <a:gd name="connsiteY11" fmla="*/ 2407939 h 3114079"/>
              <a:gd name="connsiteX12" fmla="*/ 1132090 w 2656951"/>
              <a:gd name="connsiteY12" fmla="*/ 2410679 h 3114079"/>
              <a:gd name="connsiteX13" fmla="*/ 1130881 w 2656951"/>
              <a:gd name="connsiteY13" fmla="*/ 2411897 h 3114079"/>
              <a:gd name="connsiteX14" fmla="*/ 1128767 w 2656951"/>
              <a:gd name="connsiteY14" fmla="*/ 2414028 h 3114079"/>
              <a:gd name="connsiteX15" fmla="*/ 1119702 w 2656951"/>
              <a:gd name="connsiteY15" fmla="*/ 2423162 h 3114079"/>
              <a:gd name="connsiteX16" fmla="*/ 1117134 w 2656951"/>
              <a:gd name="connsiteY16" fmla="*/ 2425750 h 3114079"/>
              <a:gd name="connsiteX17" fmla="*/ 1105352 w 2656951"/>
              <a:gd name="connsiteY17" fmla="*/ 2437624 h 3114079"/>
              <a:gd name="connsiteX18" fmla="*/ 1085712 w 2656951"/>
              <a:gd name="connsiteY18" fmla="*/ 2457413 h 3114079"/>
              <a:gd name="connsiteX19" fmla="*/ 1054140 w 2656951"/>
              <a:gd name="connsiteY19" fmla="*/ 2489229 h 3114079"/>
              <a:gd name="connsiteX20" fmla="*/ 908210 w 2656951"/>
              <a:gd name="connsiteY20" fmla="*/ 2636281 h 3114079"/>
              <a:gd name="connsiteX21" fmla="*/ 523747 w 2656951"/>
              <a:gd name="connsiteY21" fmla="*/ 3023701 h 3114079"/>
              <a:gd name="connsiteX22" fmla="*/ 419360 w 2656951"/>
              <a:gd name="connsiteY22" fmla="*/ 3092660 h 3114079"/>
              <a:gd name="connsiteX23" fmla="*/ 189135 w 2656951"/>
              <a:gd name="connsiteY23" fmla="*/ 3090376 h 3114079"/>
              <a:gd name="connsiteX24" fmla="*/ 188078 w 2656951"/>
              <a:gd name="connsiteY24" fmla="*/ 3089919 h 3114079"/>
              <a:gd name="connsiteX25" fmla="*/ 118436 w 2656951"/>
              <a:gd name="connsiteY25" fmla="*/ 3048818 h 3114079"/>
              <a:gd name="connsiteX26" fmla="*/ 118134 w 2656951"/>
              <a:gd name="connsiteY26" fmla="*/ 3048514 h 3114079"/>
              <a:gd name="connsiteX27" fmla="*/ 117530 w 2656951"/>
              <a:gd name="connsiteY27" fmla="*/ 3048057 h 3114079"/>
              <a:gd name="connsiteX28" fmla="*/ 89733 w 2656951"/>
              <a:gd name="connsiteY28" fmla="*/ 3023396 h 3114079"/>
              <a:gd name="connsiteX29" fmla="*/ 5892 w 2656951"/>
              <a:gd name="connsiteY29" fmla="*/ 2864927 h 3114079"/>
              <a:gd name="connsiteX30" fmla="*/ 5892 w 2656951"/>
              <a:gd name="connsiteY30" fmla="*/ 2864318 h 3114079"/>
              <a:gd name="connsiteX31" fmla="*/ 0 w 2656951"/>
              <a:gd name="connsiteY31" fmla="*/ 2804949 h 3114079"/>
              <a:gd name="connsiteX32" fmla="*/ 0 w 2656951"/>
              <a:gd name="connsiteY32" fmla="*/ 2804949 h 3114079"/>
              <a:gd name="connsiteX33" fmla="*/ 5137 w 2656951"/>
              <a:gd name="connsiteY33" fmla="*/ 2748929 h 3114079"/>
              <a:gd name="connsiteX34" fmla="*/ 7705 w 2656951"/>
              <a:gd name="connsiteY34" fmla="*/ 2736142 h 3114079"/>
              <a:gd name="connsiteX35" fmla="*/ 9215 w 2656951"/>
              <a:gd name="connsiteY35" fmla="*/ 2729748 h 3114079"/>
              <a:gd name="connsiteX36" fmla="*/ 10424 w 2656951"/>
              <a:gd name="connsiteY36" fmla="*/ 2725334 h 3114079"/>
              <a:gd name="connsiteX37" fmla="*/ 11179 w 2656951"/>
              <a:gd name="connsiteY37" fmla="*/ 2722442 h 3114079"/>
              <a:gd name="connsiteX38" fmla="*/ 37615 w 2656951"/>
              <a:gd name="connsiteY38" fmla="*/ 2656679 h 3114079"/>
              <a:gd name="connsiteX39" fmla="*/ 89733 w 2656951"/>
              <a:gd name="connsiteY39" fmla="*/ 2586503 h 3114079"/>
              <a:gd name="connsiteX40" fmla="*/ 474348 w 2656951"/>
              <a:gd name="connsiteY40" fmla="*/ 2199083 h 3114079"/>
              <a:gd name="connsiteX41" fmla="*/ 582965 w 2656951"/>
              <a:gd name="connsiteY41" fmla="*/ 2089631 h 3114079"/>
              <a:gd name="connsiteX42" fmla="*/ 603812 w 2656951"/>
              <a:gd name="connsiteY42" fmla="*/ 2068471 h 3114079"/>
              <a:gd name="connsiteX43" fmla="*/ 614387 w 2656951"/>
              <a:gd name="connsiteY43" fmla="*/ 2057815 h 3114079"/>
              <a:gd name="connsiteX44" fmla="*/ 620429 w 2656951"/>
              <a:gd name="connsiteY44" fmla="*/ 2051878 h 3114079"/>
              <a:gd name="connsiteX45" fmla="*/ 625566 w 2656951"/>
              <a:gd name="connsiteY45" fmla="*/ 2046550 h 3114079"/>
              <a:gd name="connsiteX46" fmla="*/ 626472 w 2656951"/>
              <a:gd name="connsiteY46" fmla="*/ 2045789 h 3114079"/>
              <a:gd name="connsiteX47" fmla="*/ 634478 w 2656951"/>
              <a:gd name="connsiteY47" fmla="*/ 2037569 h 3114079"/>
              <a:gd name="connsiteX48" fmla="*/ 643542 w 2656951"/>
              <a:gd name="connsiteY48" fmla="*/ 2028435 h 3114079"/>
              <a:gd name="connsiteX49" fmla="*/ 644449 w 2656951"/>
              <a:gd name="connsiteY49" fmla="*/ 2027674 h 3114079"/>
              <a:gd name="connsiteX50" fmla="*/ 647319 w 2656951"/>
              <a:gd name="connsiteY50" fmla="*/ 2024782 h 3114079"/>
              <a:gd name="connsiteX51" fmla="*/ 649433 w 2656951"/>
              <a:gd name="connsiteY51" fmla="*/ 2022651 h 3114079"/>
              <a:gd name="connsiteX52" fmla="*/ 651700 w 2656951"/>
              <a:gd name="connsiteY52" fmla="*/ 2020367 h 3114079"/>
              <a:gd name="connsiteX53" fmla="*/ 685841 w 2656951"/>
              <a:gd name="connsiteY53" fmla="*/ 1985964 h 3114079"/>
              <a:gd name="connsiteX54" fmla="*/ 696416 w 2656951"/>
              <a:gd name="connsiteY54" fmla="*/ 1975155 h 3114079"/>
              <a:gd name="connsiteX55" fmla="*/ 698681 w 2656951"/>
              <a:gd name="connsiteY55" fmla="*/ 1972872 h 3114079"/>
              <a:gd name="connsiteX56" fmla="*/ 708803 w 2656951"/>
              <a:gd name="connsiteY56" fmla="*/ 1962825 h 3114079"/>
              <a:gd name="connsiteX57" fmla="*/ 708953 w 2656951"/>
              <a:gd name="connsiteY57" fmla="*/ 1962825 h 3114079"/>
              <a:gd name="connsiteX58" fmla="*/ 714845 w 2656951"/>
              <a:gd name="connsiteY58" fmla="*/ 1956736 h 3114079"/>
              <a:gd name="connsiteX59" fmla="*/ 719528 w 2656951"/>
              <a:gd name="connsiteY59" fmla="*/ 1951865 h 3114079"/>
              <a:gd name="connsiteX60" fmla="*/ 744001 w 2656951"/>
              <a:gd name="connsiteY60" fmla="*/ 1927356 h 3114079"/>
              <a:gd name="connsiteX61" fmla="*/ 758050 w 2656951"/>
              <a:gd name="connsiteY61" fmla="*/ 1913046 h 3114079"/>
              <a:gd name="connsiteX62" fmla="*/ 771797 w 2656951"/>
              <a:gd name="connsiteY62" fmla="*/ 1899194 h 3114079"/>
              <a:gd name="connsiteX63" fmla="*/ 782674 w 2656951"/>
              <a:gd name="connsiteY63" fmla="*/ 1888386 h 3114079"/>
              <a:gd name="connsiteX64" fmla="*/ 788566 w 2656951"/>
              <a:gd name="connsiteY64" fmla="*/ 1882297 h 3114079"/>
              <a:gd name="connsiteX65" fmla="*/ 794759 w 2656951"/>
              <a:gd name="connsiteY65" fmla="*/ 1876207 h 3114079"/>
              <a:gd name="connsiteX66" fmla="*/ 803672 w 2656951"/>
              <a:gd name="connsiteY66" fmla="*/ 1867226 h 3114079"/>
              <a:gd name="connsiteX67" fmla="*/ 814700 w 2656951"/>
              <a:gd name="connsiteY67" fmla="*/ 1856113 h 3114079"/>
              <a:gd name="connsiteX68" fmla="*/ 1587555 w 2656951"/>
              <a:gd name="connsiteY68" fmla="*/ 1077468 h 3114079"/>
              <a:gd name="connsiteX69" fmla="*/ 2656649 w 2656951"/>
              <a:gd name="connsiteY69" fmla="*/ 304 h 3114079"/>
              <a:gd name="connsiteX70" fmla="*/ 2656952 w 2656951"/>
              <a:gd name="connsiteY70" fmla="*/ 0 h 3114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656951" h="3114079">
                <a:moveTo>
                  <a:pt x="2656952" y="0"/>
                </a:moveTo>
                <a:lnTo>
                  <a:pt x="2656952" y="874092"/>
                </a:lnTo>
                <a:lnTo>
                  <a:pt x="2656649" y="874396"/>
                </a:lnTo>
                <a:lnTo>
                  <a:pt x="1587555" y="1951712"/>
                </a:lnTo>
                <a:lnTo>
                  <a:pt x="1244634" y="2297270"/>
                </a:lnTo>
                <a:lnTo>
                  <a:pt x="1225449" y="2316603"/>
                </a:lnTo>
                <a:lnTo>
                  <a:pt x="1207019" y="2335174"/>
                </a:lnTo>
                <a:lnTo>
                  <a:pt x="1186776" y="2355573"/>
                </a:lnTo>
                <a:lnTo>
                  <a:pt x="1168799" y="2373688"/>
                </a:lnTo>
                <a:lnTo>
                  <a:pt x="1154146" y="2388454"/>
                </a:lnTo>
                <a:lnTo>
                  <a:pt x="1139946" y="2402764"/>
                </a:lnTo>
                <a:lnTo>
                  <a:pt x="1134809" y="2407939"/>
                </a:lnTo>
                <a:lnTo>
                  <a:pt x="1132090" y="2410679"/>
                </a:lnTo>
                <a:lnTo>
                  <a:pt x="1130881" y="2411897"/>
                </a:lnTo>
                <a:lnTo>
                  <a:pt x="1128767" y="2414028"/>
                </a:lnTo>
                <a:lnTo>
                  <a:pt x="1119702" y="2423162"/>
                </a:lnTo>
                <a:lnTo>
                  <a:pt x="1117134" y="2425750"/>
                </a:lnTo>
                <a:lnTo>
                  <a:pt x="1105352" y="2437624"/>
                </a:lnTo>
                <a:lnTo>
                  <a:pt x="1085712" y="2457413"/>
                </a:lnTo>
                <a:lnTo>
                  <a:pt x="1054140" y="2489229"/>
                </a:lnTo>
                <a:lnTo>
                  <a:pt x="908210" y="2636281"/>
                </a:lnTo>
                <a:lnTo>
                  <a:pt x="523747" y="3023701"/>
                </a:lnTo>
                <a:cubicBezTo>
                  <a:pt x="492929" y="3054603"/>
                  <a:pt x="457429" y="3077589"/>
                  <a:pt x="419360" y="3092660"/>
                </a:cubicBezTo>
                <a:cubicBezTo>
                  <a:pt x="345488" y="3121887"/>
                  <a:pt x="262704" y="3121278"/>
                  <a:pt x="189135" y="3090376"/>
                </a:cubicBezTo>
                <a:cubicBezTo>
                  <a:pt x="188833" y="3090376"/>
                  <a:pt x="188380" y="3090224"/>
                  <a:pt x="188078" y="3089919"/>
                </a:cubicBezTo>
                <a:cubicBezTo>
                  <a:pt x="163605" y="3079720"/>
                  <a:pt x="140039" y="3065868"/>
                  <a:pt x="118436" y="3048818"/>
                </a:cubicBezTo>
                <a:cubicBezTo>
                  <a:pt x="118285" y="3048818"/>
                  <a:pt x="118134" y="3048514"/>
                  <a:pt x="118134" y="3048514"/>
                </a:cubicBezTo>
                <a:cubicBezTo>
                  <a:pt x="117983" y="3048362"/>
                  <a:pt x="117681" y="3048209"/>
                  <a:pt x="117530" y="3048057"/>
                </a:cubicBezTo>
                <a:cubicBezTo>
                  <a:pt x="107861" y="3040598"/>
                  <a:pt x="98647" y="3032377"/>
                  <a:pt x="89733" y="3023396"/>
                </a:cubicBezTo>
                <a:cubicBezTo>
                  <a:pt x="45169" y="2978489"/>
                  <a:pt x="17222" y="2923078"/>
                  <a:pt x="5892" y="2864927"/>
                </a:cubicBezTo>
                <a:lnTo>
                  <a:pt x="5892" y="2864318"/>
                </a:lnTo>
                <a:cubicBezTo>
                  <a:pt x="1964" y="2844833"/>
                  <a:pt x="0" y="2824739"/>
                  <a:pt x="0" y="2804949"/>
                </a:cubicBezTo>
                <a:lnTo>
                  <a:pt x="0" y="2804949"/>
                </a:lnTo>
                <a:cubicBezTo>
                  <a:pt x="0" y="2786073"/>
                  <a:pt x="1662" y="2767349"/>
                  <a:pt x="5137" y="2748929"/>
                </a:cubicBezTo>
                <a:cubicBezTo>
                  <a:pt x="5892" y="2744515"/>
                  <a:pt x="6647" y="2740405"/>
                  <a:pt x="7705" y="2736142"/>
                </a:cubicBezTo>
                <a:cubicBezTo>
                  <a:pt x="8158" y="2734011"/>
                  <a:pt x="8611" y="2731880"/>
                  <a:pt x="9215" y="2729748"/>
                </a:cubicBezTo>
                <a:cubicBezTo>
                  <a:pt x="9517" y="2728227"/>
                  <a:pt x="9971" y="2726857"/>
                  <a:pt x="10424" y="2725334"/>
                </a:cubicBezTo>
                <a:cubicBezTo>
                  <a:pt x="10575" y="2724421"/>
                  <a:pt x="10877" y="2723355"/>
                  <a:pt x="11179" y="2722442"/>
                </a:cubicBezTo>
                <a:cubicBezTo>
                  <a:pt x="17222" y="2699760"/>
                  <a:pt x="26135" y="2677687"/>
                  <a:pt x="37615" y="2656679"/>
                </a:cubicBezTo>
                <a:cubicBezTo>
                  <a:pt x="51212" y="2631409"/>
                  <a:pt x="68585" y="2607814"/>
                  <a:pt x="89733" y="2586503"/>
                </a:cubicBezTo>
                <a:lnTo>
                  <a:pt x="474348" y="2199083"/>
                </a:lnTo>
                <a:lnTo>
                  <a:pt x="582965" y="2089631"/>
                </a:lnTo>
                <a:lnTo>
                  <a:pt x="603812" y="2068471"/>
                </a:lnTo>
                <a:lnTo>
                  <a:pt x="614387" y="2057815"/>
                </a:lnTo>
                <a:lnTo>
                  <a:pt x="620429" y="2051878"/>
                </a:lnTo>
                <a:lnTo>
                  <a:pt x="625566" y="2046550"/>
                </a:lnTo>
                <a:lnTo>
                  <a:pt x="626472" y="2045789"/>
                </a:lnTo>
                <a:lnTo>
                  <a:pt x="634478" y="2037569"/>
                </a:lnTo>
                <a:lnTo>
                  <a:pt x="643542" y="2028435"/>
                </a:lnTo>
                <a:lnTo>
                  <a:pt x="644449" y="2027674"/>
                </a:lnTo>
                <a:lnTo>
                  <a:pt x="647319" y="2024782"/>
                </a:lnTo>
                <a:lnTo>
                  <a:pt x="649433" y="2022651"/>
                </a:lnTo>
                <a:lnTo>
                  <a:pt x="651700" y="2020367"/>
                </a:lnTo>
                <a:lnTo>
                  <a:pt x="685841" y="1985964"/>
                </a:lnTo>
                <a:lnTo>
                  <a:pt x="696416" y="1975155"/>
                </a:lnTo>
                <a:lnTo>
                  <a:pt x="698681" y="1972872"/>
                </a:lnTo>
                <a:lnTo>
                  <a:pt x="708803" y="1962825"/>
                </a:lnTo>
                <a:cubicBezTo>
                  <a:pt x="708803" y="1962825"/>
                  <a:pt x="708953" y="1962825"/>
                  <a:pt x="708953" y="1962825"/>
                </a:cubicBezTo>
                <a:lnTo>
                  <a:pt x="714845" y="1956736"/>
                </a:lnTo>
                <a:lnTo>
                  <a:pt x="719528" y="1951865"/>
                </a:lnTo>
                <a:lnTo>
                  <a:pt x="744001" y="1927356"/>
                </a:lnTo>
                <a:lnTo>
                  <a:pt x="758050" y="1913046"/>
                </a:lnTo>
                <a:lnTo>
                  <a:pt x="771797" y="1899194"/>
                </a:lnTo>
                <a:lnTo>
                  <a:pt x="782674" y="1888386"/>
                </a:lnTo>
                <a:lnTo>
                  <a:pt x="788566" y="1882297"/>
                </a:lnTo>
                <a:lnTo>
                  <a:pt x="794759" y="1876207"/>
                </a:lnTo>
                <a:lnTo>
                  <a:pt x="803672" y="1867226"/>
                </a:lnTo>
                <a:lnTo>
                  <a:pt x="814700" y="1856113"/>
                </a:lnTo>
                <a:lnTo>
                  <a:pt x="1587555" y="1077468"/>
                </a:lnTo>
                <a:lnTo>
                  <a:pt x="2656649" y="304"/>
                </a:lnTo>
                <a:lnTo>
                  <a:pt x="2656952" y="0"/>
                </a:lnTo>
                <a:close/>
              </a:path>
            </a:pathLst>
          </a:custGeom>
          <a:solidFill>
            <a:schemeClr val="bg2"/>
          </a:solidFill>
          <a:ln w="14405" cap="flat">
            <a:noFill/>
            <a:prstDash val="solid"/>
            <a:miter/>
          </a:ln>
        </p:spPr>
        <p:txBody>
          <a:bodyPr rtlCol="0" anchor="ctr"/>
          <a:lstStyle/>
          <a:p>
            <a:endParaRPr lang="en-IN"/>
          </a:p>
        </p:txBody>
      </p:sp>
      <p:sp>
        <p:nvSpPr>
          <p:cNvPr id="51" name="Freeform: Shape 50">
            <a:extLst>
              <a:ext uri="{FF2B5EF4-FFF2-40B4-BE49-F238E27FC236}">
                <a16:creationId xmlns:a16="http://schemas.microsoft.com/office/drawing/2014/main" id="{886F003C-E566-6201-7E7E-5D8E3A4944EA}"/>
              </a:ext>
            </a:extLst>
          </p:cNvPr>
          <p:cNvSpPr/>
          <p:nvPr userDrawn="1"/>
        </p:nvSpPr>
        <p:spPr>
          <a:xfrm rot="5400000" flipV="1">
            <a:off x="6273961" y="4611326"/>
            <a:ext cx="2068713" cy="2424635"/>
          </a:xfrm>
          <a:custGeom>
            <a:avLst/>
            <a:gdLst>
              <a:gd name="connsiteX0" fmla="*/ 2656952 w 2656951"/>
              <a:gd name="connsiteY0" fmla="*/ 0 h 3114079"/>
              <a:gd name="connsiteX1" fmla="*/ 2656952 w 2656951"/>
              <a:gd name="connsiteY1" fmla="*/ 874092 h 3114079"/>
              <a:gd name="connsiteX2" fmla="*/ 2656649 w 2656951"/>
              <a:gd name="connsiteY2" fmla="*/ 874396 h 3114079"/>
              <a:gd name="connsiteX3" fmla="*/ 1587555 w 2656951"/>
              <a:gd name="connsiteY3" fmla="*/ 1951712 h 3114079"/>
              <a:gd name="connsiteX4" fmla="*/ 1244634 w 2656951"/>
              <a:gd name="connsiteY4" fmla="*/ 2297270 h 3114079"/>
              <a:gd name="connsiteX5" fmla="*/ 1225449 w 2656951"/>
              <a:gd name="connsiteY5" fmla="*/ 2316603 h 3114079"/>
              <a:gd name="connsiteX6" fmla="*/ 1207019 w 2656951"/>
              <a:gd name="connsiteY6" fmla="*/ 2335174 h 3114079"/>
              <a:gd name="connsiteX7" fmla="*/ 1186776 w 2656951"/>
              <a:gd name="connsiteY7" fmla="*/ 2355573 h 3114079"/>
              <a:gd name="connsiteX8" fmla="*/ 1168799 w 2656951"/>
              <a:gd name="connsiteY8" fmla="*/ 2373688 h 3114079"/>
              <a:gd name="connsiteX9" fmla="*/ 1154146 w 2656951"/>
              <a:gd name="connsiteY9" fmla="*/ 2388454 h 3114079"/>
              <a:gd name="connsiteX10" fmla="*/ 1139946 w 2656951"/>
              <a:gd name="connsiteY10" fmla="*/ 2402764 h 3114079"/>
              <a:gd name="connsiteX11" fmla="*/ 1134809 w 2656951"/>
              <a:gd name="connsiteY11" fmla="*/ 2407939 h 3114079"/>
              <a:gd name="connsiteX12" fmla="*/ 1132090 w 2656951"/>
              <a:gd name="connsiteY12" fmla="*/ 2410679 h 3114079"/>
              <a:gd name="connsiteX13" fmla="*/ 1130881 w 2656951"/>
              <a:gd name="connsiteY13" fmla="*/ 2411897 h 3114079"/>
              <a:gd name="connsiteX14" fmla="*/ 1128767 w 2656951"/>
              <a:gd name="connsiteY14" fmla="*/ 2414028 h 3114079"/>
              <a:gd name="connsiteX15" fmla="*/ 1119702 w 2656951"/>
              <a:gd name="connsiteY15" fmla="*/ 2423162 h 3114079"/>
              <a:gd name="connsiteX16" fmla="*/ 1117134 w 2656951"/>
              <a:gd name="connsiteY16" fmla="*/ 2425750 h 3114079"/>
              <a:gd name="connsiteX17" fmla="*/ 1105352 w 2656951"/>
              <a:gd name="connsiteY17" fmla="*/ 2437624 h 3114079"/>
              <a:gd name="connsiteX18" fmla="*/ 1085712 w 2656951"/>
              <a:gd name="connsiteY18" fmla="*/ 2457413 h 3114079"/>
              <a:gd name="connsiteX19" fmla="*/ 1054140 w 2656951"/>
              <a:gd name="connsiteY19" fmla="*/ 2489229 h 3114079"/>
              <a:gd name="connsiteX20" fmla="*/ 908210 w 2656951"/>
              <a:gd name="connsiteY20" fmla="*/ 2636281 h 3114079"/>
              <a:gd name="connsiteX21" fmla="*/ 523747 w 2656951"/>
              <a:gd name="connsiteY21" fmla="*/ 3023701 h 3114079"/>
              <a:gd name="connsiteX22" fmla="*/ 419360 w 2656951"/>
              <a:gd name="connsiteY22" fmla="*/ 3092660 h 3114079"/>
              <a:gd name="connsiteX23" fmla="*/ 189135 w 2656951"/>
              <a:gd name="connsiteY23" fmla="*/ 3090376 h 3114079"/>
              <a:gd name="connsiteX24" fmla="*/ 188078 w 2656951"/>
              <a:gd name="connsiteY24" fmla="*/ 3089919 h 3114079"/>
              <a:gd name="connsiteX25" fmla="*/ 118436 w 2656951"/>
              <a:gd name="connsiteY25" fmla="*/ 3048818 h 3114079"/>
              <a:gd name="connsiteX26" fmla="*/ 118134 w 2656951"/>
              <a:gd name="connsiteY26" fmla="*/ 3048514 h 3114079"/>
              <a:gd name="connsiteX27" fmla="*/ 117530 w 2656951"/>
              <a:gd name="connsiteY27" fmla="*/ 3048057 h 3114079"/>
              <a:gd name="connsiteX28" fmla="*/ 89733 w 2656951"/>
              <a:gd name="connsiteY28" fmla="*/ 3023396 h 3114079"/>
              <a:gd name="connsiteX29" fmla="*/ 5892 w 2656951"/>
              <a:gd name="connsiteY29" fmla="*/ 2864927 h 3114079"/>
              <a:gd name="connsiteX30" fmla="*/ 5892 w 2656951"/>
              <a:gd name="connsiteY30" fmla="*/ 2864318 h 3114079"/>
              <a:gd name="connsiteX31" fmla="*/ 0 w 2656951"/>
              <a:gd name="connsiteY31" fmla="*/ 2804949 h 3114079"/>
              <a:gd name="connsiteX32" fmla="*/ 0 w 2656951"/>
              <a:gd name="connsiteY32" fmla="*/ 2804949 h 3114079"/>
              <a:gd name="connsiteX33" fmla="*/ 5137 w 2656951"/>
              <a:gd name="connsiteY33" fmla="*/ 2748929 h 3114079"/>
              <a:gd name="connsiteX34" fmla="*/ 7705 w 2656951"/>
              <a:gd name="connsiteY34" fmla="*/ 2736142 h 3114079"/>
              <a:gd name="connsiteX35" fmla="*/ 9215 w 2656951"/>
              <a:gd name="connsiteY35" fmla="*/ 2729748 h 3114079"/>
              <a:gd name="connsiteX36" fmla="*/ 10424 w 2656951"/>
              <a:gd name="connsiteY36" fmla="*/ 2725334 h 3114079"/>
              <a:gd name="connsiteX37" fmla="*/ 11179 w 2656951"/>
              <a:gd name="connsiteY37" fmla="*/ 2722442 h 3114079"/>
              <a:gd name="connsiteX38" fmla="*/ 37615 w 2656951"/>
              <a:gd name="connsiteY38" fmla="*/ 2656679 h 3114079"/>
              <a:gd name="connsiteX39" fmla="*/ 89733 w 2656951"/>
              <a:gd name="connsiteY39" fmla="*/ 2586503 h 3114079"/>
              <a:gd name="connsiteX40" fmla="*/ 474348 w 2656951"/>
              <a:gd name="connsiteY40" fmla="*/ 2199083 h 3114079"/>
              <a:gd name="connsiteX41" fmla="*/ 582965 w 2656951"/>
              <a:gd name="connsiteY41" fmla="*/ 2089631 h 3114079"/>
              <a:gd name="connsiteX42" fmla="*/ 603812 w 2656951"/>
              <a:gd name="connsiteY42" fmla="*/ 2068471 h 3114079"/>
              <a:gd name="connsiteX43" fmla="*/ 614387 w 2656951"/>
              <a:gd name="connsiteY43" fmla="*/ 2057815 h 3114079"/>
              <a:gd name="connsiteX44" fmla="*/ 620429 w 2656951"/>
              <a:gd name="connsiteY44" fmla="*/ 2051878 h 3114079"/>
              <a:gd name="connsiteX45" fmla="*/ 625566 w 2656951"/>
              <a:gd name="connsiteY45" fmla="*/ 2046550 h 3114079"/>
              <a:gd name="connsiteX46" fmla="*/ 626472 w 2656951"/>
              <a:gd name="connsiteY46" fmla="*/ 2045789 h 3114079"/>
              <a:gd name="connsiteX47" fmla="*/ 634478 w 2656951"/>
              <a:gd name="connsiteY47" fmla="*/ 2037569 h 3114079"/>
              <a:gd name="connsiteX48" fmla="*/ 643542 w 2656951"/>
              <a:gd name="connsiteY48" fmla="*/ 2028435 h 3114079"/>
              <a:gd name="connsiteX49" fmla="*/ 644449 w 2656951"/>
              <a:gd name="connsiteY49" fmla="*/ 2027674 h 3114079"/>
              <a:gd name="connsiteX50" fmla="*/ 647319 w 2656951"/>
              <a:gd name="connsiteY50" fmla="*/ 2024782 h 3114079"/>
              <a:gd name="connsiteX51" fmla="*/ 649433 w 2656951"/>
              <a:gd name="connsiteY51" fmla="*/ 2022651 h 3114079"/>
              <a:gd name="connsiteX52" fmla="*/ 651700 w 2656951"/>
              <a:gd name="connsiteY52" fmla="*/ 2020367 h 3114079"/>
              <a:gd name="connsiteX53" fmla="*/ 685841 w 2656951"/>
              <a:gd name="connsiteY53" fmla="*/ 1985964 h 3114079"/>
              <a:gd name="connsiteX54" fmla="*/ 696416 w 2656951"/>
              <a:gd name="connsiteY54" fmla="*/ 1975155 h 3114079"/>
              <a:gd name="connsiteX55" fmla="*/ 698681 w 2656951"/>
              <a:gd name="connsiteY55" fmla="*/ 1972872 h 3114079"/>
              <a:gd name="connsiteX56" fmla="*/ 708803 w 2656951"/>
              <a:gd name="connsiteY56" fmla="*/ 1962825 h 3114079"/>
              <a:gd name="connsiteX57" fmla="*/ 708953 w 2656951"/>
              <a:gd name="connsiteY57" fmla="*/ 1962825 h 3114079"/>
              <a:gd name="connsiteX58" fmla="*/ 714845 w 2656951"/>
              <a:gd name="connsiteY58" fmla="*/ 1956736 h 3114079"/>
              <a:gd name="connsiteX59" fmla="*/ 719528 w 2656951"/>
              <a:gd name="connsiteY59" fmla="*/ 1951865 h 3114079"/>
              <a:gd name="connsiteX60" fmla="*/ 744001 w 2656951"/>
              <a:gd name="connsiteY60" fmla="*/ 1927356 h 3114079"/>
              <a:gd name="connsiteX61" fmla="*/ 758050 w 2656951"/>
              <a:gd name="connsiteY61" fmla="*/ 1913046 h 3114079"/>
              <a:gd name="connsiteX62" fmla="*/ 771797 w 2656951"/>
              <a:gd name="connsiteY62" fmla="*/ 1899194 h 3114079"/>
              <a:gd name="connsiteX63" fmla="*/ 782674 w 2656951"/>
              <a:gd name="connsiteY63" fmla="*/ 1888386 h 3114079"/>
              <a:gd name="connsiteX64" fmla="*/ 788566 w 2656951"/>
              <a:gd name="connsiteY64" fmla="*/ 1882297 h 3114079"/>
              <a:gd name="connsiteX65" fmla="*/ 794759 w 2656951"/>
              <a:gd name="connsiteY65" fmla="*/ 1876207 h 3114079"/>
              <a:gd name="connsiteX66" fmla="*/ 803672 w 2656951"/>
              <a:gd name="connsiteY66" fmla="*/ 1867226 h 3114079"/>
              <a:gd name="connsiteX67" fmla="*/ 814700 w 2656951"/>
              <a:gd name="connsiteY67" fmla="*/ 1856113 h 3114079"/>
              <a:gd name="connsiteX68" fmla="*/ 1587555 w 2656951"/>
              <a:gd name="connsiteY68" fmla="*/ 1077468 h 3114079"/>
              <a:gd name="connsiteX69" fmla="*/ 2656649 w 2656951"/>
              <a:gd name="connsiteY69" fmla="*/ 304 h 3114079"/>
              <a:gd name="connsiteX70" fmla="*/ 2656952 w 2656951"/>
              <a:gd name="connsiteY70" fmla="*/ 0 h 3114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656951" h="3114079">
                <a:moveTo>
                  <a:pt x="2656952" y="0"/>
                </a:moveTo>
                <a:lnTo>
                  <a:pt x="2656952" y="874092"/>
                </a:lnTo>
                <a:lnTo>
                  <a:pt x="2656649" y="874396"/>
                </a:lnTo>
                <a:lnTo>
                  <a:pt x="1587555" y="1951712"/>
                </a:lnTo>
                <a:lnTo>
                  <a:pt x="1244634" y="2297270"/>
                </a:lnTo>
                <a:lnTo>
                  <a:pt x="1225449" y="2316603"/>
                </a:lnTo>
                <a:lnTo>
                  <a:pt x="1207019" y="2335174"/>
                </a:lnTo>
                <a:lnTo>
                  <a:pt x="1186776" y="2355573"/>
                </a:lnTo>
                <a:lnTo>
                  <a:pt x="1168799" y="2373688"/>
                </a:lnTo>
                <a:lnTo>
                  <a:pt x="1154146" y="2388454"/>
                </a:lnTo>
                <a:lnTo>
                  <a:pt x="1139946" y="2402764"/>
                </a:lnTo>
                <a:lnTo>
                  <a:pt x="1134809" y="2407939"/>
                </a:lnTo>
                <a:lnTo>
                  <a:pt x="1132090" y="2410679"/>
                </a:lnTo>
                <a:lnTo>
                  <a:pt x="1130881" y="2411897"/>
                </a:lnTo>
                <a:lnTo>
                  <a:pt x="1128767" y="2414028"/>
                </a:lnTo>
                <a:lnTo>
                  <a:pt x="1119702" y="2423162"/>
                </a:lnTo>
                <a:lnTo>
                  <a:pt x="1117134" y="2425750"/>
                </a:lnTo>
                <a:lnTo>
                  <a:pt x="1105352" y="2437624"/>
                </a:lnTo>
                <a:lnTo>
                  <a:pt x="1085712" y="2457413"/>
                </a:lnTo>
                <a:lnTo>
                  <a:pt x="1054140" y="2489229"/>
                </a:lnTo>
                <a:lnTo>
                  <a:pt x="908210" y="2636281"/>
                </a:lnTo>
                <a:lnTo>
                  <a:pt x="523747" y="3023701"/>
                </a:lnTo>
                <a:cubicBezTo>
                  <a:pt x="492929" y="3054603"/>
                  <a:pt x="457429" y="3077589"/>
                  <a:pt x="419360" y="3092660"/>
                </a:cubicBezTo>
                <a:cubicBezTo>
                  <a:pt x="345488" y="3121887"/>
                  <a:pt x="262704" y="3121278"/>
                  <a:pt x="189135" y="3090376"/>
                </a:cubicBezTo>
                <a:cubicBezTo>
                  <a:pt x="188833" y="3090376"/>
                  <a:pt x="188380" y="3090224"/>
                  <a:pt x="188078" y="3089919"/>
                </a:cubicBezTo>
                <a:cubicBezTo>
                  <a:pt x="163605" y="3079720"/>
                  <a:pt x="140039" y="3065868"/>
                  <a:pt x="118436" y="3048818"/>
                </a:cubicBezTo>
                <a:cubicBezTo>
                  <a:pt x="118285" y="3048818"/>
                  <a:pt x="118134" y="3048514"/>
                  <a:pt x="118134" y="3048514"/>
                </a:cubicBezTo>
                <a:cubicBezTo>
                  <a:pt x="117983" y="3048362"/>
                  <a:pt x="117681" y="3048209"/>
                  <a:pt x="117530" y="3048057"/>
                </a:cubicBezTo>
                <a:cubicBezTo>
                  <a:pt x="107861" y="3040598"/>
                  <a:pt x="98647" y="3032377"/>
                  <a:pt x="89733" y="3023396"/>
                </a:cubicBezTo>
                <a:cubicBezTo>
                  <a:pt x="45169" y="2978489"/>
                  <a:pt x="17222" y="2923078"/>
                  <a:pt x="5892" y="2864927"/>
                </a:cubicBezTo>
                <a:lnTo>
                  <a:pt x="5892" y="2864318"/>
                </a:lnTo>
                <a:cubicBezTo>
                  <a:pt x="1964" y="2844833"/>
                  <a:pt x="0" y="2824739"/>
                  <a:pt x="0" y="2804949"/>
                </a:cubicBezTo>
                <a:lnTo>
                  <a:pt x="0" y="2804949"/>
                </a:lnTo>
                <a:cubicBezTo>
                  <a:pt x="0" y="2786073"/>
                  <a:pt x="1662" y="2767349"/>
                  <a:pt x="5137" y="2748929"/>
                </a:cubicBezTo>
                <a:cubicBezTo>
                  <a:pt x="5892" y="2744515"/>
                  <a:pt x="6647" y="2740405"/>
                  <a:pt x="7705" y="2736142"/>
                </a:cubicBezTo>
                <a:cubicBezTo>
                  <a:pt x="8158" y="2734011"/>
                  <a:pt x="8611" y="2731880"/>
                  <a:pt x="9215" y="2729748"/>
                </a:cubicBezTo>
                <a:cubicBezTo>
                  <a:pt x="9517" y="2728227"/>
                  <a:pt x="9971" y="2726857"/>
                  <a:pt x="10424" y="2725334"/>
                </a:cubicBezTo>
                <a:cubicBezTo>
                  <a:pt x="10575" y="2724421"/>
                  <a:pt x="10877" y="2723355"/>
                  <a:pt x="11179" y="2722442"/>
                </a:cubicBezTo>
                <a:cubicBezTo>
                  <a:pt x="17222" y="2699760"/>
                  <a:pt x="26135" y="2677687"/>
                  <a:pt x="37615" y="2656679"/>
                </a:cubicBezTo>
                <a:cubicBezTo>
                  <a:pt x="51212" y="2631409"/>
                  <a:pt x="68585" y="2607814"/>
                  <a:pt x="89733" y="2586503"/>
                </a:cubicBezTo>
                <a:lnTo>
                  <a:pt x="474348" y="2199083"/>
                </a:lnTo>
                <a:lnTo>
                  <a:pt x="582965" y="2089631"/>
                </a:lnTo>
                <a:lnTo>
                  <a:pt x="603812" y="2068471"/>
                </a:lnTo>
                <a:lnTo>
                  <a:pt x="614387" y="2057815"/>
                </a:lnTo>
                <a:lnTo>
                  <a:pt x="620429" y="2051878"/>
                </a:lnTo>
                <a:lnTo>
                  <a:pt x="625566" y="2046550"/>
                </a:lnTo>
                <a:lnTo>
                  <a:pt x="626472" y="2045789"/>
                </a:lnTo>
                <a:lnTo>
                  <a:pt x="634478" y="2037569"/>
                </a:lnTo>
                <a:lnTo>
                  <a:pt x="643542" y="2028435"/>
                </a:lnTo>
                <a:lnTo>
                  <a:pt x="644449" y="2027674"/>
                </a:lnTo>
                <a:lnTo>
                  <a:pt x="647319" y="2024782"/>
                </a:lnTo>
                <a:lnTo>
                  <a:pt x="649433" y="2022651"/>
                </a:lnTo>
                <a:lnTo>
                  <a:pt x="651700" y="2020367"/>
                </a:lnTo>
                <a:lnTo>
                  <a:pt x="685841" y="1985964"/>
                </a:lnTo>
                <a:lnTo>
                  <a:pt x="696416" y="1975155"/>
                </a:lnTo>
                <a:lnTo>
                  <a:pt x="698681" y="1972872"/>
                </a:lnTo>
                <a:lnTo>
                  <a:pt x="708803" y="1962825"/>
                </a:lnTo>
                <a:cubicBezTo>
                  <a:pt x="708803" y="1962825"/>
                  <a:pt x="708953" y="1962825"/>
                  <a:pt x="708953" y="1962825"/>
                </a:cubicBezTo>
                <a:lnTo>
                  <a:pt x="714845" y="1956736"/>
                </a:lnTo>
                <a:lnTo>
                  <a:pt x="719528" y="1951865"/>
                </a:lnTo>
                <a:lnTo>
                  <a:pt x="744001" y="1927356"/>
                </a:lnTo>
                <a:lnTo>
                  <a:pt x="758050" y="1913046"/>
                </a:lnTo>
                <a:lnTo>
                  <a:pt x="771797" y="1899194"/>
                </a:lnTo>
                <a:lnTo>
                  <a:pt x="782674" y="1888386"/>
                </a:lnTo>
                <a:lnTo>
                  <a:pt x="788566" y="1882297"/>
                </a:lnTo>
                <a:lnTo>
                  <a:pt x="794759" y="1876207"/>
                </a:lnTo>
                <a:lnTo>
                  <a:pt x="803672" y="1867226"/>
                </a:lnTo>
                <a:lnTo>
                  <a:pt x="814700" y="1856113"/>
                </a:lnTo>
                <a:lnTo>
                  <a:pt x="1587555" y="1077468"/>
                </a:lnTo>
                <a:lnTo>
                  <a:pt x="2656649" y="304"/>
                </a:lnTo>
                <a:lnTo>
                  <a:pt x="2656952" y="0"/>
                </a:lnTo>
                <a:close/>
              </a:path>
            </a:pathLst>
          </a:custGeom>
          <a:solidFill>
            <a:schemeClr val="bg2">
              <a:lumMod val="60000"/>
              <a:lumOff val="40000"/>
            </a:schemeClr>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2" name="Freeform: Shape 51">
            <a:extLst>
              <a:ext uri="{FF2B5EF4-FFF2-40B4-BE49-F238E27FC236}">
                <a16:creationId xmlns:a16="http://schemas.microsoft.com/office/drawing/2014/main" id="{8ED73014-F8D1-C21C-E092-95F97B3A6C3D}"/>
              </a:ext>
            </a:extLst>
          </p:cNvPr>
          <p:cNvSpPr/>
          <p:nvPr userDrawn="1"/>
        </p:nvSpPr>
        <p:spPr>
          <a:xfrm>
            <a:off x="9825040" y="0"/>
            <a:ext cx="2351068" cy="2068713"/>
          </a:xfrm>
          <a:custGeom>
            <a:avLst/>
            <a:gdLst>
              <a:gd name="connsiteX0" fmla="*/ 3421800 w 3421799"/>
              <a:gd name="connsiteY0" fmla="*/ 0 h 3010853"/>
              <a:gd name="connsiteX1" fmla="*/ 3218616 w 3421799"/>
              <a:gd name="connsiteY1" fmla="*/ 204746 h 3010853"/>
              <a:gd name="connsiteX2" fmla="*/ 1644204 w 3421799"/>
              <a:gd name="connsiteY2" fmla="*/ 1791112 h 3010853"/>
              <a:gd name="connsiteX3" fmla="*/ 1532868 w 3421799"/>
              <a:gd name="connsiteY3" fmla="*/ 1903304 h 3010853"/>
              <a:gd name="connsiteX4" fmla="*/ 1527279 w 3421799"/>
              <a:gd name="connsiteY4" fmla="*/ 1908784 h 3010853"/>
              <a:gd name="connsiteX5" fmla="*/ 1525466 w 3421799"/>
              <a:gd name="connsiteY5" fmla="*/ 1910763 h 3010853"/>
              <a:gd name="connsiteX6" fmla="*/ 1478182 w 3421799"/>
              <a:gd name="connsiteY6" fmla="*/ 1958411 h 3010853"/>
              <a:gd name="connsiteX7" fmla="*/ 1458544 w 3421799"/>
              <a:gd name="connsiteY7" fmla="*/ 1978048 h 3010853"/>
              <a:gd name="connsiteX8" fmla="*/ 1441020 w 3421799"/>
              <a:gd name="connsiteY8" fmla="*/ 1995858 h 3010853"/>
              <a:gd name="connsiteX9" fmla="*/ 1437394 w 3421799"/>
              <a:gd name="connsiteY9" fmla="*/ 1999512 h 3010853"/>
              <a:gd name="connsiteX10" fmla="*/ 1434222 w 3421799"/>
              <a:gd name="connsiteY10" fmla="*/ 2002709 h 3010853"/>
              <a:gd name="connsiteX11" fmla="*/ 1432560 w 3421799"/>
              <a:gd name="connsiteY11" fmla="*/ 2004383 h 3010853"/>
              <a:gd name="connsiteX12" fmla="*/ 1430294 w 3421799"/>
              <a:gd name="connsiteY12" fmla="*/ 2006667 h 3010853"/>
              <a:gd name="connsiteX13" fmla="*/ 1418813 w 3421799"/>
              <a:gd name="connsiteY13" fmla="*/ 2018084 h 3010853"/>
              <a:gd name="connsiteX14" fmla="*/ 1415943 w 3421799"/>
              <a:gd name="connsiteY14" fmla="*/ 2020976 h 3010853"/>
              <a:gd name="connsiteX15" fmla="*/ 1405217 w 3421799"/>
              <a:gd name="connsiteY15" fmla="*/ 2031937 h 3010853"/>
              <a:gd name="connsiteX16" fmla="*/ 1402649 w 3421799"/>
              <a:gd name="connsiteY16" fmla="*/ 2034524 h 3010853"/>
              <a:gd name="connsiteX17" fmla="*/ 1380140 w 3421799"/>
              <a:gd name="connsiteY17" fmla="*/ 2057206 h 3010853"/>
              <a:gd name="connsiteX18" fmla="*/ 1346754 w 3421799"/>
              <a:gd name="connsiteY18" fmla="*/ 2090849 h 3010853"/>
              <a:gd name="connsiteX19" fmla="*/ 1183905 w 3421799"/>
              <a:gd name="connsiteY19" fmla="*/ 2254798 h 3010853"/>
              <a:gd name="connsiteX20" fmla="*/ 523444 w 3421799"/>
              <a:gd name="connsiteY20" fmla="*/ 2920338 h 3010853"/>
              <a:gd name="connsiteX21" fmla="*/ 508791 w 3421799"/>
              <a:gd name="connsiteY21" fmla="*/ 2934038 h 3010853"/>
              <a:gd name="connsiteX22" fmla="*/ 454406 w 3421799"/>
              <a:gd name="connsiteY22" fmla="*/ 2972552 h 3010853"/>
              <a:gd name="connsiteX23" fmla="*/ 391261 w 3421799"/>
              <a:gd name="connsiteY23" fmla="*/ 2998887 h 3010853"/>
              <a:gd name="connsiteX24" fmla="*/ 300168 w 3421799"/>
              <a:gd name="connsiteY24" fmla="*/ 3010761 h 3010853"/>
              <a:gd name="connsiteX25" fmla="*/ 263308 w 3421799"/>
              <a:gd name="connsiteY25" fmla="*/ 3007869 h 3010853"/>
              <a:gd name="connsiteX26" fmla="*/ 229318 w 3421799"/>
              <a:gd name="connsiteY26" fmla="*/ 3000866 h 3010853"/>
              <a:gd name="connsiteX27" fmla="*/ 221010 w 3421799"/>
              <a:gd name="connsiteY27" fmla="*/ 2998583 h 3010853"/>
              <a:gd name="connsiteX28" fmla="*/ 186264 w 3421799"/>
              <a:gd name="connsiteY28" fmla="*/ 2986100 h 3010853"/>
              <a:gd name="connsiteX29" fmla="*/ 148649 w 3421799"/>
              <a:gd name="connsiteY29" fmla="*/ 2966615 h 3010853"/>
              <a:gd name="connsiteX30" fmla="*/ 108617 w 3421799"/>
              <a:gd name="connsiteY30" fmla="*/ 2937540 h 3010853"/>
              <a:gd name="connsiteX31" fmla="*/ 89885 w 3421799"/>
              <a:gd name="connsiteY31" fmla="*/ 2920186 h 3010853"/>
              <a:gd name="connsiteX32" fmla="*/ 54837 w 3421799"/>
              <a:gd name="connsiteY32" fmla="*/ 2877714 h 3010853"/>
              <a:gd name="connsiteX33" fmla="*/ 52420 w 3421799"/>
              <a:gd name="connsiteY33" fmla="*/ 2874213 h 3010853"/>
              <a:gd name="connsiteX34" fmla="*/ 42450 w 3421799"/>
              <a:gd name="connsiteY34" fmla="*/ 2858381 h 3010853"/>
              <a:gd name="connsiteX35" fmla="*/ 27947 w 3421799"/>
              <a:gd name="connsiteY35" fmla="*/ 2830371 h 3010853"/>
              <a:gd name="connsiteX36" fmla="*/ 22811 w 3421799"/>
              <a:gd name="connsiteY36" fmla="*/ 2818650 h 3010853"/>
              <a:gd name="connsiteX37" fmla="*/ 4683 w 3421799"/>
              <a:gd name="connsiteY37" fmla="*/ 2755475 h 3010853"/>
              <a:gd name="connsiteX38" fmla="*/ 0 w 3421799"/>
              <a:gd name="connsiteY38" fmla="*/ 2701739 h 3010853"/>
              <a:gd name="connsiteX39" fmla="*/ 89885 w 3421799"/>
              <a:gd name="connsiteY39" fmla="*/ 2483444 h 3010853"/>
              <a:gd name="connsiteX40" fmla="*/ 2539119 w 3421799"/>
              <a:gd name="connsiteY40" fmla="*/ 15223 h 3010853"/>
              <a:gd name="connsiteX41" fmla="*/ 2539573 w 3421799"/>
              <a:gd name="connsiteY41" fmla="*/ 14766 h 3010853"/>
              <a:gd name="connsiteX42" fmla="*/ 2554226 w 3421799"/>
              <a:gd name="connsiteY42" fmla="*/ 0 h 3010853"/>
              <a:gd name="connsiteX43" fmla="*/ 3421800 w 3421799"/>
              <a:gd name="connsiteY43" fmla="*/ 0 h 301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21799" h="3010853">
                <a:moveTo>
                  <a:pt x="3421800" y="0"/>
                </a:moveTo>
                <a:lnTo>
                  <a:pt x="3218616" y="204746"/>
                </a:lnTo>
                <a:lnTo>
                  <a:pt x="1644204" y="1791112"/>
                </a:lnTo>
                <a:lnTo>
                  <a:pt x="1532868" y="1903304"/>
                </a:lnTo>
                <a:lnTo>
                  <a:pt x="1527279" y="1908784"/>
                </a:lnTo>
                <a:lnTo>
                  <a:pt x="1525466" y="1910763"/>
                </a:lnTo>
                <a:lnTo>
                  <a:pt x="1478182" y="1958411"/>
                </a:lnTo>
                <a:lnTo>
                  <a:pt x="1458544" y="1978048"/>
                </a:lnTo>
                <a:lnTo>
                  <a:pt x="1441020" y="1995858"/>
                </a:lnTo>
                <a:lnTo>
                  <a:pt x="1437394" y="1999512"/>
                </a:lnTo>
                <a:lnTo>
                  <a:pt x="1434222" y="2002709"/>
                </a:lnTo>
                <a:lnTo>
                  <a:pt x="1432560" y="2004383"/>
                </a:lnTo>
                <a:lnTo>
                  <a:pt x="1430294" y="2006667"/>
                </a:lnTo>
                <a:lnTo>
                  <a:pt x="1418813" y="2018084"/>
                </a:lnTo>
                <a:lnTo>
                  <a:pt x="1415943" y="2020976"/>
                </a:lnTo>
                <a:lnTo>
                  <a:pt x="1405217" y="2031937"/>
                </a:lnTo>
                <a:lnTo>
                  <a:pt x="1402649" y="2034524"/>
                </a:lnTo>
                <a:lnTo>
                  <a:pt x="1380140" y="2057206"/>
                </a:lnTo>
                <a:lnTo>
                  <a:pt x="1346754" y="2090849"/>
                </a:lnTo>
                <a:lnTo>
                  <a:pt x="1183905" y="2254798"/>
                </a:lnTo>
                <a:lnTo>
                  <a:pt x="523444" y="2920338"/>
                </a:lnTo>
                <a:cubicBezTo>
                  <a:pt x="518761" y="2925057"/>
                  <a:pt x="513776" y="2929776"/>
                  <a:pt x="508791" y="2934038"/>
                </a:cubicBezTo>
                <a:cubicBezTo>
                  <a:pt x="491871" y="2949109"/>
                  <a:pt x="473592" y="2962048"/>
                  <a:pt x="454406" y="2972552"/>
                </a:cubicBezTo>
                <a:cubicBezTo>
                  <a:pt x="434164" y="2983969"/>
                  <a:pt x="413014" y="2992646"/>
                  <a:pt x="391261" y="2998887"/>
                </a:cubicBezTo>
                <a:cubicBezTo>
                  <a:pt x="361501" y="3007564"/>
                  <a:pt x="330684" y="3011522"/>
                  <a:pt x="300168" y="3010761"/>
                </a:cubicBezTo>
                <a:cubicBezTo>
                  <a:pt x="287781" y="3010609"/>
                  <a:pt x="275545" y="3009543"/>
                  <a:pt x="263308" y="3007869"/>
                </a:cubicBezTo>
                <a:cubicBezTo>
                  <a:pt x="251827" y="3006194"/>
                  <a:pt x="240497" y="3003911"/>
                  <a:pt x="229318" y="3000866"/>
                </a:cubicBezTo>
                <a:cubicBezTo>
                  <a:pt x="226448" y="3000257"/>
                  <a:pt x="223729" y="2999496"/>
                  <a:pt x="221010" y="2998583"/>
                </a:cubicBezTo>
                <a:cubicBezTo>
                  <a:pt x="209226" y="2995234"/>
                  <a:pt x="197594" y="2990972"/>
                  <a:pt x="186264" y="2986100"/>
                </a:cubicBezTo>
                <a:cubicBezTo>
                  <a:pt x="173424" y="2980620"/>
                  <a:pt x="160735" y="2974074"/>
                  <a:pt x="148649" y="2966615"/>
                </a:cubicBezTo>
                <a:cubicBezTo>
                  <a:pt x="134600" y="2958090"/>
                  <a:pt x="121306" y="2948500"/>
                  <a:pt x="108617" y="2937540"/>
                </a:cubicBezTo>
                <a:cubicBezTo>
                  <a:pt x="102121" y="2932059"/>
                  <a:pt x="95927" y="2926275"/>
                  <a:pt x="89885" y="2920186"/>
                </a:cubicBezTo>
                <a:cubicBezTo>
                  <a:pt x="76741" y="2906942"/>
                  <a:pt x="64958" y="2892632"/>
                  <a:pt x="54837" y="2877714"/>
                </a:cubicBezTo>
                <a:cubicBezTo>
                  <a:pt x="53931" y="2876648"/>
                  <a:pt x="53175" y="2875431"/>
                  <a:pt x="52420" y="2874213"/>
                </a:cubicBezTo>
                <a:cubicBezTo>
                  <a:pt x="48794" y="2869037"/>
                  <a:pt x="45471" y="2863709"/>
                  <a:pt x="42450" y="2858381"/>
                </a:cubicBezTo>
                <a:cubicBezTo>
                  <a:pt x="37011" y="2849247"/>
                  <a:pt x="32177" y="2839962"/>
                  <a:pt x="27947" y="2830371"/>
                </a:cubicBezTo>
                <a:cubicBezTo>
                  <a:pt x="26134" y="2826566"/>
                  <a:pt x="24321" y="2822608"/>
                  <a:pt x="22811" y="2818650"/>
                </a:cubicBezTo>
                <a:cubicBezTo>
                  <a:pt x="14502" y="2798099"/>
                  <a:pt x="8460" y="2776939"/>
                  <a:pt x="4683" y="2755475"/>
                </a:cubicBezTo>
                <a:cubicBezTo>
                  <a:pt x="1510" y="2737664"/>
                  <a:pt x="0" y="2719702"/>
                  <a:pt x="0" y="2701739"/>
                </a:cubicBezTo>
                <a:cubicBezTo>
                  <a:pt x="0" y="2622885"/>
                  <a:pt x="30062" y="2543726"/>
                  <a:pt x="89885" y="2483444"/>
                </a:cubicBezTo>
                <a:lnTo>
                  <a:pt x="2539119" y="15223"/>
                </a:lnTo>
                <a:lnTo>
                  <a:pt x="2539573" y="14766"/>
                </a:lnTo>
                <a:lnTo>
                  <a:pt x="2554226" y="0"/>
                </a:lnTo>
                <a:lnTo>
                  <a:pt x="3421800" y="0"/>
                </a:lnTo>
                <a:close/>
              </a:path>
            </a:pathLst>
          </a:custGeom>
          <a:solidFill>
            <a:schemeClr val="bg2">
              <a:lumMod val="75000"/>
            </a:schemeClr>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3" name="Freeform: Shape 52">
            <a:extLst>
              <a:ext uri="{FF2B5EF4-FFF2-40B4-BE49-F238E27FC236}">
                <a16:creationId xmlns:a16="http://schemas.microsoft.com/office/drawing/2014/main" id="{B4A5971E-C926-7EB1-96BE-3E0F4935205C}"/>
              </a:ext>
            </a:extLst>
          </p:cNvPr>
          <p:cNvSpPr/>
          <p:nvPr userDrawn="1"/>
        </p:nvSpPr>
        <p:spPr>
          <a:xfrm>
            <a:off x="7866240" y="0"/>
            <a:ext cx="3421799" cy="3010853"/>
          </a:xfrm>
          <a:custGeom>
            <a:avLst/>
            <a:gdLst>
              <a:gd name="connsiteX0" fmla="*/ 3421800 w 3421799"/>
              <a:gd name="connsiteY0" fmla="*/ 0 h 3010853"/>
              <a:gd name="connsiteX1" fmla="*/ 3218616 w 3421799"/>
              <a:gd name="connsiteY1" fmla="*/ 204746 h 3010853"/>
              <a:gd name="connsiteX2" fmla="*/ 1644204 w 3421799"/>
              <a:gd name="connsiteY2" fmla="*/ 1791112 h 3010853"/>
              <a:gd name="connsiteX3" fmla="*/ 1532868 w 3421799"/>
              <a:gd name="connsiteY3" fmla="*/ 1903304 h 3010853"/>
              <a:gd name="connsiteX4" fmla="*/ 1527279 w 3421799"/>
              <a:gd name="connsiteY4" fmla="*/ 1908784 h 3010853"/>
              <a:gd name="connsiteX5" fmla="*/ 1525466 w 3421799"/>
              <a:gd name="connsiteY5" fmla="*/ 1910763 h 3010853"/>
              <a:gd name="connsiteX6" fmla="*/ 1478182 w 3421799"/>
              <a:gd name="connsiteY6" fmla="*/ 1958411 h 3010853"/>
              <a:gd name="connsiteX7" fmla="*/ 1458544 w 3421799"/>
              <a:gd name="connsiteY7" fmla="*/ 1978048 h 3010853"/>
              <a:gd name="connsiteX8" fmla="*/ 1441020 w 3421799"/>
              <a:gd name="connsiteY8" fmla="*/ 1995858 h 3010853"/>
              <a:gd name="connsiteX9" fmla="*/ 1437394 w 3421799"/>
              <a:gd name="connsiteY9" fmla="*/ 1999512 h 3010853"/>
              <a:gd name="connsiteX10" fmla="*/ 1434222 w 3421799"/>
              <a:gd name="connsiteY10" fmla="*/ 2002709 h 3010853"/>
              <a:gd name="connsiteX11" fmla="*/ 1432560 w 3421799"/>
              <a:gd name="connsiteY11" fmla="*/ 2004383 h 3010853"/>
              <a:gd name="connsiteX12" fmla="*/ 1430294 w 3421799"/>
              <a:gd name="connsiteY12" fmla="*/ 2006667 h 3010853"/>
              <a:gd name="connsiteX13" fmla="*/ 1418813 w 3421799"/>
              <a:gd name="connsiteY13" fmla="*/ 2018084 h 3010853"/>
              <a:gd name="connsiteX14" fmla="*/ 1415943 w 3421799"/>
              <a:gd name="connsiteY14" fmla="*/ 2020976 h 3010853"/>
              <a:gd name="connsiteX15" fmla="*/ 1405217 w 3421799"/>
              <a:gd name="connsiteY15" fmla="*/ 2031937 h 3010853"/>
              <a:gd name="connsiteX16" fmla="*/ 1402649 w 3421799"/>
              <a:gd name="connsiteY16" fmla="*/ 2034524 h 3010853"/>
              <a:gd name="connsiteX17" fmla="*/ 1380140 w 3421799"/>
              <a:gd name="connsiteY17" fmla="*/ 2057206 h 3010853"/>
              <a:gd name="connsiteX18" fmla="*/ 1346754 w 3421799"/>
              <a:gd name="connsiteY18" fmla="*/ 2090849 h 3010853"/>
              <a:gd name="connsiteX19" fmla="*/ 1183905 w 3421799"/>
              <a:gd name="connsiteY19" fmla="*/ 2254798 h 3010853"/>
              <a:gd name="connsiteX20" fmla="*/ 523444 w 3421799"/>
              <a:gd name="connsiteY20" fmla="*/ 2920338 h 3010853"/>
              <a:gd name="connsiteX21" fmla="*/ 508791 w 3421799"/>
              <a:gd name="connsiteY21" fmla="*/ 2934038 h 3010853"/>
              <a:gd name="connsiteX22" fmla="*/ 454406 w 3421799"/>
              <a:gd name="connsiteY22" fmla="*/ 2972552 h 3010853"/>
              <a:gd name="connsiteX23" fmla="*/ 391261 w 3421799"/>
              <a:gd name="connsiteY23" fmla="*/ 2998887 h 3010853"/>
              <a:gd name="connsiteX24" fmla="*/ 300168 w 3421799"/>
              <a:gd name="connsiteY24" fmla="*/ 3010761 h 3010853"/>
              <a:gd name="connsiteX25" fmla="*/ 263308 w 3421799"/>
              <a:gd name="connsiteY25" fmla="*/ 3007869 h 3010853"/>
              <a:gd name="connsiteX26" fmla="*/ 229318 w 3421799"/>
              <a:gd name="connsiteY26" fmla="*/ 3000866 h 3010853"/>
              <a:gd name="connsiteX27" fmla="*/ 221010 w 3421799"/>
              <a:gd name="connsiteY27" fmla="*/ 2998583 h 3010853"/>
              <a:gd name="connsiteX28" fmla="*/ 186264 w 3421799"/>
              <a:gd name="connsiteY28" fmla="*/ 2986100 h 3010853"/>
              <a:gd name="connsiteX29" fmla="*/ 148649 w 3421799"/>
              <a:gd name="connsiteY29" fmla="*/ 2966615 h 3010853"/>
              <a:gd name="connsiteX30" fmla="*/ 108617 w 3421799"/>
              <a:gd name="connsiteY30" fmla="*/ 2937540 h 3010853"/>
              <a:gd name="connsiteX31" fmla="*/ 89885 w 3421799"/>
              <a:gd name="connsiteY31" fmla="*/ 2920186 h 3010853"/>
              <a:gd name="connsiteX32" fmla="*/ 54837 w 3421799"/>
              <a:gd name="connsiteY32" fmla="*/ 2877714 h 3010853"/>
              <a:gd name="connsiteX33" fmla="*/ 52420 w 3421799"/>
              <a:gd name="connsiteY33" fmla="*/ 2874213 h 3010853"/>
              <a:gd name="connsiteX34" fmla="*/ 42450 w 3421799"/>
              <a:gd name="connsiteY34" fmla="*/ 2858381 h 3010853"/>
              <a:gd name="connsiteX35" fmla="*/ 27947 w 3421799"/>
              <a:gd name="connsiteY35" fmla="*/ 2830371 h 3010853"/>
              <a:gd name="connsiteX36" fmla="*/ 22811 w 3421799"/>
              <a:gd name="connsiteY36" fmla="*/ 2818650 h 3010853"/>
              <a:gd name="connsiteX37" fmla="*/ 4683 w 3421799"/>
              <a:gd name="connsiteY37" fmla="*/ 2755475 h 3010853"/>
              <a:gd name="connsiteX38" fmla="*/ 0 w 3421799"/>
              <a:gd name="connsiteY38" fmla="*/ 2701739 h 3010853"/>
              <a:gd name="connsiteX39" fmla="*/ 89885 w 3421799"/>
              <a:gd name="connsiteY39" fmla="*/ 2483444 h 3010853"/>
              <a:gd name="connsiteX40" fmla="*/ 2539119 w 3421799"/>
              <a:gd name="connsiteY40" fmla="*/ 15223 h 3010853"/>
              <a:gd name="connsiteX41" fmla="*/ 2539573 w 3421799"/>
              <a:gd name="connsiteY41" fmla="*/ 14766 h 3010853"/>
              <a:gd name="connsiteX42" fmla="*/ 2554226 w 3421799"/>
              <a:gd name="connsiteY42" fmla="*/ 0 h 3010853"/>
              <a:gd name="connsiteX43" fmla="*/ 3421800 w 3421799"/>
              <a:gd name="connsiteY43" fmla="*/ 0 h 301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21799" h="3010853">
                <a:moveTo>
                  <a:pt x="3421800" y="0"/>
                </a:moveTo>
                <a:lnTo>
                  <a:pt x="3218616" y="204746"/>
                </a:lnTo>
                <a:lnTo>
                  <a:pt x="1644204" y="1791112"/>
                </a:lnTo>
                <a:lnTo>
                  <a:pt x="1532868" y="1903304"/>
                </a:lnTo>
                <a:lnTo>
                  <a:pt x="1527279" y="1908784"/>
                </a:lnTo>
                <a:lnTo>
                  <a:pt x="1525466" y="1910763"/>
                </a:lnTo>
                <a:lnTo>
                  <a:pt x="1478182" y="1958411"/>
                </a:lnTo>
                <a:lnTo>
                  <a:pt x="1458544" y="1978048"/>
                </a:lnTo>
                <a:lnTo>
                  <a:pt x="1441020" y="1995858"/>
                </a:lnTo>
                <a:lnTo>
                  <a:pt x="1437394" y="1999512"/>
                </a:lnTo>
                <a:lnTo>
                  <a:pt x="1434222" y="2002709"/>
                </a:lnTo>
                <a:lnTo>
                  <a:pt x="1432560" y="2004383"/>
                </a:lnTo>
                <a:lnTo>
                  <a:pt x="1430294" y="2006667"/>
                </a:lnTo>
                <a:lnTo>
                  <a:pt x="1418813" y="2018084"/>
                </a:lnTo>
                <a:lnTo>
                  <a:pt x="1415943" y="2020976"/>
                </a:lnTo>
                <a:lnTo>
                  <a:pt x="1405217" y="2031937"/>
                </a:lnTo>
                <a:lnTo>
                  <a:pt x="1402649" y="2034524"/>
                </a:lnTo>
                <a:lnTo>
                  <a:pt x="1380140" y="2057206"/>
                </a:lnTo>
                <a:lnTo>
                  <a:pt x="1346754" y="2090849"/>
                </a:lnTo>
                <a:lnTo>
                  <a:pt x="1183905" y="2254798"/>
                </a:lnTo>
                <a:lnTo>
                  <a:pt x="523444" y="2920338"/>
                </a:lnTo>
                <a:cubicBezTo>
                  <a:pt x="518761" y="2925057"/>
                  <a:pt x="513776" y="2929776"/>
                  <a:pt x="508791" y="2934038"/>
                </a:cubicBezTo>
                <a:cubicBezTo>
                  <a:pt x="491871" y="2949109"/>
                  <a:pt x="473592" y="2962048"/>
                  <a:pt x="454406" y="2972552"/>
                </a:cubicBezTo>
                <a:cubicBezTo>
                  <a:pt x="434164" y="2983969"/>
                  <a:pt x="413014" y="2992646"/>
                  <a:pt x="391261" y="2998887"/>
                </a:cubicBezTo>
                <a:cubicBezTo>
                  <a:pt x="361501" y="3007564"/>
                  <a:pt x="330684" y="3011522"/>
                  <a:pt x="300168" y="3010761"/>
                </a:cubicBezTo>
                <a:cubicBezTo>
                  <a:pt x="287781" y="3010609"/>
                  <a:pt x="275545" y="3009543"/>
                  <a:pt x="263308" y="3007869"/>
                </a:cubicBezTo>
                <a:cubicBezTo>
                  <a:pt x="251827" y="3006194"/>
                  <a:pt x="240497" y="3003911"/>
                  <a:pt x="229318" y="3000866"/>
                </a:cubicBezTo>
                <a:cubicBezTo>
                  <a:pt x="226448" y="3000257"/>
                  <a:pt x="223729" y="2999496"/>
                  <a:pt x="221010" y="2998583"/>
                </a:cubicBezTo>
                <a:cubicBezTo>
                  <a:pt x="209226" y="2995234"/>
                  <a:pt x="197594" y="2990972"/>
                  <a:pt x="186264" y="2986100"/>
                </a:cubicBezTo>
                <a:cubicBezTo>
                  <a:pt x="173424" y="2980620"/>
                  <a:pt x="160735" y="2974074"/>
                  <a:pt x="148649" y="2966615"/>
                </a:cubicBezTo>
                <a:cubicBezTo>
                  <a:pt x="134600" y="2958090"/>
                  <a:pt x="121306" y="2948500"/>
                  <a:pt x="108617" y="2937540"/>
                </a:cubicBezTo>
                <a:cubicBezTo>
                  <a:pt x="102121" y="2932059"/>
                  <a:pt x="95927" y="2926275"/>
                  <a:pt x="89885" y="2920186"/>
                </a:cubicBezTo>
                <a:cubicBezTo>
                  <a:pt x="76741" y="2906942"/>
                  <a:pt x="64958" y="2892632"/>
                  <a:pt x="54837" y="2877714"/>
                </a:cubicBezTo>
                <a:cubicBezTo>
                  <a:pt x="53931" y="2876648"/>
                  <a:pt x="53175" y="2875431"/>
                  <a:pt x="52420" y="2874213"/>
                </a:cubicBezTo>
                <a:cubicBezTo>
                  <a:pt x="48794" y="2869037"/>
                  <a:pt x="45471" y="2863709"/>
                  <a:pt x="42450" y="2858381"/>
                </a:cubicBezTo>
                <a:cubicBezTo>
                  <a:pt x="37011" y="2849247"/>
                  <a:pt x="32177" y="2839962"/>
                  <a:pt x="27947" y="2830371"/>
                </a:cubicBezTo>
                <a:cubicBezTo>
                  <a:pt x="26134" y="2826566"/>
                  <a:pt x="24321" y="2822608"/>
                  <a:pt x="22811" y="2818650"/>
                </a:cubicBezTo>
                <a:cubicBezTo>
                  <a:pt x="14502" y="2798099"/>
                  <a:pt x="8460" y="2776939"/>
                  <a:pt x="4683" y="2755475"/>
                </a:cubicBezTo>
                <a:cubicBezTo>
                  <a:pt x="1510" y="2737664"/>
                  <a:pt x="0" y="2719702"/>
                  <a:pt x="0" y="2701739"/>
                </a:cubicBezTo>
                <a:cubicBezTo>
                  <a:pt x="0" y="2622885"/>
                  <a:pt x="30062" y="2543726"/>
                  <a:pt x="89885" y="2483444"/>
                </a:cubicBezTo>
                <a:lnTo>
                  <a:pt x="2539119" y="15223"/>
                </a:lnTo>
                <a:lnTo>
                  <a:pt x="2539573" y="14766"/>
                </a:lnTo>
                <a:lnTo>
                  <a:pt x="2554226" y="0"/>
                </a:lnTo>
                <a:lnTo>
                  <a:pt x="3421800" y="0"/>
                </a:lnTo>
                <a:close/>
              </a:path>
            </a:pathLst>
          </a:custGeom>
          <a:solidFill>
            <a:schemeClr val="bg2">
              <a:lumMod val="40000"/>
              <a:lumOff val="60000"/>
            </a:schemeClr>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4" name="Freeform: Shape 53">
            <a:extLst>
              <a:ext uri="{FF2B5EF4-FFF2-40B4-BE49-F238E27FC236}">
                <a16:creationId xmlns:a16="http://schemas.microsoft.com/office/drawing/2014/main" id="{CF0010AD-8BCC-BAB1-B675-432AAAC03DE9}"/>
              </a:ext>
            </a:extLst>
          </p:cNvPr>
          <p:cNvSpPr/>
          <p:nvPr userDrawn="1"/>
        </p:nvSpPr>
        <p:spPr bwMode="auto">
          <a:xfrm>
            <a:off x="10037674" y="5143264"/>
            <a:ext cx="2154324" cy="1714738"/>
          </a:xfrm>
          <a:custGeom>
            <a:avLst/>
            <a:gdLst>
              <a:gd name="connsiteX0" fmla="*/ 2888852 w 3415294"/>
              <a:gd name="connsiteY0" fmla="*/ 300 h 2718409"/>
              <a:gd name="connsiteX1" fmla="*/ 3304412 w 3415294"/>
              <a:gd name="connsiteY1" fmla="*/ 36934 h 2718409"/>
              <a:gd name="connsiteX2" fmla="*/ 3415294 w 3415294"/>
              <a:gd name="connsiteY2" fmla="*/ 59097 h 2718409"/>
              <a:gd name="connsiteX3" fmla="*/ 3415294 w 3415294"/>
              <a:gd name="connsiteY3" fmla="*/ 2718408 h 2718409"/>
              <a:gd name="connsiteX4" fmla="*/ 0 w 3415294"/>
              <a:gd name="connsiteY4" fmla="*/ 2718409 h 2718409"/>
              <a:gd name="connsiteX5" fmla="*/ 8722 w 3415294"/>
              <a:gd name="connsiteY5" fmla="*/ 2567144 h 2718409"/>
              <a:gd name="connsiteX6" fmla="*/ 1769804 w 3415294"/>
              <a:gd name="connsiteY6" fmla="*/ 212769 h 2718409"/>
              <a:gd name="connsiteX7" fmla="*/ 2888852 w 3415294"/>
              <a:gd name="connsiteY7" fmla="*/ 300 h 271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5294" h="2718409">
                <a:moveTo>
                  <a:pt x="2888852" y="300"/>
                </a:moveTo>
                <a:cubicBezTo>
                  <a:pt x="3028685" y="2337"/>
                  <a:pt x="3167559" y="14697"/>
                  <a:pt x="3304412" y="36934"/>
                </a:cubicBezTo>
                <a:lnTo>
                  <a:pt x="3415294" y="59097"/>
                </a:lnTo>
                <a:lnTo>
                  <a:pt x="3415294" y="2718408"/>
                </a:lnTo>
                <a:lnTo>
                  <a:pt x="0" y="2718409"/>
                </a:lnTo>
                <a:lnTo>
                  <a:pt x="8722" y="2567144"/>
                </a:lnTo>
                <a:cubicBezTo>
                  <a:pt x="117078" y="1549592"/>
                  <a:pt x="762084" y="625039"/>
                  <a:pt x="1769804" y="212769"/>
                </a:cubicBezTo>
                <a:cubicBezTo>
                  <a:pt x="2136248" y="62853"/>
                  <a:pt x="2515962" y="-5131"/>
                  <a:pt x="2888852" y="300"/>
                </a:cubicBezTo>
                <a:close/>
              </a:path>
            </a:pathLst>
          </a:custGeom>
          <a:gradFill>
            <a:gsLst>
              <a:gs pos="0">
                <a:schemeClr val="bg2"/>
              </a:gs>
              <a:gs pos="44000">
                <a:schemeClr val="bg2">
                  <a:lumMod val="75000"/>
                </a:schemeClr>
              </a:gs>
              <a:gs pos="100000">
                <a:schemeClr val="bg2">
                  <a:lumMod val="50000"/>
                </a:schemeClr>
              </a:gs>
            </a:gsLst>
            <a:lin ang="9497293" scaled="1"/>
          </a:gradFill>
          <a:ln w="14405" cap="flat">
            <a:noFill/>
            <a:prstDash val="solid"/>
            <a:miter/>
          </a:ln>
        </p:spPr>
        <p:txBody>
          <a:bodyPr rtlCol="0" anchor="ctr"/>
          <a:lstStyle/>
          <a:p>
            <a:pPr lvl="0"/>
            <a:endParaRPr lang="en-IN" err="1"/>
          </a:p>
        </p:txBody>
      </p:sp>
      <p:sp>
        <p:nvSpPr>
          <p:cNvPr id="55" name="Freeform: Shape 54">
            <a:extLst>
              <a:ext uri="{FF2B5EF4-FFF2-40B4-BE49-F238E27FC236}">
                <a16:creationId xmlns:a16="http://schemas.microsoft.com/office/drawing/2014/main" id="{2350FA3A-9418-169D-0B4E-5633D8D2FF61}"/>
              </a:ext>
            </a:extLst>
          </p:cNvPr>
          <p:cNvSpPr/>
          <p:nvPr userDrawn="1"/>
        </p:nvSpPr>
        <p:spPr bwMode="auto">
          <a:xfrm>
            <a:off x="7772400" y="3429000"/>
            <a:ext cx="3390900" cy="3390900"/>
          </a:xfrm>
          <a:custGeom>
            <a:avLst/>
            <a:gdLst>
              <a:gd name="connsiteX0" fmla="*/ 0 w 3390900"/>
              <a:gd name="connsiteY0" fmla="*/ 3390900 h 3390900"/>
              <a:gd name="connsiteX1" fmla="*/ 3390900 w 3390900"/>
              <a:gd name="connsiteY1" fmla="*/ 0 h 3390900"/>
            </a:gdLst>
            <a:ahLst/>
            <a:cxnLst>
              <a:cxn ang="0">
                <a:pos x="connsiteX0" y="connsiteY0"/>
              </a:cxn>
              <a:cxn ang="0">
                <a:pos x="connsiteX1" y="connsiteY1"/>
              </a:cxn>
            </a:cxnLst>
            <a:rect l="l" t="t" r="r" b="b"/>
            <a:pathLst>
              <a:path w="3390900" h="3390900">
                <a:moveTo>
                  <a:pt x="0" y="3390900"/>
                </a:moveTo>
                <a:lnTo>
                  <a:pt x="3390900"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56" name="Freeform: Shape 55">
            <a:extLst>
              <a:ext uri="{FF2B5EF4-FFF2-40B4-BE49-F238E27FC236}">
                <a16:creationId xmlns:a16="http://schemas.microsoft.com/office/drawing/2014/main" id="{8D3EBD54-B077-7697-1C73-DC5A7814BD80}"/>
              </a:ext>
            </a:extLst>
          </p:cNvPr>
          <p:cNvSpPr/>
          <p:nvPr userDrawn="1"/>
        </p:nvSpPr>
        <p:spPr bwMode="auto">
          <a:xfrm>
            <a:off x="8756162" y="5136060"/>
            <a:ext cx="1683840" cy="1683840"/>
          </a:xfrm>
          <a:custGeom>
            <a:avLst/>
            <a:gdLst>
              <a:gd name="connsiteX0" fmla="*/ 0 w 3390900"/>
              <a:gd name="connsiteY0" fmla="*/ 3390900 h 3390900"/>
              <a:gd name="connsiteX1" fmla="*/ 3390900 w 3390900"/>
              <a:gd name="connsiteY1" fmla="*/ 0 h 3390900"/>
            </a:gdLst>
            <a:ahLst/>
            <a:cxnLst>
              <a:cxn ang="0">
                <a:pos x="connsiteX0" y="connsiteY0"/>
              </a:cxn>
              <a:cxn ang="0">
                <a:pos x="connsiteX1" y="connsiteY1"/>
              </a:cxn>
            </a:cxnLst>
            <a:rect l="l" t="t" r="r" b="b"/>
            <a:pathLst>
              <a:path w="3390900" h="3390900">
                <a:moveTo>
                  <a:pt x="0" y="3390900"/>
                </a:moveTo>
                <a:lnTo>
                  <a:pt x="3390900"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57" name="Oval 56">
            <a:extLst>
              <a:ext uri="{FF2B5EF4-FFF2-40B4-BE49-F238E27FC236}">
                <a16:creationId xmlns:a16="http://schemas.microsoft.com/office/drawing/2014/main" id="{6EB1E19F-1239-4B84-69E3-2D99E76737AE}"/>
              </a:ext>
            </a:extLst>
          </p:cNvPr>
          <p:cNvSpPr/>
          <p:nvPr userDrawn="1"/>
        </p:nvSpPr>
        <p:spPr bwMode="auto">
          <a:xfrm>
            <a:off x="11103277" y="3140361"/>
            <a:ext cx="326173" cy="326173"/>
          </a:xfrm>
          <a:prstGeom prst="ellipse">
            <a:avLst/>
          </a:pr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err="1">
              <a:solidFill>
                <a:schemeClr val="lt1"/>
              </a:solidFill>
            </a:endParaRPr>
          </a:p>
        </p:txBody>
      </p:sp>
      <p:sp>
        <p:nvSpPr>
          <p:cNvPr id="58" name="Oval 57">
            <a:extLst>
              <a:ext uri="{FF2B5EF4-FFF2-40B4-BE49-F238E27FC236}">
                <a16:creationId xmlns:a16="http://schemas.microsoft.com/office/drawing/2014/main" id="{E3A21227-43B0-7C8C-1E41-A556180B5BEC}"/>
              </a:ext>
            </a:extLst>
          </p:cNvPr>
          <p:cNvSpPr/>
          <p:nvPr userDrawn="1"/>
        </p:nvSpPr>
        <p:spPr bwMode="auto">
          <a:xfrm>
            <a:off x="10382330" y="4846845"/>
            <a:ext cx="326173" cy="326173"/>
          </a:xfrm>
          <a:prstGeom prst="ellipse">
            <a:avLst/>
          </a:pr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err="1">
              <a:solidFill>
                <a:schemeClr val="lt1"/>
              </a:solidFill>
            </a:endParaRPr>
          </a:p>
        </p:txBody>
      </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588263" y="3732514"/>
            <a:ext cx="3602737"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588263" y="4151724"/>
            <a:ext cx="3602737" cy="246221"/>
          </a:xfrm>
        </p:spPr>
        <p:txBody>
          <a:bodyPr/>
          <a:lstStyle>
            <a:lvl1pPr marL="0" indent="0">
              <a:buNone/>
              <a:defRPr sz="1600">
                <a:solidFill>
                  <a:schemeClr val="bg1"/>
                </a:solidFill>
              </a:defRPr>
            </a:lvl1pPr>
          </a:lstStyle>
          <a:p>
            <a:pPr lvl="0"/>
            <a:r>
              <a:rPr lang="en-US"/>
              <a:t>Contact information</a:t>
            </a:r>
          </a:p>
        </p:txBody>
      </p:sp>
      <p:sp>
        <p:nvSpPr>
          <p:cNvPr id="61" name="Title 1">
            <a:extLst>
              <a:ext uri="{FF2B5EF4-FFF2-40B4-BE49-F238E27FC236}">
                <a16:creationId xmlns:a16="http://schemas.microsoft.com/office/drawing/2014/main" id="{17482A62-8B42-5028-7BBC-B1DFC42E4F61}"/>
              </a:ext>
            </a:extLst>
          </p:cNvPr>
          <p:cNvSpPr>
            <a:spLocks noGrp="1"/>
          </p:cNvSpPr>
          <p:nvPr>
            <p:ph type="title" hasCustomPrompt="1"/>
          </p:nvPr>
        </p:nvSpPr>
        <p:spPr>
          <a:xfrm>
            <a:off x="588263" y="2386823"/>
            <a:ext cx="6784994" cy="73866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4800" b="0" i="0" u="none" strike="noStrike" kern="1200" cap="none" spc="0" normalizeH="0" baseline="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sp>
        <p:nvSpPr>
          <p:cNvPr id="62" name="Text Box 3" descr="This is a copyright notice that should be included on the final slide.">
            <a:extLst>
              <a:ext uri="{FF2B5EF4-FFF2-40B4-BE49-F238E27FC236}">
                <a16:creationId xmlns:a16="http://schemas.microsoft.com/office/drawing/2014/main" id="{8D9D1768-1022-E1A1-5B3A-9A615D69BFB3}"/>
              </a:ext>
            </a:extLst>
          </p:cNvPr>
          <p:cNvSpPr txBox="1">
            <a:spLocks noChangeArrowheads="1"/>
          </p:cNvSpPr>
          <p:nvPr userDrawn="1"/>
        </p:nvSpPr>
        <p:spPr bwMode="blackWhite">
          <a:xfrm>
            <a:off x="604894" y="6462131"/>
            <a:ext cx="567684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2" name="Picture 1" descr="A logo on a black background&#10;&#10;AI-generated content may be incorrect.">
            <a:extLst>
              <a:ext uri="{FF2B5EF4-FFF2-40B4-BE49-F238E27FC236}">
                <a16:creationId xmlns:a16="http://schemas.microsoft.com/office/drawing/2014/main" id="{FFE8371A-4CBD-FF0D-09B3-257ACF5E008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4025" y="451050"/>
            <a:ext cx="1901958" cy="852471"/>
          </a:xfrm>
          <a:prstGeom prst="rect">
            <a:avLst/>
          </a:prstGeom>
        </p:spPr>
      </p:pic>
    </p:spTree>
    <p:extLst>
      <p:ext uri="{BB962C8B-B14F-4D97-AF65-F5344CB8AC3E}">
        <p14:creationId xmlns:p14="http://schemas.microsoft.com/office/powerpoint/2010/main" val="39613722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hank you 4">
    <p:spTree>
      <p:nvGrpSpPr>
        <p:cNvPr id="1" name=""/>
        <p:cNvGrpSpPr/>
        <p:nvPr/>
      </p:nvGrpSpPr>
      <p:grpSpPr>
        <a:xfrm>
          <a:off x="0" y="0"/>
          <a:ext cx="0" cy="0"/>
          <a:chOff x="0" y="0"/>
          <a:chExt cx="0" cy="0"/>
        </a:xfrm>
      </p:grpSpPr>
      <p:sp>
        <p:nvSpPr>
          <p:cNvPr id="24" name="Freeform: Shape 7">
            <a:extLst>
              <a:ext uri="{FF2B5EF4-FFF2-40B4-BE49-F238E27FC236}">
                <a16:creationId xmlns:a16="http://schemas.microsoft.com/office/drawing/2014/main" id="{90DE383E-86C6-7313-3688-F727E45EB54E}"/>
              </a:ext>
            </a:extLst>
          </p:cNvPr>
          <p:cNvSpPr/>
          <p:nvPr userDrawn="1"/>
        </p:nvSpPr>
        <p:spPr>
          <a:xfrm flipH="1">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08DD4794-BB97-1F13-17FF-B07C100D9341}"/>
              </a:ext>
            </a:extLst>
          </p:cNvPr>
          <p:cNvSpPr/>
          <p:nvPr userDrawn="1"/>
        </p:nvSpPr>
        <p:spPr>
          <a:xfrm>
            <a:off x="558231" y="1036503"/>
            <a:ext cx="6329078" cy="5821497"/>
          </a:xfrm>
          <a:custGeom>
            <a:avLst/>
            <a:gdLst>
              <a:gd name="connsiteX0" fmla="*/ 4425471 w 4425470"/>
              <a:gd name="connsiteY0" fmla="*/ 4104417 h 4104416"/>
              <a:gd name="connsiteX1" fmla="*/ 3783256 w 4425470"/>
              <a:gd name="connsiteY1" fmla="*/ 4104417 h 4104416"/>
              <a:gd name="connsiteX2" fmla="*/ 1842581 w 4425470"/>
              <a:gd name="connsiteY2" fmla="*/ 2163921 h 4104416"/>
              <a:gd name="connsiteX3" fmla="*/ 938264 w 4425470"/>
              <a:gd name="connsiteY3" fmla="*/ 1259604 h 4104416"/>
              <a:gd name="connsiteX4" fmla="*/ 300726 w 4425470"/>
              <a:gd name="connsiteY4" fmla="*/ 622067 h 4104416"/>
              <a:gd name="connsiteX5" fmla="*/ 66327 w 4425470"/>
              <a:gd name="connsiteY5" fmla="*/ 387667 h 4104416"/>
              <a:gd name="connsiteX6" fmla="*/ 15597 w 4425470"/>
              <a:gd name="connsiteY6" fmla="*/ 144093 h 4104416"/>
              <a:gd name="connsiteX7" fmla="*/ 26571 w 4425470"/>
              <a:gd name="connsiteY7" fmla="*/ 120528 h 4104416"/>
              <a:gd name="connsiteX8" fmla="*/ 48338 w 4425470"/>
              <a:gd name="connsiteY8" fmla="*/ 87247 h 4104416"/>
              <a:gd name="connsiteX9" fmla="*/ 66327 w 4425470"/>
              <a:gd name="connsiteY9" fmla="*/ 66560 h 4104416"/>
              <a:gd name="connsiteX10" fmla="*/ 226971 w 4425470"/>
              <a:gd name="connsiteY10" fmla="*/ 0 h 4104416"/>
              <a:gd name="connsiteX11" fmla="*/ 387434 w 4425470"/>
              <a:gd name="connsiteY11" fmla="*/ 66560 h 4104416"/>
              <a:gd name="connsiteX12" fmla="*/ 920994 w 4425470"/>
              <a:gd name="connsiteY12" fmla="*/ 600120 h 4104416"/>
              <a:gd name="connsiteX13" fmla="*/ 2047298 w 4425470"/>
              <a:gd name="connsiteY13" fmla="*/ 1726244 h 4104416"/>
              <a:gd name="connsiteX14" fmla="*/ 4425471 w 4425470"/>
              <a:gd name="connsiteY14" fmla="*/ 4104417 h 410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25470" h="4104416">
                <a:moveTo>
                  <a:pt x="4425471" y="4104417"/>
                </a:moveTo>
                <a:lnTo>
                  <a:pt x="3783256" y="4104417"/>
                </a:lnTo>
                <a:lnTo>
                  <a:pt x="1842581" y="2163921"/>
                </a:lnTo>
                <a:lnTo>
                  <a:pt x="938264" y="1259604"/>
                </a:lnTo>
                <a:lnTo>
                  <a:pt x="300726" y="622067"/>
                </a:lnTo>
                <a:lnTo>
                  <a:pt x="66327" y="387667"/>
                </a:lnTo>
                <a:cubicBezTo>
                  <a:pt x="666" y="321827"/>
                  <a:pt x="-16244" y="225584"/>
                  <a:pt x="15597" y="144093"/>
                </a:cubicBezTo>
                <a:cubicBezTo>
                  <a:pt x="18835" y="135998"/>
                  <a:pt x="22433" y="128083"/>
                  <a:pt x="26571" y="120528"/>
                </a:cubicBezTo>
                <a:cubicBezTo>
                  <a:pt x="32507" y="109015"/>
                  <a:pt x="39703" y="97861"/>
                  <a:pt x="48338" y="87247"/>
                </a:cubicBezTo>
                <a:cubicBezTo>
                  <a:pt x="53734" y="80052"/>
                  <a:pt x="59671" y="73216"/>
                  <a:pt x="66327" y="66560"/>
                </a:cubicBezTo>
                <a:cubicBezTo>
                  <a:pt x="110760" y="22127"/>
                  <a:pt x="168685" y="0"/>
                  <a:pt x="226971" y="0"/>
                </a:cubicBezTo>
                <a:cubicBezTo>
                  <a:pt x="285256" y="0"/>
                  <a:pt x="343181" y="22127"/>
                  <a:pt x="387434" y="66560"/>
                </a:cubicBezTo>
                <a:lnTo>
                  <a:pt x="920994" y="600120"/>
                </a:lnTo>
                <a:lnTo>
                  <a:pt x="2047298" y="1726244"/>
                </a:lnTo>
                <a:lnTo>
                  <a:pt x="4425471" y="4104417"/>
                </a:lnTo>
                <a:close/>
              </a:path>
            </a:pathLst>
          </a:custGeom>
          <a:gradFill>
            <a:gsLst>
              <a:gs pos="0">
                <a:srgbClr val="0098FF"/>
              </a:gs>
              <a:gs pos="50000">
                <a:srgbClr val="00BCFF"/>
              </a:gs>
              <a:gs pos="100000">
                <a:srgbClr val="00E1FF"/>
              </a:gs>
            </a:gsLst>
            <a:lin ang="13500053"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5">
            <a:extLst>
              <a:ext uri="{FF2B5EF4-FFF2-40B4-BE49-F238E27FC236}">
                <a16:creationId xmlns:a16="http://schemas.microsoft.com/office/drawing/2014/main" id="{37028EF9-46F2-7F9A-5FC9-1296915A9616}"/>
              </a:ext>
            </a:extLst>
          </p:cNvPr>
          <p:cNvSpPr/>
          <p:nvPr userDrawn="1"/>
        </p:nvSpPr>
        <p:spPr>
          <a:xfrm>
            <a:off x="2093105" y="4667028"/>
            <a:ext cx="2280910" cy="2190970"/>
          </a:xfrm>
          <a:custGeom>
            <a:avLst/>
            <a:gdLst>
              <a:gd name="connsiteX0" fmla="*/ 1594878 w 1594877"/>
              <a:gd name="connsiteY0" fmla="*/ 1544733 h 1544732"/>
              <a:gd name="connsiteX1" fmla="*/ 1494678 w 1594877"/>
              <a:gd name="connsiteY1" fmla="*/ 1544733 h 1544732"/>
              <a:gd name="connsiteX2" fmla="*/ 10389 w 1594877"/>
              <a:gd name="connsiteY2" fmla="*/ 60444 h 1544732"/>
              <a:gd name="connsiteX3" fmla="*/ 10389 w 1594877"/>
              <a:gd name="connsiteY3" fmla="*/ 10433 h 1544732"/>
              <a:gd name="connsiteX4" fmla="*/ 35394 w 1594877"/>
              <a:gd name="connsiteY4" fmla="*/ 0 h 1544732"/>
              <a:gd name="connsiteX5" fmla="*/ 60399 w 1594877"/>
              <a:gd name="connsiteY5" fmla="*/ 10433 h 1544732"/>
              <a:gd name="connsiteX6" fmla="*/ 358120 w 1594877"/>
              <a:gd name="connsiteY6" fmla="*/ 308155 h 1544732"/>
              <a:gd name="connsiteX7" fmla="*/ 1594878 w 1594877"/>
              <a:gd name="connsiteY7" fmla="*/ 1544733 h 1544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4877" h="1544732">
                <a:moveTo>
                  <a:pt x="1594878" y="1544733"/>
                </a:moveTo>
                <a:lnTo>
                  <a:pt x="1494678" y="1544733"/>
                </a:lnTo>
                <a:lnTo>
                  <a:pt x="10389" y="60444"/>
                </a:lnTo>
                <a:cubicBezTo>
                  <a:pt x="-3463" y="46592"/>
                  <a:pt x="-3463" y="24286"/>
                  <a:pt x="10389" y="10433"/>
                </a:cubicBezTo>
                <a:cubicBezTo>
                  <a:pt x="17225" y="3598"/>
                  <a:pt x="26399" y="0"/>
                  <a:pt x="35394" y="0"/>
                </a:cubicBezTo>
                <a:cubicBezTo>
                  <a:pt x="44388" y="0"/>
                  <a:pt x="53563" y="3598"/>
                  <a:pt x="60399" y="10433"/>
                </a:cubicBezTo>
                <a:lnTo>
                  <a:pt x="358120" y="308155"/>
                </a:lnTo>
                <a:lnTo>
                  <a:pt x="1594878" y="1544733"/>
                </a:ln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Shape 29">
            <a:extLst>
              <a:ext uri="{FF2B5EF4-FFF2-40B4-BE49-F238E27FC236}">
                <a16:creationId xmlns:a16="http://schemas.microsoft.com/office/drawing/2014/main" id="{45C5CFDC-58FD-7A81-3E72-2682868C5F27}"/>
              </a:ext>
            </a:extLst>
          </p:cNvPr>
          <p:cNvSpPr/>
          <p:nvPr userDrawn="1"/>
        </p:nvSpPr>
        <p:spPr>
          <a:xfrm>
            <a:off x="4999575" y="4109909"/>
            <a:ext cx="1241337" cy="1231098"/>
          </a:xfrm>
          <a:custGeom>
            <a:avLst/>
            <a:gdLst>
              <a:gd name="connsiteX0" fmla="*/ 855836 w 867978"/>
              <a:gd name="connsiteY0" fmla="*/ 855836 h 867979"/>
              <a:gd name="connsiteX1" fmla="*/ 855836 w 867978"/>
              <a:gd name="connsiteY1" fmla="*/ 855836 h 867979"/>
              <a:gd name="connsiteX2" fmla="*/ 797551 w 867978"/>
              <a:gd name="connsiteY2" fmla="*/ 855836 h 867979"/>
              <a:gd name="connsiteX3" fmla="*/ 12143 w 867978"/>
              <a:gd name="connsiteY3" fmla="*/ 70427 h 867979"/>
              <a:gd name="connsiteX4" fmla="*/ 12143 w 867978"/>
              <a:gd name="connsiteY4" fmla="*/ 12143 h 867979"/>
              <a:gd name="connsiteX5" fmla="*/ 12143 w 867978"/>
              <a:gd name="connsiteY5" fmla="*/ 12143 h 867979"/>
              <a:gd name="connsiteX6" fmla="*/ 70427 w 867978"/>
              <a:gd name="connsiteY6" fmla="*/ 12143 h 867979"/>
              <a:gd name="connsiteX7" fmla="*/ 855836 w 867978"/>
              <a:gd name="connsiteY7" fmla="*/ 797551 h 867979"/>
              <a:gd name="connsiteX8" fmla="*/ 855836 w 867978"/>
              <a:gd name="connsiteY8" fmla="*/ 855836 h 86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7978" h="867979">
                <a:moveTo>
                  <a:pt x="855836" y="855836"/>
                </a:moveTo>
                <a:lnTo>
                  <a:pt x="855836" y="855836"/>
                </a:lnTo>
                <a:cubicBezTo>
                  <a:pt x="839646" y="872027"/>
                  <a:pt x="813561" y="872027"/>
                  <a:pt x="797551" y="855836"/>
                </a:cubicBezTo>
                <a:lnTo>
                  <a:pt x="12143" y="70427"/>
                </a:lnTo>
                <a:cubicBezTo>
                  <a:pt x="-4048" y="54237"/>
                  <a:pt x="-4048" y="28153"/>
                  <a:pt x="12143" y="12143"/>
                </a:cubicBezTo>
                <a:lnTo>
                  <a:pt x="12143" y="12143"/>
                </a:lnTo>
                <a:cubicBezTo>
                  <a:pt x="28333" y="-4048"/>
                  <a:pt x="54417" y="-4048"/>
                  <a:pt x="70427" y="12143"/>
                </a:cubicBezTo>
                <a:lnTo>
                  <a:pt x="855836" y="797551"/>
                </a:lnTo>
                <a:cubicBezTo>
                  <a:pt x="872026" y="813742"/>
                  <a:pt x="872026" y="839826"/>
                  <a:pt x="855836" y="85583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Shape 32">
            <a:extLst>
              <a:ext uri="{FF2B5EF4-FFF2-40B4-BE49-F238E27FC236}">
                <a16:creationId xmlns:a16="http://schemas.microsoft.com/office/drawing/2014/main" id="{031359A5-F014-7A8F-761D-F603E5AB6876}"/>
              </a:ext>
            </a:extLst>
          </p:cNvPr>
          <p:cNvSpPr/>
          <p:nvPr userDrawn="1"/>
        </p:nvSpPr>
        <p:spPr>
          <a:xfrm>
            <a:off x="258476" y="4522104"/>
            <a:ext cx="2664781" cy="2335896"/>
          </a:xfrm>
          <a:custGeom>
            <a:avLst/>
            <a:gdLst>
              <a:gd name="connsiteX0" fmla="*/ 1863291 w 1863290"/>
              <a:gd name="connsiteY0" fmla="*/ 1646911 h 1646911"/>
              <a:gd name="connsiteX1" fmla="*/ 1430291 w 1863290"/>
              <a:gd name="connsiteY1" fmla="*/ 1646911 h 1646911"/>
              <a:gd name="connsiteX2" fmla="*/ 44942 w 1863290"/>
              <a:gd name="connsiteY2" fmla="*/ 261563 h 1646911"/>
              <a:gd name="connsiteX3" fmla="*/ 28932 w 1863290"/>
              <a:gd name="connsiteY3" fmla="*/ 63861 h 1646911"/>
              <a:gd name="connsiteX4" fmla="*/ 44942 w 1863290"/>
              <a:gd name="connsiteY4" fmla="*/ 44973 h 1646911"/>
              <a:gd name="connsiteX5" fmla="*/ 153058 w 1863290"/>
              <a:gd name="connsiteY5" fmla="*/ 0 h 1646911"/>
              <a:gd name="connsiteX6" fmla="*/ 261352 w 1863290"/>
              <a:gd name="connsiteY6" fmla="*/ 44973 h 1646911"/>
              <a:gd name="connsiteX7" fmla="*/ 1209563 w 1863290"/>
              <a:gd name="connsiteY7" fmla="*/ 993184 h 1646911"/>
              <a:gd name="connsiteX8" fmla="*/ 1863291 w 1863290"/>
              <a:gd name="connsiteY8" fmla="*/ 1646911 h 164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290" h="1646911">
                <a:moveTo>
                  <a:pt x="1863291" y="1646911"/>
                </a:moveTo>
                <a:lnTo>
                  <a:pt x="1430291" y="1646911"/>
                </a:lnTo>
                <a:lnTo>
                  <a:pt x="44942" y="261563"/>
                </a:lnTo>
                <a:cubicBezTo>
                  <a:pt x="-9025" y="207596"/>
                  <a:pt x="-14422" y="123586"/>
                  <a:pt x="28932" y="63861"/>
                </a:cubicBezTo>
                <a:cubicBezTo>
                  <a:pt x="33609" y="57206"/>
                  <a:pt x="39006" y="50909"/>
                  <a:pt x="44942" y="44973"/>
                </a:cubicBezTo>
                <a:cubicBezTo>
                  <a:pt x="74804" y="15111"/>
                  <a:pt x="114021" y="0"/>
                  <a:pt x="153058" y="0"/>
                </a:cubicBezTo>
                <a:cubicBezTo>
                  <a:pt x="192094" y="0"/>
                  <a:pt x="231490" y="15111"/>
                  <a:pt x="261352" y="44973"/>
                </a:cubicBezTo>
                <a:lnTo>
                  <a:pt x="1209563" y="993184"/>
                </a:lnTo>
                <a:lnTo>
                  <a:pt x="1863291" y="1646911"/>
                </a:lnTo>
                <a:close/>
              </a:path>
            </a:pathLst>
          </a:custGeom>
          <a:gradFill>
            <a:gsLst>
              <a:gs pos="0">
                <a:srgbClr val="0098FF"/>
              </a:gs>
              <a:gs pos="50000">
                <a:srgbClr val="00BCFF"/>
              </a:gs>
              <a:gs pos="100000">
                <a:srgbClr val="00E1FF"/>
              </a:gs>
            </a:gsLst>
            <a:lin ang="13500167"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837F3A17-9072-2F68-16DC-A4BAB9F87BCD}"/>
              </a:ext>
            </a:extLst>
          </p:cNvPr>
          <p:cNvSpPr/>
          <p:nvPr userDrawn="1"/>
        </p:nvSpPr>
        <p:spPr>
          <a:xfrm>
            <a:off x="1548813" y="-3432"/>
            <a:ext cx="774390" cy="550142"/>
          </a:xfrm>
          <a:custGeom>
            <a:avLst/>
            <a:gdLst>
              <a:gd name="connsiteX0" fmla="*/ 39552 w 774390"/>
              <a:gd name="connsiteY0" fmla="*/ 0 h 550142"/>
              <a:gd name="connsiteX1" fmla="*/ 734839 w 774390"/>
              <a:gd name="connsiteY1" fmla="*/ 0 h 550142"/>
              <a:gd name="connsiteX2" fmla="*/ 743963 w 774390"/>
              <a:gd name="connsiteY2" fmla="*/ 16671 h 550142"/>
              <a:gd name="connsiteX3" fmla="*/ 774390 w 774390"/>
              <a:gd name="connsiteY3" fmla="*/ 166141 h 550142"/>
              <a:gd name="connsiteX4" fmla="*/ 387196 w 774390"/>
              <a:gd name="connsiteY4" fmla="*/ 550142 h 550142"/>
              <a:gd name="connsiteX5" fmla="*/ 0 w 774390"/>
              <a:gd name="connsiteY5" fmla="*/ 166141 h 550142"/>
              <a:gd name="connsiteX6" fmla="*/ 30428 w 774390"/>
              <a:gd name="connsiteY6" fmla="*/ 16671 h 550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4390" h="550142">
                <a:moveTo>
                  <a:pt x="39552" y="0"/>
                </a:moveTo>
                <a:lnTo>
                  <a:pt x="734839" y="0"/>
                </a:lnTo>
                <a:lnTo>
                  <a:pt x="743963" y="16671"/>
                </a:lnTo>
                <a:cubicBezTo>
                  <a:pt x="763556" y="62612"/>
                  <a:pt x="774390" y="113122"/>
                  <a:pt x="774390" y="166141"/>
                </a:cubicBezTo>
                <a:cubicBezTo>
                  <a:pt x="774390" y="378220"/>
                  <a:pt x="601038" y="550142"/>
                  <a:pt x="387196" y="550142"/>
                </a:cubicBezTo>
                <a:cubicBezTo>
                  <a:pt x="173353" y="550142"/>
                  <a:pt x="0" y="378220"/>
                  <a:pt x="0" y="166141"/>
                </a:cubicBezTo>
                <a:cubicBezTo>
                  <a:pt x="0" y="113122"/>
                  <a:pt x="10835" y="62612"/>
                  <a:pt x="30428" y="16671"/>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FBF413E7-F95B-647F-1309-5743984F7D21}"/>
              </a:ext>
            </a:extLst>
          </p:cNvPr>
          <p:cNvSpPr/>
          <p:nvPr userDrawn="1"/>
        </p:nvSpPr>
        <p:spPr>
          <a:xfrm>
            <a:off x="0" y="1853345"/>
            <a:ext cx="480458" cy="2267991"/>
          </a:xfrm>
          <a:custGeom>
            <a:avLst/>
            <a:gdLst>
              <a:gd name="connsiteX0" fmla="*/ 0 w 480458"/>
              <a:gd name="connsiteY0" fmla="*/ 0 h 2267991"/>
              <a:gd name="connsiteX1" fmla="*/ 10390 w 480458"/>
              <a:gd name="connsiteY1" fmla="*/ 9365 h 2267991"/>
              <a:gd name="connsiteX2" fmla="*/ 480458 w 480458"/>
              <a:gd name="connsiteY2" fmla="*/ 1134798 h 2267991"/>
              <a:gd name="connsiteX3" fmla="*/ 479173 w 480458"/>
              <a:gd name="connsiteY3" fmla="*/ 1199352 h 2267991"/>
              <a:gd name="connsiteX4" fmla="*/ 304742 w 480458"/>
              <a:gd name="connsiteY4" fmla="*/ 1860190 h 2267991"/>
              <a:gd name="connsiteX5" fmla="*/ 32547 w 480458"/>
              <a:gd name="connsiteY5" fmla="*/ 2238067 h 2267991"/>
              <a:gd name="connsiteX6" fmla="*/ 0 w 480458"/>
              <a:gd name="connsiteY6" fmla="*/ 2267991 h 2267991"/>
              <a:gd name="connsiteX7" fmla="*/ 0 w 480458"/>
              <a:gd name="connsiteY7" fmla="*/ 2071959 h 2267991"/>
              <a:gd name="connsiteX8" fmla="*/ 81011 w 480458"/>
              <a:gd name="connsiteY8" fmla="*/ 1976123 h 2267991"/>
              <a:gd name="connsiteX9" fmla="*/ 206721 w 480458"/>
              <a:gd name="connsiteY9" fmla="*/ 1763232 h 2267991"/>
              <a:gd name="connsiteX10" fmla="*/ 349507 w 480458"/>
              <a:gd name="connsiteY10" fmla="*/ 1134798 h 2267991"/>
              <a:gd name="connsiteX11" fmla="*/ 347963 w 480458"/>
              <a:gd name="connsiteY11" fmla="*/ 1069480 h 2267991"/>
              <a:gd name="connsiteX12" fmla="*/ 7922 w 480458"/>
              <a:gd name="connsiteY12" fmla="*/ 198795 h 2267991"/>
              <a:gd name="connsiteX13" fmla="*/ 0 w 480458"/>
              <a:gd name="connsiteY13" fmla="*/ 190196 h 226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0458" h="2267991">
                <a:moveTo>
                  <a:pt x="0" y="0"/>
                </a:moveTo>
                <a:lnTo>
                  <a:pt x="10390" y="9365"/>
                </a:lnTo>
                <a:cubicBezTo>
                  <a:pt x="300818" y="297397"/>
                  <a:pt x="480458" y="695303"/>
                  <a:pt x="480458" y="1134798"/>
                </a:cubicBezTo>
                <a:cubicBezTo>
                  <a:pt x="480458" y="1156486"/>
                  <a:pt x="479944" y="1177919"/>
                  <a:pt x="479173" y="1199352"/>
                </a:cubicBezTo>
                <a:cubicBezTo>
                  <a:pt x="469654" y="1436641"/>
                  <a:pt x="407651" y="1660663"/>
                  <a:pt x="304742" y="1860190"/>
                </a:cubicBezTo>
                <a:cubicBezTo>
                  <a:pt x="232705" y="1999245"/>
                  <a:pt x="140602" y="2126567"/>
                  <a:pt x="32547" y="2238067"/>
                </a:cubicBezTo>
                <a:lnTo>
                  <a:pt x="0" y="2267991"/>
                </a:lnTo>
                <a:lnTo>
                  <a:pt x="0" y="2071959"/>
                </a:lnTo>
                <a:lnTo>
                  <a:pt x="81011" y="1976123"/>
                </a:lnTo>
                <a:cubicBezTo>
                  <a:pt x="128703" y="1909050"/>
                  <a:pt x="170831" y="1837864"/>
                  <a:pt x="206721" y="1763232"/>
                </a:cubicBezTo>
                <a:cubicBezTo>
                  <a:pt x="298310" y="1572891"/>
                  <a:pt x="349507" y="1359841"/>
                  <a:pt x="349507" y="1134798"/>
                </a:cubicBezTo>
                <a:cubicBezTo>
                  <a:pt x="349507" y="1113112"/>
                  <a:pt x="348992" y="1091424"/>
                  <a:pt x="347963" y="1069480"/>
                </a:cubicBezTo>
                <a:cubicBezTo>
                  <a:pt x="333331" y="738838"/>
                  <a:pt x="208048" y="436765"/>
                  <a:pt x="7922" y="198795"/>
                </a:cubicBezTo>
                <a:lnTo>
                  <a:pt x="0" y="190196"/>
                </a:ln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36483A95-9C55-D921-4342-7FD3A8EE9522}"/>
              </a:ext>
            </a:extLst>
          </p:cNvPr>
          <p:cNvSpPr/>
          <p:nvPr userDrawn="1"/>
        </p:nvSpPr>
        <p:spPr>
          <a:xfrm>
            <a:off x="0" y="2540096"/>
            <a:ext cx="89147" cy="899117"/>
          </a:xfrm>
          <a:custGeom>
            <a:avLst/>
            <a:gdLst>
              <a:gd name="connsiteX0" fmla="*/ 0 w 89147"/>
              <a:gd name="connsiteY0" fmla="*/ 0 h 899117"/>
              <a:gd name="connsiteX1" fmla="*/ 25859 w 89147"/>
              <a:gd name="connsiteY1" fmla="*/ 63536 h 899117"/>
              <a:gd name="connsiteX2" fmla="*/ 89147 w 89147"/>
              <a:gd name="connsiteY2" fmla="*/ 448048 h 899117"/>
              <a:gd name="connsiteX3" fmla="*/ 8621 w 89147"/>
              <a:gd name="connsiteY3" fmla="*/ 880016 h 899117"/>
              <a:gd name="connsiteX4" fmla="*/ 0 w 89147"/>
              <a:gd name="connsiteY4" fmla="*/ 899117 h 899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147" h="899117">
                <a:moveTo>
                  <a:pt x="0" y="0"/>
                </a:moveTo>
                <a:lnTo>
                  <a:pt x="25859" y="63536"/>
                </a:lnTo>
                <a:cubicBezTo>
                  <a:pt x="66765" y="184222"/>
                  <a:pt x="89147" y="313584"/>
                  <a:pt x="89147" y="448048"/>
                </a:cubicBezTo>
                <a:cubicBezTo>
                  <a:pt x="89147" y="600116"/>
                  <a:pt x="60590" y="745807"/>
                  <a:pt x="8621" y="880016"/>
                </a:cubicBezTo>
                <a:lnTo>
                  <a:pt x="0" y="899117"/>
                </a:ln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EA695DCE-F153-C7D1-3282-69AF5C4B1B45}"/>
              </a:ext>
            </a:extLst>
          </p:cNvPr>
          <p:cNvSpPr/>
          <p:nvPr userDrawn="1"/>
        </p:nvSpPr>
        <p:spPr>
          <a:xfrm>
            <a:off x="0" y="-3431"/>
            <a:ext cx="674888" cy="329279"/>
          </a:xfrm>
          <a:custGeom>
            <a:avLst/>
            <a:gdLst>
              <a:gd name="connsiteX0" fmla="*/ 560104 w 674888"/>
              <a:gd name="connsiteY0" fmla="*/ 0 h 329279"/>
              <a:gd name="connsiteX1" fmla="*/ 674888 w 674888"/>
              <a:gd name="connsiteY1" fmla="*/ 0 h 329279"/>
              <a:gd name="connsiteX2" fmla="*/ 645724 w 674888"/>
              <a:gd name="connsiteY2" fmla="*/ 35314 h 329279"/>
              <a:gd name="connsiteX3" fmla="*/ 36593 w 674888"/>
              <a:gd name="connsiteY3" fmla="*/ 327139 h 329279"/>
              <a:gd name="connsiteX4" fmla="*/ 0 w 674888"/>
              <a:gd name="connsiteY4" fmla="*/ 329279 h 329279"/>
              <a:gd name="connsiteX5" fmla="*/ 0 w 674888"/>
              <a:gd name="connsiteY5" fmla="*/ 247484 h 329279"/>
              <a:gd name="connsiteX6" fmla="*/ 19894 w 674888"/>
              <a:gd name="connsiteY6" fmla="*/ 246487 h 329279"/>
              <a:gd name="connsiteX7" fmla="*/ 446198 w 674888"/>
              <a:gd name="connsiteY7" fmla="*/ 93208 h 329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4888" h="329279">
                <a:moveTo>
                  <a:pt x="560104" y="0"/>
                </a:moveTo>
                <a:lnTo>
                  <a:pt x="674888" y="0"/>
                </a:lnTo>
                <a:lnTo>
                  <a:pt x="645724" y="35314"/>
                </a:lnTo>
                <a:cubicBezTo>
                  <a:pt x="486428" y="194579"/>
                  <a:pt x="273826" y="301320"/>
                  <a:pt x="36593" y="327139"/>
                </a:cubicBezTo>
                <a:lnTo>
                  <a:pt x="0" y="329279"/>
                </a:lnTo>
                <a:lnTo>
                  <a:pt x="0" y="247484"/>
                </a:lnTo>
                <a:lnTo>
                  <a:pt x="19894" y="246487"/>
                </a:lnTo>
                <a:cubicBezTo>
                  <a:pt x="176731" y="230689"/>
                  <a:pt x="322090" y="176364"/>
                  <a:pt x="446198" y="93208"/>
                </a:cubicBezTo>
                <a:close/>
              </a:path>
            </a:pathLst>
          </a:custGeom>
          <a:gradFill>
            <a:gsLst>
              <a:gs pos="0">
                <a:srgbClr val="0098FF"/>
              </a:gs>
              <a:gs pos="50000">
                <a:srgbClr val="00BCFF"/>
              </a:gs>
              <a:gs pos="100000">
                <a:srgbClr val="00E1FF"/>
              </a:gs>
            </a:gsLst>
            <a:lin ang="18900000" scaled="1"/>
          </a:gradFill>
          <a:ln w="1798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FF94C6C6-C5A3-BEE2-769E-B8EC62DAF56B}"/>
              </a:ext>
            </a:extLst>
          </p:cNvPr>
          <p:cNvSpPr/>
          <p:nvPr userDrawn="1"/>
        </p:nvSpPr>
        <p:spPr>
          <a:xfrm>
            <a:off x="0" y="-3431"/>
            <a:ext cx="274958" cy="83919"/>
          </a:xfrm>
          <a:custGeom>
            <a:avLst/>
            <a:gdLst>
              <a:gd name="connsiteX0" fmla="*/ 0 w 274958"/>
              <a:gd name="connsiteY0" fmla="*/ 0 h 83919"/>
              <a:gd name="connsiteX1" fmla="*/ 274958 w 274958"/>
              <a:gd name="connsiteY1" fmla="*/ 0 h 83919"/>
              <a:gd name="connsiteX2" fmla="*/ 223247 w 274958"/>
              <a:gd name="connsiteY2" fmla="*/ 27838 h 83919"/>
              <a:gd name="connsiteX3" fmla="*/ 2776 w 274958"/>
              <a:gd name="connsiteY3" fmla="*/ 83780 h 83919"/>
              <a:gd name="connsiteX4" fmla="*/ 0 w 274958"/>
              <a:gd name="connsiteY4" fmla="*/ 83919 h 83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958" h="83919">
                <a:moveTo>
                  <a:pt x="0" y="0"/>
                </a:moveTo>
                <a:lnTo>
                  <a:pt x="274958" y="0"/>
                </a:lnTo>
                <a:lnTo>
                  <a:pt x="223247" y="27838"/>
                </a:lnTo>
                <a:cubicBezTo>
                  <a:pt x="154317" y="56754"/>
                  <a:pt x="80248" y="75977"/>
                  <a:pt x="2776" y="83780"/>
                </a:cubicBezTo>
                <a:lnTo>
                  <a:pt x="0" y="83919"/>
                </a:lnTo>
                <a:close/>
              </a:path>
            </a:pathLst>
          </a:custGeom>
          <a:gradFill>
            <a:gsLst>
              <a:gs pos="0">
                <a:srgbClr val="0098FF"/>
              </a:gs>
              <a:gs pos="50000">
                <a:srgbClr val="00BCFF"/>
              </a:gs>
              <a:gs pos="100000">
                <a:srgbClr val="00E1FF"/>
              </a:gs>
            </a:gsLst>
            <a:lin ang="18900000" scaled="1"/>
          </a:gradFill>
          <a:ln w="1798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153C05F8-B8FE-9C11-811F-40D420CD5B8F}"/>
              </a:ext>
            </a:extLst>
          </p:cNvPr>
          <p:cNvSpPr/>
          <p:nvPr userDrawn="1"/>
        </p:nvSpPr>
        <p:spPr>
          <a:xfrm>
            <a:off x="0" y="5870221"/>
            <a:ext cx="239138" cy="987779"/>
          </a:xfrm>
          <a:custGeom>
            <a:avLst/>
            <a:gdLst>
              <a:gd name="connsiteX0" fmla="*/ 0 w 239138"/>
              <a:gd name="connsiteY0" fmla="*/ 0 h 987779"/>
              <a:gd name="connsiteX1" fmla="*/ 57149 w 239138"/>
              <a:gd name="connsiteY1" fmla="*/ 93294 h 987779"/>
              <a:gd name="connsiteX2" fmla="*/ 239138 w 239138"/>
              <a:gd name="connsiteY2" fmla="*/ 806112 h 987779"/>
              <a:gd name="connsiteX3" fmla="*/ 228074 w 239138"/>
              <a:gd name="connsiteY3" fmla="*/ 987779 h 987779"/>
              <a:gd name="connsiteX4" fmla="*/ 0 w 239138"/>
              <a:gd name="connsiteY4" fmla="*/ 987779 h 98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138" h="987779">
                <a:moveTo>
                  <a:pt x="0" y="0"/>
                </a:moveTo>
                <a:lnTo>
                  <a:pt x="57149" y="93294"/>
                </a:lnTo>
                <a:cubicBezTo>
                  <a:pt x="173212" y="305187"/>
                  <a:pt x="239138" y="548012"/>
                  <a:pt x="239138" y="806112"/>
                </a:cubicBezTo>
                <a:cubicBezTo>
                  <a:pt x="239138" y="867603"/>
                  <a:pt x="235278" y="928328"/>
                  <a:pt x="228074" y="987779"/>
                </a:cubicBezTo>
                <a:lnTo>
                  <a:pt x="0" y="987779"/>
                </a:ln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Shape 58">
            <a:extLst>
              <a:ext uri="{FF2B5EF4-FFF2-40B4-BE49-F238E27FC236}">
                <a16:creationId xmlns:a16="http://schemas.microsoft.com/office/drawing/2014/main" id="{3EE978CE-8350-091C-F0B2-A6D946FE82D7}"/>
              </a:ext>
            </a:extLst>
          </p:cNvPr>
          <p:cNvSpPr/>
          <p:nvPr userDrawn="1"/>
        </p:nvSpPr>
        <p:spPr>
          <a:xfrm>
            <a:off x="3295274" y="1702188"/>
            <a:ext cx="687688" cy="682015"/>
          </a:xfrm>
          <a:custGeom>
            <a:avLst/>
            <a:gdLst>
              <a:gd name="connsiteX0" fmla="*/ 480492 w 480851"/>
              <a:gd name="connsiteY0" fmla="*/ 228103 h 480851"/>
              <a:gd name="connsiteX1" fmla="*/ 480492 w 480851"/>
              <a:gd name="connsiteY1" fmla="*/ 228103 h 480851"/>
              <a:gd name="connsiteX2" fmla="*/ 240336 w 480851"/>
              <a:gd name="connsiteY2" fmla="*/ 0 h 480851"/>
              <a:gd name="connsiteX3" fmla="*/ 105057 w 480851"/>
              <a:gd name="connsiteY3" fmla="*/ 41735 h 480851"/>
              <a:gd name="connsiteX4" fmla="*/ 103258 w 480851"/>
              <a:gd name="connsiteY4" fmla="*/ 42994 h 480851"/>
              <a:gd name="connsiteX5" fmla="*/ 0 w 480851"/>
              <a:gd name="connsiteY5" fmla="*/ 240516 h 480851"/>
              <a:gd name="connsiteX6" fmla="*/ 240336 w 480851"/>
              <a:gd name="connsiteY6" fmla="*/ 480851 h 480851"/>
              <a:gd name="connsiteX7" fmla="*/ 437857 w 480851"/>
              <a:gd name="connsiteY7" fmla="*/ 377593 h 480851"/>
              <a:gd name="connsiteX8" fmla="*/ 442715 w 480851"/>
              <a:gd name="connsiteY8" fmla="*/ 370038 h 480851"/>
              <a:gd name="connsiteX9" fmla="*/ 471677 w 480851"/>
              <a:gd name="connsiteY9" fmla="*/ 306176 h 480851"/>
              <a:gd name="connsiteX10" fmla="*/ 480852 w 480851"/>
              <a:gd name="connsiteY10" fmla="*/ 240516 h 480851"/>
              <a:gd name="connsiteX11" fmla="*/ 480492 w 480851"/>
              <a:gd name="connsiteY11" fmla="*/ 228103 h 480851"/>
              <a:gd name="connsiteX12" fmla="*/ 240336 w 480851"/>
              <a:gd name="connsiteY12" fmla="*/ 340356 h 480851"/>
              <a:gd name="connsiteX13" fmla="*/ 140496 w 480851"/>
              <a:gd name="connsiteY13" fmla="*/ 240516 h 480851"/>
              <a:gd name="connsiteX14" fmla="*/ 206696 w 480851"/>
              <a:gd name="connsiteY14" fmla="*/ 146432 h 480851"/>
              <a:gd name="connsiteX15" fmla="*/ 240336 w 480851"/>
              <a:gd name="connsiteY15" fmla="*/ 140496 h 480851"/>
              <a:gd name="connsiteX16" fmla="*/ 246093 w 480851"/>
              <a:gd name="connsiteY16" fmla="*/ 140856 h 480851"/>
              <a:gd name="connsiteX17" fmla="*/ 333160 w 480851"/>
              <a:gd name="connsiteY17" fmla="*/ 203638 h 480851"/>
              <a:gd name="connsiteX18" fmla="*/ 333160 w 480851"/>
              <a:gd name="connsiteY18" fmla="*/ 203638 h 480851"/>
              <a:gd name="connsiteX19" fmla="*/ 340356 w 480851"/>
              <a:gd name="connsiteY19" fmla="*/ 240516 h 480851"/>
              <a:gd name="connsiteX20" fmla="*/ 334419 w 480851"/>
              <a:gd name="connsiteY20" fmla="*/ 274156 h 480851"/>
              <a:gd name="connsiteX21" fmla="*/ 240336 w 480851"/>
              <a:gd name="connsiteY21" fmla="*/ 340356 h 48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0851" h="480851">
                <a:moveTo>
                  <a:pt x="480492" y="228103"/>
                </a:moveTo>
                <a:lnTo>
                  <a:pt x="480492" y="228103"/>
                </a:lnTo>
                <a:cubicBezTo>
                  <a:pt x="474016" y="100919"/>
                  <a:pt x="368959" y="0"/>
                  <a:pt x="240336" y="0"/>
                </a:cubicBezTo>
                <a:cubicBezTo>
                  <a:pt x="190146" y="0"/>
                  <a:pt x="143554" y="15471"/>
                  <a:pt x="105057" y="41735"/>
                </a:cubicBezTo>
                <a:cubicBezTo>
                  <a:pt x="104338" y="42095"/>
                  <a:pt x="103798" y="42455"/>
                  <a:pt x="103258" y="42994"/>
                </a:cubicBezTo>
                <a:cubicBezTo>
                  <a:pt x="40836" y="86348"/>
                  <a:pt x="0" y="158665"/>
                  <a:pt x="0" y="240516"/>
                </a:cubicBezTo>
                <a:cubicBezTo>
                  <a:pt x="0" y="373276"/>
                  <a:pt x="107576" y="480851"/>
                  <a:pt x="240336" y="480851"/>
                </a:cubicBezTo>
                <a:cubicBezTo>
                  <a:pt x="322187" y="480851"/>
                  <a:pt x="394504" y="440016"/>
                  <a:pt x="437857" y="377593"/>
                </a:cubicBezTo>
                <a:cubicBezTo>
                  <a:pt x="439656" y="375075"/>
                  <a:pt x="441275" y="372556"/>
                  <a:pt x="442715" y="370038"/>
                </a:cubicBezTo>
                <a:cubicBezTo>
                  <a:pt x="455487" y="350610"/>
                  <a:pt x="465201" y="329022"/>
                  <a:pt x="471677" y="306176"/>
                </a:cubicBezTo>
                <a:cubicBezTo>
                  <a:pt x="477614" y="285309"/>
                  <a:pt x="480852" y="263362"/>
                  <a:pt x="480852" y="240516"/>
                </a:cubicBezTo>
                <a:cubicBezTo>
                  <a:pt x="480852" y="236378"/>
                  <a:pt x="480852" y="232241"/>
                  <a:pt x="480492" y="228103"/>
                </a:cubicBezTo>
                <a:close/>
                <a:moveTo>
                  <a:pt x="240336" y="340356"/>
                </a:moveTo>
                <a:cubicBezTo>
                  <a:pt x="185289" y="340356"/>
                  <a:pt x="140496" y="295562"/>
                  <a:pt x="140496" y="240516"/>
                </a:cubicBezTo>
                <a:cubicBezTo>
                  <a:pt x="140496" y="197162"/>
                  <a:pt x="168199" y="160104"/>
                  <a:pt x="206696" y="146432"/>
                </a:cubicBezTo>
                <a:cubicBezTo>
                  <a:pt x="217130" y="142474"/>
                  <a:pt x="228463" y="140496"/>
                  <a:pt x="240336" y="140496"/>
                </a:cubicBezTo>
                <a:cubicBezTo>
                  <a:pt x="242315" y="140496"/>
                  <a:pt x="244114" y="140496"/>
                  <a:pt x="246093" y="140856"/>
                </a:cubicBezTo>
                <a:cubicBezTo>
                  <a:pt x="285849" y="143014"/>
                  <a:pt x="319308" y="168379"/>
                  <a:pt x="333160" y="203638"/>
                </a:cubicBezTo>
                <a:lnTo>
                  <a:pt x="333160" y="203638"/>
                </a:lnTo>
                <a:cubicBezTo>
                  <a:pt x="337837" y="215151"/>
                  <a:pt x="340356" y="227563"/>
                  <a:pt x="340356" y="240516"/>
                </a:cubicBezTo>
                <a:cubicBezTo>
                  <a:pt x="340356" y="252389"/>
                  <a:pt x="338377" y="263722"/>
                  <a:pt x="334419" y="274156"/>
                </a:cubicBezTo>
                <a:cubicBezTo>
                  <a:pt x="320748" y="312652"/>
                  <a:pt x="283690" y="340356"/>
                  <a:pt x="240336" y="340356"/>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9675EEC3-C564-9D4F-C006-D4539A4DB7BD}"/>
              </a:ext>
            </a:extLst>
          </p:cNvPr>
          <p:cNvSpPr/>
          <p:nvPr userDrawn="1"/>
        </p:nvSpPr>
        <p:spPr bwMode="auto">
          <a:xfrm flipV="1">
            <a:off x="6807200" y="0"/>
            <a:ext cx="5384801" cy="2132922"/>
          </a:xfrm>
          <a:custGeom>
            <a:avLst/>
            <a:gdLst>
              <a:gd name="connsiteX0" fmla="*/ 1744161 w 2463781"/>
              <a:gd name="connsiteY0" fmla="*/ 0 h 975905"/>
              <a:gd name="connsiteX1" fmla="*/ 2354022 w 2463781"/>
              <a:gd name="connsiteY1" fmla="*/ 92203 h 975905"/>
              <a:gd name="connsiteX2" fmla="*/ 2463781 w 2463781"/>
              <a:gd name="connsiteY2" fmla="*/ 132375 h 975905"/>
              <a:gd name="connsiteX3" fmla="*/ 2463781 w 2463781"/>
              <a:gd name="connsiteY3" fmla="*/ 557015 h 975905"/>
              <a:gd name="connsiteX4" fmla="*/ 2390197 w 2463781"/>
              <a:gd name="connsiteY4" fmla="*/ 521568 h 975905"/>
              <a:gd name="connsiteX5" fmla="*/ 1744161 w 2463781"/>
              <a:gd name="connsiteY5" fmla="*/ 391139 h 975905"/>
              <a:gd name="connsiteX6" fmla="*/ 570565 w 2463781"/>
              <a:gd name="connsiteY6" fmla="*/ 877259 h 975905"/>
              <a:gd name="connsiteX7" fmla="*/ 480909 w 2463781"/>
              <a:gd name="connsiteY7" fmla="*/ 975905 h 975905"/>
              <a:gd name="connsiteX8" fmla="*/ 0 w 2463781"/>
              <a:gd name="connsiteY8" fmla="*/ 975905 h 975905"/>
              <a:gd name="connsiteX9" fmla="*/ 43561 w 2463781"/>
              <a:gd name="connsiteY9" fmla="*/ 904202 h 975905"/>
              <a:gd name="connsiteX10" fmla="*/ 1744161 w 2463781"/>
              <a:gd name="connsiteY10" fmla="*/ 0 h 97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3781" h="975905">
                <a:moveTo>
                  <a:pt x="1744161" y="0"/>
                </a:moveTo>
                <a:cubicBezTo>
                  <a:pt x="1956534" y="0"/>
                  <a:pt x="2161367" y="32281"/>
                  <a:pt x="2354022" y="92203"/>
                </a:cubicBezTo>
                <a:lnTo>
                  <a:pt x="2463781" y="132375"/>
                </a:lnTo>
                <a:lnTo>
                  <a:pt x="2463781" y="557015"/>
                </a:lnTo>
                <a:lnTo>
                  <a:pt x="2390197" y="521568"/>
                </a:lnTo>
                <a:cubicBezTo>
                  <a:pt x="2191631" y="437582"/>
                  <a:pt x="1973320" y="391139"/>
                  <a:pt x="1744161" y="391139"/>
                </a:cubicBezTo>
                <a:cubicBezTo>
                  <a:pt x="1285843" y="391139"/>
                  <a:pt x="870915" y="576909"/>
                  <a:pt x="570565" y="877259"/>
                </a:cubicBezTo>
                <a:lnTo>
                  <a:pt x="480909" y="975905"/>
                </a:lnTo>
                <a:lnTo>
                  <a:pt x="0" y="975905"/>
                </a:lnTo>
                <a:lnTo>
                  <a:pt x="43561" y="904202"/>
                </a:lnTo>
                <a:cubicBezTo>
                  <a:pt x="412114" y="358672"/>
                  <a:pt x="1036252" y="0"/>
                  <a:pt x="1744161" y="0"/>
                </a:cubicBezTo>
                <a:close/>
              </a:path>
            </a:pathLst>
          </a:custGeom>
          <a:gradFill>
            <a:gsLst>
              <a:gs pos="0">
                <a:srgbClr val="0098FF"/>
              </a:gs>
              <a:gs pos="50000">
                <a:srgbClr val="00BCFF"/>
              </a:gs>
              <a:gs pos="100000">
                <a:srgbClr val="00E1FF"/>
              </a:gs>
            </a:gsLst>
            <a:lin ang="18900000" scaled="1"/>
          </a:gradFill>
          <a:ln w="17980" cap="flat">
            <a:noFill/>
            <a:prstDash val="solid"/>
            <a:miter/>
          </a:ln>
        </p:spPr>
        <p:txBody>
          <a:bodyPr wrap="square" rtlCol="0" anchor="ctr">
            <a:noAutofit/>
          </a:bodyPr>
          <a:lstStyle/>
          <a:p>
            <a:endParaRPr lang="en-US" err="1">
              <a:solidFill>
                <a:srgbClr val="000000"/>
              </a:solidFill>
              <a:latin typeface="Segoe UI"/>
            </a:endParaRPr>
          </a:p>
        </p:txBody>
      </p:sp>
      <p:sp>
        <p:nvSpPr>
          <p:cNvPr id="43" name="Freeform: Shape 61">
            <a:extLst>
              <a:ext uri="{FF2B5EF4-FFF2-40B4-BE49-F238E27FC236}">
                <a16:creationId xmlns:a16="http://schemas.microsoft.com/office/drawing/2014/main" id="{E8857B4E-9358-73A2-BBF5-19294FD6BA8F}"/>
              </a:ext>
            </a:extLst>
          </p:cNvPr>
          <p:cNvSpPr/>
          <p:nvPr userDrawn="1"/>
        </p:nvSpPr>
        <p:spPr>
          <a:xfrm flipH="1" flipV="1">
            <a:off x="0" y="0"/>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alpha val="74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Text Box 3" descr="This is a copyright notice that should be included on the final slide.">
            <a:extLst>
              <a:ext uri="{FF2B5EF4-FFF2-40B4-BE49-F238E27FC236}">
                <a16:creationId xmlns:a16="http://schemas.microsoft.com/office/drawing/2014/main" id="{BA56B6B7-5F8B-DC5B-132E-53D20154A0EB}"/>
              </a:ext>
            </a:extLst>
          </p:cNvPr>
          <p:cNvSpPr txBox="1">
            <a:spLocks noChangeArrowheads="1"/>
          </p:cNvSpPr>
          <p:nvPr userDrawn="1"/>
        </p:nvSpPr>
        <p:spPr bwMode="blackWhite">
          <a:xfrm>
            <a:off x="604894" y="6462131"/>
            <a:ext cx="567684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6629398" y="5097719"/>
            <a:ext cx="4985307"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6629398" y="5540203"/>
            <a:ext cx="4985307" cy="246221"/>
          </a:xfrm>
        </p:spPr>
        <p:txBody>
          <a:bodyPr/>
          <a:lstStyle>
            <a:lvl1pPr marL="0" indent="0" algn="r">
              <a:buNone/>
              <a:defRPr sz="1600">
                <a:solidFill>
                  <a:schemeClr val="bg1"/>
                </a:solidFill>
              </a:defRPr>
            </a:lvl1pPr>
          </a:lstStyle>
          <a:p>
            <a:pPr lvl="0"/>
            <a:r>
              <a:rPr lang="en-US"/>
              <a:t>Contact information</a:t>
            </a:r>
          </a:p>
        </p:txBody>
      </p:sp>
      <p:sp>
        <p:nvSpPr>
          <p:cNvPr id="3" name="Title 1">
            <a:extLst>
              <a:ext uri="{FF2B5EF4-FFF2-40B4-BE49-F238E27FC236}">
                <a16:creationId xmlns:a16="http://schemas.microsoft.com/office/drawing/2014/main" id="{A5992092-48A3-FE62-A527-89F3519B62B8}"/>
              </a:ext>
            </a:extLst>
          </p:cNvPr>
          <p:cNvSpPr>
            <a:spLocks noGrp="1"/>
          </p:cNvSpPr>
          <p:nvPr>
            <p:ph type="title" hasCustomPrompt="1"/>
          </p:nvPr>
        </p:nvSpPr>
        <p:spPr>
          <a:xfrm>
            <a:off x="5448301" y="3450552"/>
            <a:ext cx="6166404" cy="1107996"/>
          </a:xfrm>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7200" b="0" i="0" u="none" strike="noStrike" kern="1200" cap="none" spc="0" normalizeH="0" baseline="0" noProof="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pic>
        <p:nvPicPr>
          <p:cNvPr id="2" name="Picture 1" descr="A logo on a black background&#10;&#10;AI-generated content may be incorrect.">
            <a:extLst>
              <a:ext uri="{FF2B5EF4-FFF2-40B4-BE49-F238E27FC236}">
                <a16:creationId xmlns:a16="http://schemas.microsoft.com/office/drawing/2014/main" id="{BC36374D-FBF3-1727-D864-ECB009EC51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4025" y="451050"/>
            <a:ext cx="1901958" cy="852471"/>
          </a:xfrm>
          <a:prstGeom prst="rect">
            <a:avLst/>
          </a:prstGeom>
        </p:spPr>
      </p:pic>
    </p:spTree>
    <p:extLst>
      <p:ext uri="{BB962C8B-B14F-4D97-AF65-F5344CB8AC3E}">
        <p14:creationId xmlns:p14="http://schemas.microsoft.com/office/powerpoint/2010/main" val="369618456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hank you 5">
    <p:spTree>
      <p:nvGrpSpPr>
        <p:cNvPr id="1" name=""/>
        <p:cNvGrpSpPr/>
        <p:nvPr/>
      </p:nvGrpSpPr>
      <p:grpSpPr>
        <a:xfrm>
          <a:off x="0" y="0"/>
          <a:ext cx="0" cy="0"/>
          <a:chOff x="0" y="0"/>
          <a:chExt cx="0" cy="0"/>
        </a:xfrm>
      </p:grpSpPr>
      <p:sp>
        <p:nvSpPr>
          <p:cNvPr id="3" name="Freeform: Shape 7">
            <a:extLst>
              <a:ext uri="{FF2B5EF4-FFF2-40B4-BE49-F238E27FC236}">
                <a16:creationId xmlns:a16="http://schemas.microsoft.com/office/drawing/2014/main" id="{F3A4735C-012E-BDA5-D95E-FF00C296B188}"/>
              </a:ext>
            </a:extLst>
          </p:cNvPr>
          <p:cNvSpPr/>
          <p:nvPr userDrawn="1"/>
        </p:nvSpPr>
        <p:spPr>
          <a:xfrm flipH="1">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gradFill flip="none" rotWithShape="1">
            <a:gsLst>
              <a:gs pos="2000">
                <a:schemeClr val="bg2"/>
              </a:gs>
              <a:gs pos="88000">
                <a:schemeClr val="bg2">
                  <a:lumMod val="50000"/>
                </a:schemeClr>
              </a:gs>
            </a:gsLst>
            <a:lin ang="13500000" scaled="1"/>
            <a:tileRect/>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C79244A2-3EB5-D67C-42FB-0C5616A55260}"/>
              </a:ext>
            </a:extLst>
          </p:cNvPr>
          <p:cNvSpPr/>
          <p:nvPr userDrawn="1"/>
        </p:nvSpPr>
        <p:spPr bwMode="auto">
          <a:xfrm>
            <a:off x="0" y="-3432"/>
            <a:ext cx="878684" cy="736960"/>
          </a:xfrm>
          <a:custGeom>
            <a:avLst/>
            <a:gdLst>
              <a:gd name="connsiteX0" fmla="*/ 0 w 878684"/>
              <a:gd name="connsiteY0" fmla="*/ 0 h 736960"/>
              <a:gd name="connsiteX1" fmla="*/ 878684 w 878684"/>
              <a:gd name="connsiteY1" fmla="*/ 0 h 736960"/>
              <a:gd name="connsiteX2" fmla="*/ 141724 w 878684"/>
              <a:gd name="connsiteY2" fmla="*/ 736960 h 736960"/>
              <a:gd name="connsiteX3" fmla="*/ 0 w 878684"/>
              <a:gd name="connsiteY3" fmla="*/ 595236 h 736960"/>
            </a:gdLst>
            <a:ahLst/>
            <a:cxnLst>
              <a:cxn ang="0">
                <a:pos x="connsiteX0" y="connsiteY0"/>
              </a:cxn>
              <a:cxn ang="0">
                <a:pos x="connsiteX1" y="connsiteY1"/>
              </a:cxn>
              <a:cxn ang="0">
                <a:pos x="connsiteX2" y="connsiteY2"/>
              </a:cxn>
              <a:cxn ang="0">
                <a:pos x="connsiteX3" y="connsiteY3"/>
              </a:cxn>
            </a:cxnLst>
            <a:rect l="l" t="t" r="r" b="b"/>
            <a:pathLst>
              <a:path w="878684" h="736960">
                <a:moveTo>
                  <a:pt x="0" y="0"/>
                </a:moveTo>
                <a:lnTo>
                  <a:pt x="878684" y="0"/>
                </a:lnTo>
                <a:lnTo>
                  <a:pt x="141724" y="736960"/>
                </a:lnTo>
                <a:lnTo>
                  <a:pt x="0" y="595236"/>
                </a:lnTo>
                <a:close/>
              </a:path>
            </a:pathLst>
          </a:cu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Free-form: Shape 4">
            <a:extLst>
              <a:ext uri="{FF2B5EF4-FFF2-40B4-BE49-F238E27FC236}">
                <a16:creationId xmlns:a16="http://schemas.microsoft.com/office/drawing/2014/main" id="{2AA46FF8-578B-AF69-F89A-419E22E0A56F}"/>
              </a:ext>
            </a:extLst>
          </p:cNvPr>
          <p:cNvSpPr/>
          <p:nvPr userDrawn="1"/>
        </p:nvSpPr>
        <p:spPr bwMode="auto">
          <a:xfrm flipH="1">
            <a:off x="2959100" y="3368588"/>
            <a:ext cx="9232900" cy="3213697"/>
          </a:xfrm>
          <a:custGeom>
            <a:avLst/>
            <a:gdLst>
              <a:gd name="connsiteX0" fmla="*/ 10025024 w 10025024"/>
              <a:gd name="connsiteY0" fmla="*/ 0 h 3489412"/>
              <a:gd name="connsiteX1" fmla="*/ 0 w 10025024"/>
              <a:gd name="connsiteY1" fmla="*/ 0 h 3489412"/>
              <a:gd name="connsiteX2" fmla="*/ 0 w 10025024"/>
              <a:gd name="connsiteY2" fmla="*/ 3489412 h 3489412"/>
              <a:gd name="connsiteX3" fmla="*/ 6535613 w 10025024"/>
              <a:gd name="connsiteY3" fmla="*/ 3489412 h 3489412"/>
            </a:gdLst>
            <a:ahLst/>
            <a:cxnLst>
              <a:cxn ang="0">
                <a:pos x="connsiteX0" y="connsiteY0"/>
              </a:cxn>
              <a:cxn ang="0">
                <a:pos x="connsiteX1" y="connsiteY1"/>
              </a:cxn>
              <a:cxn ang="0">
                <a:pos x="connsiteX2" y="connsiteY2"/>
              </a:cxn>
              <a:cxn ang="0">
                <a:pos x="connsiteX3" y="connsiteY3"/>
              </a:cxn>
            </a:cxnLst>
            <a:rect l="l" t="t" r="r" b="b"/>
            <a:pathLst>
              <a:path w="10025024" h="3489412">
                <a:moveTo>
                  <a:pt x="10025024" y="0"/>
                </a:moveTo>
                <a:lnTo>
                  <a:pt x="0" y="0"/>
                </a:lnTo>
                <a:lnTo>
                  <a:pt x="0" y="3489412"/>
                </a:lnTo>
                <a:lnTo>
                  <a:pt x="6535613" y="3489412"/>
                </a:lnTo>
                <a:close/>
              </a:path>
            </a:pathLst>
          </a:custGeom>
          <a:gradFill flip="none" rotWithShape="1">
            <a:gsLst>
              <a:gs pos="9000">
                <a:schemeClr val="bg2">
                  <a:lumMod val="75000"/>
                </a:schemeClr>
              </a:gs>
              <a:gs pos="81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Free-form: Shape 5">
            <a:extLst>
              <a:ext uri="{FF2B5EF4-FFF2-40B4-BE49-F238E27FC236}">
                <a16:creationId xmlns:a16="http://schemas.microsoft.com/office/drawing/2014/main" id="{9FA48372-5CEB-DD13-B777-5D251ED667EB}"/>
              </a:ext>
            </a:extLst>
          </p:cNvPr>
          <p:cNvSpPr/>
          <p:nvPr userDrawn="1"/>
        </p:nvSpPr>
        <p:spPr bwMode="auto">
          <a:xfrm>
            <a:off x="0" y="3212182"/>
            <a:ext cx="6362700" cy="3649251"/>
          </a:xfrm>
          <a:custGeom>
            <a:avLst/>
            <a:gdLst>
              <a:gd name="connsiteX0" fmla="*/ 2727325 w 6362700"/>
              <a:gd name="connsiteY0" fmla="*/ 0 h 3649251"/>
              <a:gd name="connsiteX1" fmla="*/ 6362700 w 6362700"/>
              <a:gd name="connsiteY1" fmla="*/ 3635375 h 3649251"/>
              <a:gd name="connsiteX2" fmla="*/ 6348824 w 6362700"/>
              <a:gd name="connsiteY2" fmla="*/ 3649251 h 3649251"/>
              <a:gd name="connsiteX3" fmla="*/ 0 w 6362700"/>
              <a:gd name="connsiteY3" fmla="*/ 3649251 h 3649251"/>
              <a:gd name="connsiteX4" fmla="*/ 0 w 6362700"/>
              <a:gd name="connsiteY4" fmla="*/ 2727325 h 3649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700" h="3649251">
                <a:moveTo>
                  <a:pt x="2727325" y="0"/>
                </a:moveTo>
                <a:lnTo>
                  <a:pt x="6362700" y="3635375"/>
                </a:lnTo>
                <a:lnTo>
                  <a:pt x="6348824" y="3649251"/>
                </a:lnTo>
                <a:lnTo>
                  <a:pt x="0" y="3649251"/>
                </a:lnTo>
                <a:lnTo>
                  <a:pt x="0" y="2727325"/>
                </a:lnTo>
                <a:close/>
              </a:path>
            </a:pathLst>
          </a:custGeom>
          <a:solidFill>
            <a:schemeClr val="bg2">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7" name="Free-form: Shape 6">
            <a:extLst>
              <a:ext uri="{FF2B5EF4-FFF2-40B4-BE49-F238E27FC236}">
                <a16:creationId xmlns:a16="http://schemas.microsoft.com/office/drawing/2014/main" id="{F2097435-28DD-FAE7-DCAF-A85E9BEBB4AB}"/>
              </a:ext>
            </a:extLst>
          </p:cNvPr>
          <p:cNvSpPr/>
          <p:nvPr userDrawn="1"/>
        </p:nvSpPr>
        <p:spPr bwMode="auto">
          <a:xfrm flipV="1">
            <a:off x="1" y="385939"/>
            <a:ext cx="2429343" cy="4847279"/>
          </a:xfrm>
          <a:custGeom>
            <a:avLst/>
            <a:gdLst>
              <a:gd name="connsiteX0" fmla="*/ 0 w 2429343"/>
              <a:gd name="connsiteY0" fmla="*/ 4847279 h 4847279"/>
              <a:gd name="connsiteX1" fmla="*/ 2429343 w 2429343"/>
              <a:gd name="connsiteY1" fmla="*/ 2423640 h 4847279"/>
              <a:gd name="connsiteX2" fmla="*/ 0 w 2429343"/>
              <a:gd name="connsiteY2" fmla="*/ 0 h 4847279"/>
              <a:gd name="connsiteX3" fmla="*/ 0 w 2429343"/>
              <a:gd name="connsiteY3" fmla="*/ 931447 h 4847279"/>
              <a:gd name="connsiteX4" fmla="*/ 1495704 w 2429343"/>
              <a:gd name="connsiteY4" fmla="*/ 2423640 h 4847279"/>
              <a:gd name="connsiteX5" fmla="*/ 0 w 2429343"/>
              <a:gd name="connsiteY5" fmla="*/ 3915831 h 484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29343" h="4847279">
                <a:moveTo>
                  <a:pt x="0" y="4847279"/>
                </a:moveTo>
                <a:lnTo>
                  <a:pt x="2429343" y="2423640"/>
                </a:lnTo>
                <a:lnTo>
                  <a:pt x="0" y="0"/>
                </a:lnTo>
                <a:lnTo>
                  <a:pt x="0" y="931447"/>
                </a:lnTo>
                <a:lnTo>
                  <a:pt x="1495704" y="2423640"/>
                </a:lnTo>
                <a:lnTo>
                  <a:pt x="0" y="3915831"/>
                </a:lnTo>
                <a:close/>
              </a:path>
            </a:pathLst>
          </a:custGeom>
          <a:gradFill flip="none" rotWithShape="1">
            <a:gsLst>
              <a:gs pos="58000">
                <a:schemeClr val="bg2">
                  <a:lumMod val="50000"/>
                  <a:alpha val="50000"/>
                </a:schemeClr>
              </a:gs>
              <a:gs pos="100000">
                <a:schemeClr val="bg2">
                  <a:alpha val="6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8" name="Free-form: Shape 7">
            <a:extLst>
              <a:ext uri="{FF2B5EF4-FFF2-40B4-BE49-F238E27FC236}">
                <a16:creationId xmlns:a16="http://schemas.microsoft.com/office/drawing/2014/main" id="{CFD7FD53-A250-6253-4A0A-8A8E89F17753}"/>
              </a:ext>
            </a:extLst>
          </p:cNvPr>
          <p:cNvSpPr/>
          <p:nvPr userDrawn="1"/>
        </p:nvSpPr>
        <p:spPr bwMode="auto">
          <a:xfrm>
            <a:off x="0" y="1659802"/>
            <a:ext cx="2497605" cy="5201630"/>
          </a:xfrm>
          <a:custGeom>
            <a:avLst/>
            <a:gdLst>
              <a:gd name="connsiteX0" fmla="*/ 1803826 w 2497605"/>
              <a:gd name="connsiteY0" fmla="*/ 3471071 h 5201630"/>
              <a:gd name="connsiteX1" fmla="*/ 2497605 w 2497605"/>
              <a:gd name="connsiteY1" fmla="*/ 4164850 h 5201630"/>
              <a:gd name="connsiteX2" fmla="*/ 1457762 w 2497605"/>
              <a:gd name="connsiteY2" fmla="*/ 5201630 h 5201630"/>
              <a:gd name="connsiteX3" fmla="*/ 68154 w 2497605"/>
              <a:gd name="connsiteY3" fmla="*/ 5201630 h 5201630"/>
              <a:gd name="connsiteX4" fmla="*/ 0 w 2497605"/>
              <a:gd name="connsiteY4" fmla="*/ 0 h 5201630"/>
              <a:gd name="connsiteX5" fmla="*/ 2497605 w 2497605"/>
              <a:gd name="connsiteY5" fmla="*/ 2490248 h 5201630"/>
              <a:gd name="connsiteX6" fmla="*/ 1803826 w 2497605"/>
              <a:gd name="connsiteY6" fmla="*/ 3184028 h 5201630"/>
              <a:gd name="connsiteX7" fmla="*/ 0 w 2497605"/>
              <a:gd name="connsiteY7" fmla="*/ 1385515 h 520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7605" h="5201630">
                <a:moveTo>
                  <a:pt x="1803826" y="3471071"/>
                </a:moveTo>
                <a:lnTo>
                  <a:pt x="2497605" y="4164850"/>
                </a:lnTo>
                <a:lnTo>
                  <a:pt x="1457762" y="5201630"/>
                </a:lnTo>
                <a:lnTo>
                  <a:pt x="68154" y="5201630"/>
                </a:lnTo>
                <a:close/>
                <a:moveTo>
                  <a:pt x="0" y="0"/>
                </a:moveTo>
                <a:lnTo>
                  <a:pt x="2497605" y="2490248"/>
                </a:lnTo>
                <a:lnTo>
                  <a:pt x="1803826" y="3184028"/>
                </a:lnTo>
                <a:lnTo>
                  <a:pt x="0" y="1385515"/>
                </a:lnTo>
                <a:close/>
              </a:path>
            </a:pathLst>
          </a:custGeom>
          <a:gradFill flip="none" rotWithShape="1">
            <a:gsLst>
              <a:gs pos="0">
                <a:schemeClr val="bg2">
                  <a:lumMod val="50000"/>
                </a:schemeClr>
              </a:gs>
              <a:gs pos="100000">
                <a:schemeClr val="bg2">
                  <a:lumMod val="50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9" name="Diamond 8">
            <a:extLst>
              <a:ext uri="{FF2B5EF4-FFF2-40B4-BE49-F238E27FC236}">
                <a16:creationId xmlns:a16="http://schemas.microsoft.com/office/drawing/2014/main" id="{36372CCE-EAB8-0696-5A72-5F4432073A80}"/>
              </a:ext>
            </a:extLst>
          </p:cNvPr>
          <p:cNvSpPr>
            <a:spLocks noChangeAspect="1"/>
          </p:cNvSpPr>
          <p:nvPr userDrawn="1"/>
        </p:nvSpPr>
        <p:spPr bwMode="auto">
          <a:xfrm>
            <a:off x="771082" y="5173434"/>
            <a:ext cx="998766" cy="998766"/>
          </a:xfrm>
          <a:prstGeom prst="diamond">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10" name="Diamond 9">
            <a:extLst>
              <a:ext uri="{FF2B5EF4-FFF2-40B4-BE49-F238E27FC236}">
                <a16:creationId xmlns:a16="http://schemas.microsoft.com/office/drawing/2014/main" id="{5DA1E256-DC97-52F8-B02B-F3742B71FDFB}"/>
              </a:ext>
            </a:extLst>
          </p:cNvPr>
          <p:cNvSpPr/>
          <p:nvPr userDrawn="1"/>
        </p:nvSpPr>
        <p:spPr bwMode="auto">
          <a:xfrm>
            <a:off x="1660303" y="4038491"/>
            <a:ext cx="1897720" cy="1897720"/>
          </a:xfrm>
          <a:prstGeom prst="diamond">
            <a:avLst/>
          </a:prstGeom>
          <a:noFill/>
          <a:ln w="127000">
            <a:solidFill>
              <a:schemeClr val="bg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14" name="Text Box 3" descr="This is a copyright notice that should be included on the final slide.">
            <a:extLst>
              <a:ext uri="{FF2B5EF4-FFF2-40B4-BE49-F238E27FC236}">
                <a16:creationId xmlns:a16="http://schemas.microsoft.com/office/drawing/2014/main" id="{6587B843-F298-B5A0-D69D-B06F03252C47}"/>
              </a:ext>
            </a:extLst>
          </p:cNvPr>
          <p:cNvSpPr txBox="1">
            <a:spLocks noChangeArrowheads="1"/>
          </p:cNvSpPr>
          <p:nvPr userDrawn="1"/>
        </p:nvSpPr>
        <p:spPr bwMode="blackWhite">
          <a:xfrm>
            <a:off x="604894" y="6462131"/>
            <a:ext cx="448212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
        <p:nvSpPr>
          <p:cNvPr id="15" name="Free-form: Shape 14">
            <a:extLst>
              <a:ext uri="{FF2B5EF4-FFF2-40B4-BE49-F238E27FC236}">
                <a16:creationId xmlns:a16="http://schemas.microsoft.com/office/drawing/2014/main" id="{72BBAA61-68F1-1FBA-E03B-CED1F4E0AE15}"/>
              </a:ext>
            </a:extLst>
          </p:cNvPr>
          <p:cNvSpPr/>
          <p:nvPr userDrawn="1"/>
        </p:nvSpPr>
        <p:spPr bwMode="auto">
          <a:xfrm flipV="1">
            <a:off x="1" y="3557538"/>
            <a:ext cx="2143125" cy="1208603"/>
          </a:xfrm>
          <a:custGeom>
            <a:avLst/>
            <a:gdLst>
              <a:gd name="connsiteX0" fmla="*/ 1208604 w 2143125"/>
              <a:gd name="connsiteY0" fmla="*/ 3303895 h 3303895"/>
              <a:gd name="connsiteX1" fmla="*/ 2143125 w 2143125"/>
              <a:gd name="connsiteY1" fmla="*/ 2369374 h 3303895"/>
              <a:gd name="connsiteX2" fmla="*/ 358258 w 2143125"/>
              <a:gd name="connsiteY2" fmla="*/ 0 h 3303895"/>
              <a:gd name="connsiteX3" fmla="*/ 0 w 2143125"/>
              <a:gd name="connsiteY3" fmla="*/ 0 h 3303895"/>
              <a:gd name="connsiteX4" fmla="*/ 0 w 2143125"/>
              <a:gd name="connsiteY4" fmla="*/ 2095292 h 3303895"/>
              <a:gd name="connsiteX0" fmla="*/ 358258 w 2143125"/>
              <a:gd name="connsiteY0" fmla="*/ 0 h 3303895"/>
              <a:gd name="connsiteX1" fmla="*/ 0 w 2143125"/>
              <a:gd name="connsiteY1" fmla="*/ 0 h 3303895"/>
              <a:gd name="connsiteX2" fmla="*/ 0 w 2143125"/>
              <a:gd name="connsiteY2" fmla="*/ 2095292 h 3303895"/>
              <a:gd name="connsiteX3" fmla="*/ 1208604 w 2143125"/>
              <a:gd name="connsiteY3" fmla="*/ 3303895 h 3303895"/>
              <a:gd name="connsiteX4" fmla="*/ 2143125 w 2143125"/>
              <a:gd name="connsiteY4" fmla="*/ 2369374 h 3303895"/>
              <a:gd name="connsiteX5" fmla="*/ 449698 w 2143125"/>
              <a:gd name="connsiteY5" fmla="*/ 91440 h 3303895"/>
              <a:gd name="connsiteX0" fmla="*/ 358258 w 2143125"/>
              <a:gd name="connsiteY0" fmla="*/ 0 h 3303895"/>
              <a:gd name="connsiteX1" fmla="*/ 0 w 2143125"/>
              <a:gd name="connsiteY1" fmla="*/ 0 h 3303895"/>
              <a:gd name="connsiteX2" fmla="*/ 0 w 2143125"/>
              <a:gd name="connsiteY2" fmla="*/ 2095292 h 3303895"/>
              <a:gd name="connsiteX3" fmla="*/ 1208604 w 2143125"/>
              <a:gd name="connsiteY3" fmla="*/ 3303895 h 3303895"/>
              <a:gd name="connsiteX4" fmla="*/ 2143125 w 2143125"/>
              <a:gd name="connsiteY4" fmla="*/ 2369374 h 3303895"/>
              <a:gd name="connsiteX0" fmla="*/ 0 w 2143125"/>
              <a:gd name="connsiteY0" fmla="*/ 0 h 3303895"/>
              <a:gd name="connsiteX1" fmla="*/ 0 w 2143125"/>
              <a:gd name="connsiteY1" fmla="*/ 2095292 h 3303895"/>
              <a:gd name="connsiteX2" fmla="*/ 1208604 w 2143125"/>
              <a:gd name="connsiteY2" fmla="*/ 3303895 h 3303895"/>
              <a:gd name="connsiteX3" fmla="*/ 2143125 w 2143125"/>
              <a:gd name="connsiteY3" fmla="*/ 2369374 h 3303895"/>
              <a:gd name="connsiteX0" fmla="*/ 0 w 2143125"/>
              <a:gd name="connsiteY0" fmla="*/ 0 h 1208603"/>
              <a:gd name="connsiteX1" fmla="*/ 1208604 w 2143125"/>
              <a:gd name="connsiteY1" fmla="*/ 1208603 h 1208603"/>
              <a:gd name="connsiteX2" fmla="*/ 2143125 w 2143125"/>
              <a:gd name="connsiteY2" fmla="*/ 274082 h 1208603"/>
            </a:gdLst>
            <a:ahLst/>
            <a:cxnLst>
              <a:cxn ang="0">
                <a:pos x="connsiteX0" y="connsiteY0"/>
              </a:cxn>
              <a:cxn ang="0">
                <a:pos x="connsiteX1" y="connsiteY1"/>
              </a:cxn>
              <a:cxn ang="0">
                <a:pos x="connsiteX2" y="connsiteY2"/>
              </a:cxn>
            </a:cxnLst>
            <a:rect l="l" t="t" r="r" b="b"/>
            <a:pathLst>
              <a:path w="2143125" h="1208603">
                <a:moveTo>
                  <a:pt x="0" y="0"/>
                </a:moveTo>
                <a:lnTo>
                  <a:pt x="1208604" y="1208603"/>
                </a:lnTo>
                <a:lnTo>
                  <a:pt x="2143125" y="274082"/>
                </a:lnTo>
              </a:path>
            </a:pathLst>
          </a:custGeom>
          <a:noFill/>
          <a:ln w="127000">
            <a:solidFill>
              <a:schemeClr val="bg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6629398" y="5373944"/>
            <a:ext cx="4985307"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6629398" y="5816428"/>
            <a:ext cx="4985307" cy="246221"/>
          </a:xfrm>
        </p:spPr>
        <p:txBody>
          <a:bodyPr/>
          <a:lstStyle>
            <a:lvl1pPr marL="0" indent="0" algn="r">
              <a:buNone/>
              <a:defRPr sz="1600">
                <a:solidFill>
                  <a:schemeClr val="bg1"/>
                </a:solidFill>
              </a:defRPr>
            </a:lvl1pPr>
          </a:lstStyle>
          <a:p>
            <a:pPr lvl="0"/>
            <a:r>
              <a:rPr lang="en-US"/>
              <a:t>Contact information</a:t>
            </a:r>
          </a:p>
        </p:txBody>
      </p:sp>
      <p:sp>
        <p:nvSpPr>
          <p:cNvPr id="2" name="Title 1">
            <a:extLst>
              <a:ext uri="{FF2B5EF4-FFF2-40B4-BE49-F238E27FC236}">
                <a16:creationId xmlns:a16="http://schemas.microsoft.com/office/drawing/2014/main" id="{6B03C06A-6569-7472-F3FD-DCD47752D09E}"/>
              </a:ext>
            </a:extLst>
          </p:cNvPr>
          <p:cNvSpPr>
            <a:spLocks noGrp="1"/>
          </p:cNvSpPr>
          <p:nvPr>
            <p:ph type="title" hasCustomPrompt="1"/>
          </p:nvPr>
        </p:nvSpPr>
        <p:spPr>
          <a:xfrm>
            <a:off x="6629397" y="3924300"/>
            <a:ext cx="4985307" cy="1015663"/>
          </a:xfrm>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GB" sz="6600" b="0" kern="1200" cap="none" spc="0" baseline="0" dirty="0" smtClean="0">
                <a:ln w="3175">
                  <a:noFill/>
                </a:ln>
                <a:solidFill>
                  <a:schemeClr val="bg2">
                    <a:lumMod val="20000"/>
                    <a:lumOff val="80000"/>
                  </a:schemeClr>
                </a:solidFill>
                <a:effectLst/>
                <a:latin typeface="Segoe UI Semibold"/>
                <a:ea typeface="+mn-ea"/>
                <a:cs typeface="Segoe UI" panose="020B0502040204020203" pitchFamily="34" charset="0"/>
              </a:defRPr>
            </a:lvl1pPr>
          </a:lstStyle>
          <a:p>
            <a:r>
              <a:rPr lang="en-GB"/>
              <a:t>Thank you!</a:t>
            </a:r>
          </a:p>
        </p:txBody>
      </p:sp>
      <p:pic>
        <p:nvPicPr>
          <p:cNvPr id="11" name="Picture 10" descr="A logo on a black background&#10;&#10;AI-generated content may be incorrect.">
            <a:extLst>
              <a:ext uri="{FF2B5EF4-FFF2-40B4-BE49-F238E27FC236}">
                <a16:creationId xmlns:a16="http://schemas.microsoft.com/office/drawing/2014/main" id="{519FF49D-C2AF-E550-D130-98523AB5CB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4025" y="451050"/>
            <a:ext cx="1901958" cy="852471"/>
          </a:xfrm>
          <a:prstGeom prst="rect">
            <a:avLst/>
          </a:prstGeom>
        </p:spPr>
      </p:pic>
    </p:spTree>
    <p:extLst>
      <p:ext uri="{BB962C8B-B14F-4D97-AF65-F5344CB8AC3E}">
        <p14:creationId xmlns:p14="http://schemas.microsoft.com/office/powerpoint/2010/main" val="144015014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Resources">
    <p:spTree>
      <p:nvGrpSpPr>
        <p:cNvPr id="1" name=""/>
        <p:cNvGrpSpPr/>
        <p:nvPr/>
      </p:nvGrpSpPr>
      <p:grpSpPr>
        <a:xfrm>
          <a:off x="0" y="0"/>
          <a:ext cx="0" cy="0"/>
          <a:chOff x="0" y="0"/>
          <a:chExt cx="0" cy="0"/>
        </a:xfrm>
      </p:grpSpPr>
      <p:sp>
        <p:nvSpPr>
          <p:cNvPr id="3" name="Rectangle: Top Corners Rounded 2">
            <a:extLst>
              <a:ext uri="{FF2B5EF4-FFF2-40B4-BE49-F238E27FC236}">
                <a16:creationId xmlns:a16="http://schemas.microsoft.com/office/drawing/2014/main" id="{4976411A-6407-3F7D-8FF0-3CA0BF4087F5}"/>
              </a:ext>
              <a:ext uri="{C183D7F6-B498-43B3-948B-1728B52AA6E4}">
                <adec:decorative xmlns:adec="http://schemas.microsoft.com/office/drawing/2017/decorative" val="1"/>
              </a:ext>
            </a:extLst>
          </p:cNvPr>
          <p:cNvSpPr/>
          <p:nvPr userDrawn="1"/>
        </p:nvSpPr>
        <p:spPr bwMode="auto">
          <a:xfrm rot="5400000">
            <a:off x="-770828" y="1061113"/>
            <a:ext cx="6277428" cy="4735773"/>
          </a:xfrm>
          <a:prstGeom prst="round2SameRect">
            <a:avLst>
              <a:gd name="adj1" fmla="val 6302"/>
              <a:gd name="adj2" fmla="val 0"/>
            </a:avLst>
          </a:prstGeom>
          <a:solidFill>
            <a:schemeClr val="bg1"/>
          </a:solidFill>
          <a:ln w="6350">
            <a:noFill/>
            <a:headEnd type="none" w="med" len="med"/>
            <a:tailEnd type="none" w="med" len="med"/>
          </a:ln>
          <a:effectLst>
            <a:outerShdw blurRad="38100" sx="101000" sy="101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 name="Title 2">
            <a:extLst>
              <a:ext uri="{FF2B5EF4-FFF2-40B4-BE49-F238E27FC236}">
                <a16:creationId xmlns:a16="http://schemas.microsoft.com/office/drawing/2014/main" id="{629AA108-7C89-7609-E936-2C2B90AA0C52}"/>
              </a:ext>
            </a:extLst>
          </p:cNvPr>
          <p:cNvSpPr>
            <a:spLocks noGrp="1"/>
          </p:cNvSpPr>
          <p:nvPr>
            <p:ph type="title"/>
          </p:nvPr>
        </p:nvSpPr>
        <p:spPr>
          <a:xfrm>
            <a:off x="588263" y="1818395"/>
            <a:ext cx="2904724" cy="1107996"/>
          </a:xfrm>
        </p:spPr>
        <p:txBody>
          <a:bodyPr wrap="square">
            <a:spAutoFit/>
          </a:bodyPr>
          <a:lstStyle/>
          <a:p>
            <a:pPr lvl="0"/>
            <a:r>
              <a:rPr lang="en-US" noProof="0"/>
              <a:t>Get started today</a:t>
            </a:r>
          </a:p>
        </p:txBody>
      </p:sp>
      <p:grpSp>
        <p:nvGrpSpPr>
          <p:cNvPr id="5" name="Group 4">
            <a:extLst>
              <a:ext uri="{FF2B5EF4-FFF2-40B4-BE49-F238E27FC236}">
                <a16:creationId xmlns:a16="http://schemas.microsoft.com/office/drawing/2014/main" id="{20E12845-AC90-46D5-ACB7-A0061318EF21}"/>
              </a:ext>
              <a:ext uri="{C183D7F6-B498-43B3-948B-1728B52AA6E4}">
                <adec:decorative xmlns:adec="http://schemas.microsoft.com/office/drawing/2017/decorative" val="1"/>
              </a:ext>
            </a:extLst>
          </p:cNvPr>
          <p:cNvGrpSpPr/>
          <p:nvPr userDrawn="1"/>
        </p:nvGrpSpPr>
        <p:grpSpPr>
          <a:xfrm>
            <a:off x="588263" y="3257774"/>
            <a:ext cx="3355940" cy="560315"/>
            <a:chOff x="588263" y="3790724"/>
            <a:chExt cx="4094226" cy="683581"/>
          </a:xfrm>
        </p:grpSpPr>
        <p:sp>
          <p:nvSpPr>
            <p:cNvPr id="6" name="Rectangle: Rounded Corners 5">
              <a:extLst>
                <a:ext uri="{FF2B5EF4-FFF2-40B4-BE49-F238E27FC236}">
                  <a16:creationId xmlns:a16="http://schemas.microsoft.com/office/drawing/2014/main" id="{4BB5FDA1-6CD4-AA72-A99B-B722680F4A64}"/>
                </a:ext>
              </a:extLst>
            </p:cNvPr>
            <p:cNvSpPr/>
            <p:nvPr/>
          </p:nvSpPr>
          <p:spPr bwMode="auto">
            <a:xfrm>
              <a:off x="588263" y="3790724"/>
              <a:ext cx="4094226" cy="683581"/>
            </a:xfrm>
            <a:prstGeom prst="roundRect">
              <a:avLst/>
            </a:prstGeom>
            <a:solidFill>
              <a:schemeClr val="bg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magnify" title="Icon of a magnifying glass">
              <a:extLst>
                <a:ext uri="{FF2B5EF4-FFF2-40B4-BE49-F238E27FC236}">
                  <a16:creationId xmlns:a16="http://schemas.microsoft.com/office/drawing/2014/main" id="{C3ABAEA5-B1FF-DFBF-5152-2A0780DEFBF6}"/>
                </a:ext>
              </a:extLst>
            </p:cNvPr>
            <p:cNvSpPr>
              <a:spLocks noChangeAspect="1" noEditPoints="1"/>
            </p:cNvSpPr>
            <p:nvPr/>
          </p:nvSpPr>
          <p:spPr bwMode="auto">
            <a:xfrm flipH="1">
              <a:off x="777877" y="3934956"/>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76EB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8" name="TextBox 7">
              <a:extLst>
                <a:ext uri="{FF2B5EF4-FFF2-40B4-BE49-F238E27FC236}">
                  <a16:creationId xmlns:a16="http://schemas.microsoft.com/office/drawing/2014/main" id="{42BAD70D-DB20-3C3A-2172-DF8B79FE34DC}"/>
                </a:ext>
              </a:extLst>
            </p:cNvPr>
            <p:cNvSpPr txBox="1"/>
            <p:nvPr/>
          </p:nvSpPr>
          <p:spPr>
            <a:xfrm>
              <a:off x="1405048" y="3955506"/>
              <a:ext cx="3013115" cy="337937"/>
            </a:xfrm>
            <a:prstGeom prst="rect">
              <a:avLst/>
            </a:prstGeom>
            <a:noFill/>
          </p:spPr>
          <p:txBody>
            <a:bodyPr wrap="non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ka.ms</a:t>
              </a:r>
              <a:r>
                <a:rPr kumimoji="0" lang="en-US" sz="1800" b="0" i="0" u="none" strike="noStrike" kern="1200" cap="none" spc="0" normalizeH="0" baseline="0" noProof="0">
                  <a:ln>
                    <a:noFill/>
                  </a:ln>
                  <a:solidFill>
                    <a:srgbClr val="FFFFFF"/>
                  </a:solidFill>
                  <a:effectLst/>
                  <a:uLnTx/>
                  <a:uFillTx/>
                  <a:latin typeface="Segoe UI Semibold"/>
                  <a:ea typeface="+mn-ea"/>
                  <a:cs typeface="+mn-cs"/>
                </a:rPr>
                <a:t>/</a:t>
              </a:r>
              <a:r>
                <a:rPr kumimoji="0" lang="en-US" sz="1800" b="0" i="0" u="none" strike="noStrike" kern="1200" cap="none" spc="0" normalizeH="0" baseline="0" noProof="0" err="1">
                  <a:ln>
                    <a:noFill/>
                  </a:ln>
                  <a:solidFill>
                    <a:srgbClr val="FFFFFF"/>
                  </a:solidFill>
                  <a:effectLst/>
                  <a:uLnTx/>
                  <a:uFillTx/>
                  <a:latin typeface="Segoe UI Semibold"/>
                  <a:ea typeface="+mn-ea"/>
                  <a:cs typeface="+mn-cs"/>
                </a:rPr>
                <a:t>trycopilotstudio</a:t>
              </a: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9" name="Graphic 3">
            <a:extLst>
              <a:ext uri="{FF2B5EF4-FFF2-40B4-BE49-F238E27FC236}">
                <a16:creationId xmlns:a16="http://schemas.microsoft.com/office/drawing/2014/main" id="{B187B470-A56A-4B33-C3B3-96E5698C29B0}"/>
              </a:ext>
              <a:ext uri="{C183D7F6-B498-43B3-948B-1728B52AA6E4}">
                <adec:decorative xmlns:adec="http://schemas.microsoft.com/office/drawing/2017/decorative" val="1"/>
              </a:ext>
            </a:extLst>
          </p:cNvPr>
          <p:cNvGrpSpPr/>
          <p:nvPr userDrawn="1"/>
        </p:nvGrpSpPr>
        <p:grpSpPr>
          <a:xfrm>
            <a:off x="5283663" y="714009"/>
            <a:ext cx="529734" cy="647197"/>
            <a:chOff x="-3362584" y="1149499"/>
            <a:chExt cx="2568500" cy="3138040"/>
          </a:xfrm>
          <a:solidFill>
            <a:schemeClr val="bg2"/>
          </a:solidFill>
        </p:grpSpPr>
        <p:sp>
          <p:nvSpPr>
            <p:cNvPr id="10" name="Freeform: Shape 9">
              <a:extLst>
                <a:ext uri="{FF2B5EF4-FFF2-40B4-BE49-F238E27FC236}">
                  <a16:creationId xmlns:a16="http://schemas.microsoft.com/office/drawing/2014/main" id="{15358685-9963-E858-3B6E-BE529BD38874}"/>
                </a:ext>
              </a:extLst>
            </p:cNvPr>
            <p:cNvSpPr/>
            <p:nvPr/>
          </p:nvSpPr>
          <p:spPr>
            <a:xfrm>
              <a:off x="-2999494" y="1504724"/>
              <a:ext cx="2205409" cy="2782815"/>
            </a:xfrm>
            <a:custGeom>
              <a:avLst/>
              <a:gdLst>
                <a:gd name="connsiteX0" fmla="*/ 2032388 w 2205409"/>
                <a:gd name="connsiteY0" fmla="*/ 0 h 2782815"/>
                <a:gd name="connsiteX1" fmla="*/ 1940633 w 2205409"/>
                <a:gd name="connsiteY1" fmla="*/ 0 h 2782815"/>
                <a:gd name="connsiteX2" fmla="*/ 1940633 w 2205409"/>
                <a:gd name="connsiteY2" fmla="*/ 2254244 h 2782815"/>
                <a:gd name="connsiteX3" fmla="*/ 1668974 w 2205409"/>
                <a:gd name="connsiteY3" fmla="*/ 2525900 h 2782815"/>
                <a:gd name="connsiteX4" fmla="*/ 739289 w 2205409"/>
                <a:gd name="connsiteY4" fmla="*/ 2525900 h 2782815"/>
                <a:gd name="connsiteX5" fmla="*/ 0 w 2205409"/>
                <a:gd name="connsiteY5" fmla="*/ 2525900 h 2782815"/>
                <a:gd name="connsiteX6" fmla="*/ 0 w 2205409"/>
                <a:gd name="connsiteY6" fmla="*/ 2609463 h 2782815"/>
                <a:gd name="connsiteX7" fmla="*/ 173353 w 2205409"/>
                <a:gd name="connsiteY7" fmla="*/ 2782815 h 2782815"/>
                <a:gd name="connsiteX8" fmla="*/ 1102707 w 2205409"/>
                <a:gd name="connsiteY8" fmla="*/ 2782815 h 2782815"/>
                <a:gd name="connsiteX9" fmla="*/ 2032061 w 2205409"/>
                <a:gd name="connsiteY9" fmla="*/ 2782815 h 2782815"/>
                <a:gd name="connsiteX10" fmla="*/ 2205410 w 2205409"/>
                <a:gd name="connsiteY10" fmla="*/ 2609463 h 2782815"/>
                <a:gd name="connsiteX11" fmla="*/ 2205410 w 2205409"/>
                <a:gd name="connsiteY11" fmla="*/ 173353 h 2782815"/>
                <a:gd name="connsiteX12" fmla="*/ 2032388 w 2205409"/>
                <a:gd name="connsiteY12" fmla="*/ 0 h 2782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05409" h="2782815">
                  <a:moveTo>
                    <a:pt x="2032388" y="0"/>
                  </a:moveTo>
                  <a:lnTo>
                    <a:pt x="1940633" y="0"/>
                  </a:lnTo>
                  <a:lnTo>
                    <a:pt x="1940633" y="2254244"/>
                  </a:lnTo>
                  <a:cubicBezTo>
                    <a:pt x="1940633" y="2403999"/>
                    <a:pt x="1818729" y="2525900"/>
                    <a:pt x="1668974" y="2525900"/>
                  </a:cubicBezTo>
                  <a:lnTo>
                    <a:pt x="739289" y="2525900"/>
                  </a:lnTo>
                  <a:lnTo>
                    <a:pt x="0" y="2525900"/>
                  </a:lnTo>
                  <a:lnTo>
                    <a:pt x="0" y="2609463"/>
                  </a:lnTo>
                  <a:cubicBezTo>
                    <a:pt x="0" y="2705154"/>
                    <a:pt x="77665" y="2782815"/>
                    <a:pt x="173353" y="2782815"/>
                  </a:cubicBezTo>
                  <a:lnTo>
                    <a:pt x="1102707" y="2782815"/>
                  </a:lnTo>
                  <a:lnTo>
                    <a:pt x="2032061" y="2782815"/>
                  </a:lnTo>
                  <a:cubicBezTo>
                    <a:pt x="2127749" y="2782815"/>
                    <a:pt x="2205410" y="2705154"/>
                    <a:pt x="2205410" y="2609463"/>
                  </a:cubicBezTo>
                  <a:lnTo>
                    <a:pt x="2205410" y="173353"/>
                  </a:lnTo>
                  <a:cubicBezTo>
                    <a:pt x="2205413" y="77665"/>
                    <a:pt x="2128076" y="0"/>
                    <a:pt x="2032388" y="0"/>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FD06736A-CB65-3D82-B5B0-3D4786230E13}"/>
                </a:ext>
              </a:extLst>
            </p:cNvPr>
            <p:cNvSpPr/>
            <p:nvPr/>
          </p:nvSpPr>
          <p:spPr>
            <a:xfrm>
              <a:off x="-3362584" y="1149499"/>
              <a:ext cx="2205085" cy="2782815"/>
            </a:xfrm>
            <a:custGeom>
              <a:avLst/>
              <a:gdLst>
                <a:gd name="connsiteX0" fmla="*/ 1102379 w 2205085"/>
                <a:gd name="connsiteY0" fmla="*/ 2782815 h 2782815"/>
                <a:gd name="connsiteX1" fmla="*/ 2031733 w 2205085"/>
                <a:gd name="connsiteY1" fmla="*/ 2782815 h 2782815"/>
                <a:gd name="connsiteX2" fmla="*/ 2205086 w 2205085"/>
                <a:gd name="connsiteY2" fmla="*/ 2609469 h 2782815"/>
                <a:gd name="connsiteX3" fmla="*/ 2205086 w 2205085"/>
                <a:gd name="connsiteY3" fmla="*/ 355226 h 2782815"/>
                <a:gd name="connsiteX4" fmla="*/ 2205086 w 2205085"/>
                <a:gd name="connsiteY4" fmla="*/ 173353 h 2782815"/>
                <a:gd name="connsiteX5" fmla="*/ 2031733 w 2205085"/>
                <a:gd name="connsiteY5" fmla="*/ 0 h 2782815"/>
                <a:gd name="connsiteX6" fmla="*/ 1102379 w 2205085"/>
                <a:gd name="connsiteY6" fmla="*/ 0 h 2782815"/>
                <a:gd name="connsiteX7" fmla="*/ 793359 w 2205085"/>
                <a:gd name="connsiteY7" fmla="*/ 0 h 2782815"/>
                <a:gd name="connsiteX8" fmla="*/ 793359 w 2205085"/>
                <a:gd name="connsiteY8" fmla="*/ 57347 h 2782815"/>
                <a:gd name="connsiteX9" fmla="*/ 794342 w 2205085"/>
                <a:gd name="connsiteY9" fmla="*/ 75698 h 2782815"/>
                <a:gd name="connsiteX10" fmla="*/ 794342 w 2205085"/>
                <a:gd name="connsiteY10" fmla="*/ 453535 h 2782815"/>
                <a:gd name="connsiteX11" fmla="*/ 794342 w 2205085"/>
                <a:gd name="connsiteY11" fmla="*/ 550534 h 2782815"/>
                <a:gd name="connsiteX12" fmla="*/ 550206 w 2205085"/>
                <a:gd name="connsiteY12" fmla="*/ 794670 h 2782815"/>
                <a:gd name="connsiteX13" fmla="*/ 453208 w 2205085"/>
                <a:gd name="connsiteY13" fmla="*/ 794670 h 2782815"/>
                <a:gd name="connsiteX14" fmla="*/ 75371 w 2205085"/>
                <a:gd name="connsiteY14" fmla="*/ 794670 h 2782815"/>
                <a:gd name="connsiteX15" fmla="*/ 60297 w 2205085"/>
                <a:gd name="connsiteY15" fmla="*/ 794014 h 2782815"/>
                <a:gd name="connsiteX16" fmla="*/ 0 w 2205085"/>
                <a:gd name="connsiteY16" fmla="*/ 794014 h 2782815"/>
                <a:gd name="connsiteX17" fmla="*/ 0 w 2205085"/>
                <a:gd name="connsiteY17" fmla="*/ 2609469 h 2782815"/>
                <a:gd name="connsiteX18" fmla="*/ 173353 w 2205085"/>
                <a:gd name="connsiteY18" fmla="*/ 2782815 h 2782815"/>
                <a:gd name="connsiteX19" fmla="*/ 363418 w 2205085"/>
                <a:gd name="connsiteY19" fmla="*/ 2782815 h 2782815"/>
                <a:gd name="connsiteX20" fmla="*/ 1102379 w 2205085"/>
                <a:gd name="connsiteY20" fmla="*/ 2782815 h 2782815"/>
                <a:gd name="connsiteX21" fmla="*/ 1102379 w 2205085"/>
                <a:gd name="connsiteY21" fmla="*/ 2782815 h 2782815"/>
                <a:gd name="connsiteX22" fmla="*/ 1137443 w 2205085"/>
                <a:gd name="connsiteY22" fmla="*/ 2193616 h 2782815"/>
                <a:gd name="connsiteX23" fmla="*/ 531528 w 2205085"/>
                <a:gd name="connsiteY23" fmla="*/ 2193616 h 2782815"/>
                <a:gd name="connsiteX24" fmla="*/ 449603 w 2205085"/>
                <a:gd name="connsiteY24" fmla="*/ 2111692 h 2782815"/>
                <a:gd name="connsiteX25" fmla="*/ 531528 w 2205085"/>
                <a:gd name="connsiteY25" fmla="*/ 2029767 h 2782815"/>
                <a:gd name="connsiteX26" fmla="*/ 1137770 w 2205085"/>
                <a:gd name="connsiteY26" fmla="*/ 2029767 h 2782815"/>
                <a:gd name="connsiteX27" fmla="*/ 1219695 w 2205085"/>
                <a:gd name="connsiteY27" fmla="*/ 2111692 h 2782815"/>
                <a:gd name="connsiteX28" fmla="*/ 1137443 w 2205085"/>
                <a:gd name="connsiteY28" fmla="*/ 2193616 h 2782815"/>
                <a:gd name="connsiteX29" fmla="*/ 1743686 w 2205085"/>
                <a:gd name="connsiteY29" fmla="*/ 1775476 h 2782815"/>
                <a:gd name="connsiteX30" fmla="*/ 531528 w 2205085"/>
                <a:gd name="connsiteY30" fmla="*/ 1775476 h 2782815"/>
                <a:gd name="connsiteX31" fmla="*/ 449603 w 2205085"/>
                <a:gd name="connsiteY31" fmla="*/ 1693551 h 2782815"/>
                <a:gd name="connsiteX32" fmla="*/ 531528 w 2205085"/>
                <a:gd name="connsiteY32" fmla="*/ 1611626 h 2782815"/>
                <a:gd name="connsiteX33" fmla="*/ 1743686 w 2205085"/>
                <a:gd name="connsiteY33" fmla="*/ 1611626 h 2782815"/>
                <a:gd name="connsiteX34" fmla="*/ 1825610 w 2205085"/>
                <a:gd name="connsiteY34" fmla="*/ 1693551 h 2782815"/>
                <a:gd name="connsiteX35" fmla="*/ 1743686 w 2205085"/>
                <a:gd name="connsiteY35" fmla="*/ 1775476 h 2782815"/>
                <a:gd name="connsiteX36" fmla="*/ 531528 w 2205085"/>
                <a:gd name="connsiteY36" fmla="*/ 1167591 h 2782815"/>
                <a:gd name="connsiteX37" fmla="*/ 1743686 w 2205085"/>
                <a:gd name="connsiteY37" fmla="*/ 1167591 h 2782815"/>
                <a:gd name="connsiteX38" fmla="*/ 1825610 w 2205085"/>
                <a:gd name="connsiteY38" fmla="*/ 1249516 h 2782815"/>
                <a:gd name="connsiteX39" fmla="*/ 1743686 w 2205085"/>
                <a:gd name="connsiteY39" fmla="*/ 1331440 h 2782815"/>
                <a:gd name="connsiteX40" fmla="*/ 531528 w 2205085"/>
                <a:gd name="connsiteY40" fmla="*/ 1331440 h 2782815"/>
                <a:gd name="connsiteX41" fmla="*/ 449603 w 2205085"/>
                <a:gd name="connsiteY41" fmla="*/ 1249516 h 2782815"/>
                <a:gd name="connsiteX42" fmla="*/ 531528 w 2205085"/>
                <a:gd name="connsiteY42" fmla="*/ 1167591 h 2782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85" h="2782815">
                  <a:moveTo>
                    <a:pt x="1102379" y="2782815"/>
                  </a:moveTo>
                  <a:lnTo>
                    <a:pt x="2031733" y="2782815"/>
                  </a:lnTo>
                  <a:cubicBezTo>
                    <a:pt x="2127421" y="2782815"/>
                    <a:pt x="2205086" y="2705154"/>
                    <a:pt x="2205086" y="2609469"/>
                  </a:cubicBezTo>
                  <a:lnTo>
                    <a:pt x="2205086" y="355226"/>
                  </a:lnTo>
                  <a:lnTo>
                    <a:pt x="2205086" y="173353"/>
                  </a:lnTo>
                  <a:cubicBezTo>
                    <a:pt x="2205086" y="77665"/>
                    <a:pt x="2127421" y="0"/>
                    <a:pt x="2031733" y="0"/>
                  </a:cubicBezTo>
                  <a:lnTo>
                    <a:pt x="1102379" y="0"/>
                  </a:lnTo>
                  <a:lnTo>
                    <a:pt x="793359" y="0"/>
                  </a:lnTo>
                  <a:lnTo>
                    <a:pt x="793359" y="57347"/>
                  </a:lnTo>
                  <a:cubicBezTo>
                    <a:pt x="794011" y="63246"/>
                    <a:pt x="794342" y="69472"/>
                    <a:pt x="794342" y="75698"/>
                  </a:cubicBezTo>
                  <a:lnTo>
                    <a:pt x="794342" y="453535"/>
                  </a:lnTo>
                  <a:lnTo>
                    <a:pt x="794342" y="550534"/>
                  </a:lnTo>
                  <a:cubicBezTo>
                    <a:pt x="794342" y="685218"/>
                    <a:pt x="684891" y="794670"/>
                    <a:pt x="550206" y="794670"/>
                  </a:cubicBezTo>
                  <a:lnTo>
                    <a:pt x="453208" y="794670"/>
                  </a:lnTo>
                  <a:lnTo>
                    <a:pt x="75371" y="794670"/>
                  </a:lnTo>
                  <a:cubicBezTo>
                    <a:pt x="70455" y="794670"/>
                    <a:pt x="65212" y="794342"/>
                    <a:pt x="60297" y="794014"/>
                  </a:cubicBezTo>
                  <a:lnTo>
                    <a:pt x="0" y="794014"/>
                  </a:lnTo>
                  <a:lnTo>
                    <a:pt x="0" y="2609469"/>
                  </a:lnTo>
                  <a:cubicBezTo>
                    <a:pt x="0" y="2705154"/>
                    <a:pt x="77665" y="2782815"/>
                    <a:pt x="173353" y="2782815"/>
                  </a:cubicBezTo>
                  <a:lnTo>
                    <a:pt x="363418" y="2782815"/>
                  </a:lnTo>
                  <a:lnTo>
                    <a:pt x="1102379" y="2782815"/>
                  </a:lnTo>
                  <a:lnTo>
                    <a:pt x="1102379" y="2782815"/>
                  </a:lnTo>
                  <a:close/>
                  <a:moveTo>
                    <a:pt x="1137443" y="2193616"/>
                  </a:moveTo>
                  <a:lnTo>
                    <a:pt x="531528" y="2193616"/>
                  </a:lnTo>
                  <a:cubicBezTo>
                    <a:pt x="486305" y="2193616"/>
                    <a:pt x="449603" y="2156911"/>
                    <a:pt x="449603" y="2111692"/>
                  </a:cubicBezTo>
                  <a:cubicBezTo>
                    <a:pt x="449603" y="2066466"/>
                    <a:pt x="486305" y="2029767"/>
                    <a:pt x="531528" y="2029767"/>
                  </a:cubicBezTo>
                  <a:lnTo>
                    <a:pt x="1137770" y="2029767"/>
                  </a:lnTo>
                  <a:cubicBezTo>
                    <a:pt x="1182993" y="2029767"/>
                    <a:pt x="1219695" y="2066466"/>
                    <a:pt x="1219695" y="2111692"/>
                  </a:cubicBezTo>
                  <a:cubicBezTo>
                    <a:pt x="1219695" y="2156911"/>
                    <a:pt x="1182665" y="2193616"/>
                    <a:pt x="1137443" y="2193616"/>
                  </a:cubicBezTo>
                  <a:close/>
                  <a:moveTo>
                    <a:pt x="1743686" y="1775476"/>
                  </a:moveTo>
                  <a:lnTo>
                    <a:pt x="531528" y="1775476"/>
                  </a:lnTo>
                  <a:cubicBezTo>
                    <a:pt x="486305" y="1775476"/>
                    <a:pt x="449603" y="1738770"/>
                    <a:pt x="449603" y="1693551"/>
                  </a:cubicBezTo>
                  <a:cubicBezTo>
                    <a:pt x="449603" y="1648325"/>
                    <a:pt x="486305" y="1611626"/>
                    <a:pt x="531528" y="1611626"/>
                  </a:cubicBezTo>
                  <a:lnTo>
                    <a:pt x="1743686" y="1611626"/>
                  </a:lnTo>
                  <a:cubicBezTo>
                    <a:pt x="1788908" y="1611626"/>
                    <a:pt x="1825610" y="1648325"/>
                    <a:pt x="1825610" y="1693551"/>
                  </a:cubicBezTo>
                  <a:cubicBezTo>
                    <a:pt x="1825610" y="1738770"/>
                    <a:pt x="1788908" y="1775476"/>
                    <a:pt x="1743686" y="1775476"/>
                  </a:cubicBezTo>
                  <a:close/>
                  <a:moveTo>
                    <a:pt x="531528" y="1167591"/>
                  </a:moveTo>
                  <a:lnTo>
                    <a:pt x="1743686" y="1167591"/>
                  </a:lnTo>
                  <a:cubicBezTo>
                    <a:pt x="1788908" y="1167591"/>
                    <a:pt x="1825610" y="1204293"/>
                    <a:pt x="1825610" y="1249516"/>
                  </a:cubicBezTo>
                  <a:cubicBezTo>
                    <a:pt x="1825610" y="1294738"/>
                    <a:pt x="1788908" y="1331440"/>
                    <a:pt x="1743686" y="1331440"/>
                  </a:cubicBezTo>
                  <a:lnTo>
                    <a:pt x="531528" y="1331440"/>
                  </a:lnTo>
                  <a:cubicBezTo>
                    <a:pt x="486305" y="1331440"/>
                    <a:pt x="449603" y="1294738"/>
                    <a:pt x="449603" y="1249516"/>
                  </a:cubicBezTo>
                  <a:cubicBezTo>
                    <a:pt x="449603" y="1204293"/>
                    <a:pt x="486305" y="1167591"/>
                    <a:pt x="531528" y="1167591"/>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96A50601-50C3-D9B0-E9A0-E00A7AB75A8A}"/>
                </a:ext>
              </a:extLst>
            </p:cNvPr>
            <p:cNvSpPr/>
            <p:nvPr/>
          </p:nvSpPr>
          <p:spPr>
            <a:xfrm>
              <a:off x="-3360467" y="1152120"/>
              <a:ext cx="693587" cy="693738"/>
            </a:xfrm>
            <a:custGeom>
              <a:avLst/>
              <a:gdLst>
                <a:gd name="connsiteX0" fmla="*/ 73254 w 693587"/>
                <a:gd name="connsiteY0" fmla="*/ 693739 h 693738"/>
                <a:gd name="connsiteX1" fmla="*/ 548090 w 693587"/>
                <a:gd name="connsiteY1" fmla="*/ 693739 h 693738"/>
                <a:gd name="connsiteX2" fmla="*/ 549400 w 693587"/>
                <a:gd name="connsiteY2" fmla="*/ 693739 h 693738"/>
                <a:gd name="connsiteX3" fmla="*/ 693588 w 693587"/>
                <a:gd name="connsiteY3" fmla="*/ 549551 h 693738"/>
                <a:gd name="connsiteX4" fmla="*/ 693588 w 693587"/>
                <a:gd name="connsiteY4" fmla="*/ 548240 h 693738"/>
                <a:gd name="connsiteX5" fmla="*/ 693588 w 693587"/>
                <a:gd name="connsiteY5" fmla="*/ 73077 h 693738"/>
                <a:gd name="connsiteX6" fmla="*/ 620187 w 693587"/>
                <a:gd name="connsiteY6" fmla="*/ 0 h 693738"/>
                <a:gd name="connsiteX7" fmla="*/ 569066 w 693587"/>
                <a:gd name="connsiteY7" fmla="*/ 21628 h 693738"/>
                <a:gd name="connsiteX8" fmla="*/ 21477 w 693587"/>
                <a:gd name="connsiteY8" fmla="*/ 569213 h 693738"/>
                <a:gd name="connsiteX9" fmla="*/ 73254 w 693587"/>
                <a:gd name="connsiteY9" fmla="*/ 693739 h 69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3587" h="693738">
                  <a:moveTo>
                    <a:pt x="73254" y="693739"/>
                  </a:moveTo>
                  <a:lnTo>
                    <a:pt x="548090" y="693739"/>
                  </a:lnTo>
                  <a:cubicBezTo>
                    <a:pt x="548417" y="693739"/>
                    <a:pt x="549073" y="693739"/>
                    <a:pt x="549400" y="693739"/>
                  </a:cubicBezTo>
                  <a:cubicBezTo>
                    <a:pt x="628703" y="693083"/>
                    <a:pt x="692932" y="628854"/>
                    <a:pt x="693588" y="549551"/>
                  </a:cubicBezTo>
                  <a:cubicBezTo>
                    <a:pt x="693588" y="549223"/>
                    <a:pt x="693588" y="548568"/>
                    <a:pt x="693588" y="548240"/>
                  </a:cubicBezTo>
                  <a:lnTo>
                    <a:pt x="693588" y="73077"/>
                  </a:lnTo>
                  <a:cubicBezTo>
                    <a:pt x="693588" y="29165"/>
                    <a:pt x="657541" y="0"/>
                    <a:pt x="620187" y="0"/>
                  </a:cubicBezTo>
                  <a:cubicBezTo>
                    <a:pt x="602163" y="0"/>
                    <a:pt x="584140" y="6554"/>
                    <a:pt x="569066" y="21628"/>
                  </a:cubicBezTo>
                  <a:lnTo>
                    <a:pt x="21477" y="569213"/>
                  </a:lnTo>
                  <a:cubicBezTo>
                    <a:pt x="-24400" y="615091"/>
                    <a:pt x="8042" y="693739"/>
                    <a:pt x="73254" y="693739"/>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 name="TextBox 12">
            <a:extLst>
              <a:ext uri="{FF2B5EF4-FFF2-40B4-BE49-F238E27FC236}">
                <a16:creationId xmlns:a16="http://schemas.microsoft.com/office/drawing/2014/main" id="{BEB14C81-E93B-CB1D-82A4-330064D2C0CA}"/>
              </a:ext>
            </a:extLst>
          </p:cNvPr>
          <p:cNvSpPr txBox="1"/>
          <p:nvPr userDrawn="1"/>
        </p:nvSpPr>
        <p:spPr>
          <a:xfrm>
            <a:off x="6003690" y="791435"/>
            <a:ext cx="2439063" cy="49244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tx1"/>
                </a:solidFill>
                <a:effectLst/>
                <a:uLnTx/>
                <a:uFillTx/>
                <a:latin typeface="Segoe UI Semibold"/>
                <a:ea typeface="+mn-ea"/>
                <a:cs typeface="+mn-cs"/>
              </a:rPr>
              <a:t>Learn more</a:t>
            </a:r>
          </a:p>
        </p:txBody>
      </p:sp>
      <p:graphicFrame>
        <p:nvGraphicFramePr>
          <p:cNvPr id="14" name="Table 13">
            <a:extLst>
              <a:ext uri="{FF2B5EF4-FFF2-40B4-BE49-F238E27FC236}">
                <a16:creationId xmlns:a16="http://schemas.microsoft.com/office/drawing/2014/main" id="{90D76966-71AF-CD78-07DC-0298D631DF8A}"/>
              </a:ext>
            </a:extLst>
          </p:cNvPr>
          <p:cNvGraphicFramePr>
            <a:graphicFrameLocks noGrp="1"/>
          </p:cNvGraphicFramePr>
          <p:nvPr userDrawn="1">
            <p:extLst>
              <p:ext uri="{D42A27DB-BD31-4B8C-83A1-F6EECF244321}">
                <p14:modId xmlns:p14="http://schemas.microsoft.com/office/powerpoint/2010/main" val="3796478736"/>
              </p:ext>
            </p:extLst>
          </p:nvPr>
        </p:nvGraphicFramePr>
        <p:xfrm>
          <a:off x="5194981" y="1738544"/>
          <a:ext cx="6596685" cy="3502149"/>
        </p:xfrm>
        <a:graphic>
          <a:graphicData uri="http://schemas.openxmlformats.org/drawingml/2006/table">
            <a:tbl>
              <a:tblPr firstRow="1" bandRow="1">
                <a:tableStyleId>{5C22544A-7EE6-4342-B048-85BDC9FD1C3A}</a:tableStyleId>
              </a:tblPr>
              <a:tblGrid>
                <a:gridCol w="3236638">
                  <a:extLst>
                    <a:ext uri="{9D8B030D-6E8A-4147-A177-3AD203B41FA5}">
                      <a16:colId xmlns:a16="http://schemas.microsoft.com/office/drawing/2014/main" val="3351332866"/>
                    </a:ext>
                  </a:extLst>
                </a:gridCol>
                <a:gridCol w="3360047">
                  <a:extLst>
                    <a:ext uri="{9D8B030D-6E8A-4147-A177-3AD203B41FA5}">
                      <a16:colId xmlns:a16="http://schemas.microsoft.com/office/drawing/2014/main" val="63126876"/>
                    </a:ext>
                  </a:extLst>
                </a:gridCol>
              </a:tblGrid>
              <a:tr h="500307">
                <a:tc>
                  <a:txBody>
                    <a:bodyPr/>
                    <a:lstStyle/>
                    <a:p>
                      <a:r>
                        <a:rPr lang="en-US" sz="1600" b="0">
                          <a:solidFill>
                            <a:schemeClr val="tx1"/>
                          </a:solidFill>
                          <a:latin typeface="+mn-lt"/>
                        </a:rPr>
                        <a:t>Websit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b="0">
                          <a:solidFill>
                            <a:schemeClr val="bg2"/>
                          </a:solidFill>
                          <a:latin typeface="+mn-lt"/>
                        </a:rPr>
                        <a:t>aka.ms</a:t>
                      </a:r>
                      <a:r>
                        <a:rPr lang="en-US" sz="1600" b="0">
                          <a:solidFill>
                            <a:schemeClr val="bg2"/>
                          </a:solidFill>
                          <a:latin typeface="+mj-lt"/>
                        </a:rPr>
                        <a:t>/</a:t>
                      </a:r>
                      <a:r>
                        <a:rPr lang="en-US" sz="1600" b="1" err="1">
                          <a:solidFill>
                            <a:schemeClr val="bg2"/>
                          </a:solidFill>
                          <a:latin typeface="+mj-lt"/>
                        </a:rPr>
                        <a:t>copilotstudio</a:t>
                      </a:r>
                      <a:endParaRPr lang="en-US" sz="1600" b="1">
                        <a:solidFill>
                          <a:schemeClr val="bg2"/>
                        </a:solidFill>
                        <a:latin typeface="+mj-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07650000"/>
                  </a:ext>
                </a:extLst>
              </a:tr>
              <a:tr h="500307">
                <a:tc>
                  <a:txBody>
                    <a:bodyPr/>
                    <a:lstStyle/>
                    <a:p>
                      <a:r>
                        <a:rPr lang="en-US" sz="1600" b="0">
                          <a:solidFill>
                            <a:schemeClr val="tx1"/>
                          </a:solidFill>
                          <a:latin typeface="+mn-lt"/>
                        </a:rPr>
                        <a:t>Blog</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a:solidFill>
                            <a:schemeClr val="bg2"/>
                          </a:solidFill>
                          <a:latin typeface="+mn-lt"/>
                        </a:rPr>
                        <a:t>aka.ms</a:t>
                      </a:r>
                      <a:r>
                        <a:rPr lang="en-US" sz="1600" b="0" kern="1200">
                          <a:solidFill>
                            <a:schemeClr val="bg2"/>
                          </a:solidFill>
                          <a:latin typeface="+mj-lt"/>
                          <a:ea typeface="+mn-ea"/>
                          <a:cs typeface="+mn-cs"/>
                        </a:rPr>
                        <a:t>/</a:t>
                      </a:r>
                      <a:r>
                        <a:rPr lang="en-US" sz="1600" b="0" kern="1200" err="1">
                          <a:solidFill>
                            <a:schemeClr val="bg2"/>
                          </a:solidFill>
                          <a:latin typeface="+mj-lt"/>
                          <a:ea typeface="+mn-ea"/>
                          <a:cs typeface="+mn-cs"/>
                        </a:rPr>
                        <a:t>copilotstudio</a:t>
                      </a:r>
                      <a:r>
                        <a:rPr lang="en-US" sz="1600" b="1" kern="1200">
                          <a:solidFill>
                            <a:schemeClr val="bg2"/>
                          </a:solidFill>
                          <a:latin typeface="+mj-lt"/>
                          <a:ea typeface="+mn-ea"/>
                          <a:cs typeface="+mn-cs"/>
                        </a:rPr>
                        <a:t>-blog</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3244394"/>
                  </a:ext>
                </a:extLst>
              </a:tr>
              <a:tr h="500307">
                <a:tc>
                  <a:txBody>
                    <a:bodyPr/>
                    <a:lstStyle/>
                    <a:p>
                      <a:r>
                        <a:rPr lang="en-US" sz="1600" b="0">
                          <a:solidFill>
                            <a:schemeClr val="tx1"/>
                          </a:solidFill>
                          <a:latin typeface="+mn-lt"/>
                        </a:rPr>
                        <a:t>Demo</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bg2"/>
                          </a:solidFill>
                          <a:latin typeface="+mn-lt"/>
                        </a:rPr>
                        <a:t>aka.ms</a:t>
                      </a:r>
                      <a:r>
                        <a:rPr lang="en-US" sz="1600" b="0">
                          <a:solidFill>
                            <a:schemeClr val="bg2"/>
                          </a:solidFill>
                          <a:latin typeface="+mj-lt"/>
                        </a:rPr>
                        <a:t>/</a:t>
                      </a:r>
                      <a:r>
                        <a:rPr lang="en-US" sz="1600" b="1" err="1">
                          <a:solidFill>
                            <a:schemeClr val="bg2"/>
                          </a:solidFill>
                          <a:latin typeface="+mj-lt"/>
                        </a:rPr>
                        <a:t>copilotstudiodemo</a:t>
                      </a:r>
                      <a:endParaRPr lang="en-US" sz="1600" b="1">
                        <a:solidFill>
                          <a:schemeClr val="bg2"/>
                        </a:solidFill>
                        <a:latin typeface="+mj-l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30950937"/>
                  </a:ext>
                </a:extLst>
              </a:tr>
              <a:tr h="500307">
                <a:tc>
                  <a:txBody>
                    <a:bodyPr/>
                    <a:lstStyle/>
                    <a:p>
                      <a:r>
                        <a:rPr lang="en-US" sz="1600" b="0">
                          <a:solidFill>
                            <a:schemeClr val="tx1"/>
                          </a:solidFill>
                          <a:latin typeface="+mn-lt"/>
                        </a:rPr>
                        <a:t>Product document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a:solidFill>
                            <a:schemeClr val="bg2"/>
                          </a:solidFill>
                          <a:latin typeface="+mn-lt"/>
                        </a:rPr>
                        <a:t>aka.ms</a:t>
                      </a:r>
                      <a:r>
                        <a:rPr lang="en-US" sz="1600">
                          <a:solidFill>
                            <a:schemeClr val="bg2"/>
                          </a:solidFill>
                          <a:latin typeface="+mj-lt"/>
                        </a:rPr>
                        <a:t>/</a:t>
                      </a:r>
                      <a:r>
                        <a:rPr lang="en-US" sz="1600" b="1" err="1">
                          <a:solidFill>
                            <a:schemeClr val="bg2"/>
                          </a:solidFill>
                          <a:latin typeface="+mj-lt"/>
                        </a:rPr>
                        <a:t>copilotstudiodocs</a:t>
                      </a:r>
                      <a:endParaRPr lang="en-US" sz="1600" b="1">
                        <a:solidFill>
                          <a:schemeClr val="bg2"/>
                        </a:solidFill>
                        <a:latin typeface="+mj-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77956343"/>
                  </a:ext>
                </a:extLst>
              </a:tr>
              <a:tr h="500307">
                <a:tc>
                  <a:txBody>
                    <a:bodyPr/>
                    <a:lstStyle/>
                    <a:p>
                      <a:r>
                        <a:rPr lang="en-US" sz="1600" b="0">
                          <a:solidFill>
                            <a:schemeClr val="tx1"/>
                          </a:solidFill>
                          <a:latin typeface="+mn-lt"/>
                        </a:rPr>
                        <a:t>Learning resourc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b="1">
                          <a:solidFill>
                            <a:schemeClr val="bg2"/>
                          </a:solidFill>
                          <a:latin typeface="+mj-lt"/>
                        </a:rPr>
                        <a:t>aka.ms/</a:t>
                      </a:r>
                      <a:r>
                        <a:rPr lang="en-US" sz="1600" b="1" err="1">
                          <a:solidFill>
                            <a:schemeClr val="bg2"/>
                          </a:solidFill>
                          <a:latin typeface="+mj-lt"/>
                        </a:rPr>
                        <a:t>copilotstudiolearn</a:t>
                      </a:r>
                      <a:endParaRPr lang="en-US" sz="1600" b="1">
                        <a:solidFill>
                          <a:schemeClr val="bg2"/>
                        </a:solidFill>
                        <a:latin typeface="+mj-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72495656"/>
                  </a:ext>
                </a:extLst>
              </a:tr>
              <a:tr h="500307">
                <a:tc>
                  <a:txBody>
                    <a:bodyPr/>
                    <a:lstStyle/>
                    <a:p>
                      <a:r>
                        <a:rPr lang="en-US" sz="1600">
                          <a:solidFill>
                            <a:schemeClr val="tx1"/>
                          </a:solidFill>
                          <a:latin typeface="+mn-lt"/>
                        </a:rPr>
                        <a:t>Community p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a:solidFill>
                            <a:schemeClr val="bg2"/>
                          </a:solidFill>
                          <a:latin typeface="+mn-lt"/>
                        </a:rPr>
                        <a:t>aka.ms</a:t>
                      </a:r>
                      <a:r>
                        <a:rPr lang="en-US" sz="1600">
                          <a:solidFill>
                            <a:schemeClr val="bg2"/>
                          </a:solidFill>
                          <a:latin typeface="+mj-lt"/>
                        </a:rPr>
                        <a:t>/</a:t>
                      </a:r>
                      <a:r>
                        <a:rPr lang="en-US" sz="1600" b="1" err="1">
                          <a:solidFill>
                            <a:schemeClr val="bg2"/>
                          </a:solidFill>
                          <a:latin typeface="+mj-lt"/>
                        </a:rPr>
                        <a:t>copilotstudiocommunity</a:t>
                      </a:r>
                      <a:endParaRPr lang="en-US" sz="1600" b="1">
                        <a:solidFill>
                          <a:schemeClr val="bg2"/>
                        </a:solidFill>
                        <a:latin typeface="+mj-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7798562"/>
                  </a:ext>
                </a:extLst>
              </a:tr>
              <a:tr h="500307">
                <a:tc>
                  <a:txBody>
                    <a:bodyPr/>
                    <a:lstStyle/>
                    <a:p>
                      <a:r>
                        <a:rPr lang="en-US" sz="1600">
                          <a:solidFill>
                            <a:schemeClr val="tx1"/>
                          </a:solidFill>
                          <a:latin typeface="+mn-lt"/>
                        </a:rPr>
                        <a:t>Implementation guid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strike="noStrike" kern="1200" noProof="0">
                          <a:solidFill>
                            <a:schemeClr val="bg2"/>
                          </a:solidFill>
                          <a:latin typeface="+mn-lt"/>
                          <a:ea typeface="+mn-ea"/>
                          <a:cs typeface="+mn-cs"/>
                        </a:rPr>
                        <a:t>aka.ms</a:t>
                      </a:r>
                      <a:r>
                        <a:rPr lang="en-US" sz="1600" b="0" strike="noStrike" kern="1200" noProof="0">
                          <a:solidFill>
                            <a:schemeClr val="bg2"/>
                          </a:solidFill>
                          <a:latin typeface="+mj-lt"/>
                          <a:ea typeface="+mn-ea"/>
                          <a:cs typeface="+mn-cs"/>
                        </a:rPr>
                        <a:t>/</a:t>
                      </a:r>
                      <a:r>
                        <a:rPr lang="en-US" sz="1600" b="0" strike="noStrike" kern="1200" err="1">
                          <a:solidFill>
                            <a:schemeClr val="bg2"/>
                          </a:solidFill>
                          <a:latin typeface="+mj-lt"/>
                          <a:ea typeface="+mn-ea"/>
                          <a:cs typeface="+mn-cs"/>
                        </a:rPr>
                        <a:t>copilotstudioimplement</a:t>
                      </a:r>
                      <a:endParaRPr lang="en-US" sz="1600" b="0" strike="noStrike" kern="1200" noProof="0">
                        <a:solidFill>
                          <a:schemeClr val="bg2"/>
                        </a:solidFill>
                        <a:latin typeface="+mj-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62435169"/>
                  </a:ext>
                </a:extLst>
              </a:tr>
            </a:tbl>
          </a:graphicData>
        </a:graphic>
      </p:graphicFrame>
    </p:spTree>
    <p:extLst>
      <p:ext uri="{BB962C8B-B14F-4D97-AF65-F5344CB8AC3E}">
        <p14:creationId xmlns:p14="http://schemas.microsoft.com/office/powerpoint/2010/main" val="310646737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Use case scenario">
    <p:spTree>
      <p:nvGrpSpPr>
        <p:cNvPr id="1" name=""/>
        <p:cNvGrpSpPr/>
        <p:nvPr/>
      </p:nvGrpSpPr>
      <p:grpSpPr>
        <a:xfrm>
          <a:off x="0" y="0"/>
          <a:ext cx="0" cy="0"/>
          <a:chOff x="0" y="0"/>
          <a:chExt cx="0" cy="0"/>
        </a:xfrm>
      </p:grpSpPr>
      <p:sp>
        <p:nvSpPr>
          <p:cNvPr id="3" name="Rectangle: Rounded Corners 28">
            <a:extLst>
              <a:ext uri="{FF2B5EF4-FFF2-40B4-BE49-F238E27FC236}">
                <a16:creationId xmlns:a16="http://schemas.microsoft.com/office/drawing/2014/main" id="{DBC8F61F-4B74-83C0-C5CC-1B50F40FB9B1}"/>
              </a:ext>
            </a:extLst>
          </p:cNvPr>
          <p:cNvSpPr>
            <a:spLocks/>
          </p:cNvSpPr>
          <p:nvPr userDrawn="1"/>
        </p:nvSpPr>
        <p:spPr bwMode="auto">
          <a:xfrm>
            <a:off x="588262" y="1444511"/>
            <a:ext cx="11015476" cy="4838300"/>
          </a:xfrm>
          <a:prstGeom prst="roundRect">
            <a:avLst>
              <a:gd name="adj" fmla="val 2074"/>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10000"/>
              </a:lnSpc>
              <a:spcBef>
                <a:spcPct val="0"/>
              </a:spcBef>
              <a:spcAft>
                <a:spcPct val="0"/>
              </a:spcAft>
              <a:buClrTx/>
              <a:buSzTx/>
              <a:buFontTx/>
              <a:buNone/>
              <a:tabLst/>
            </a:pPr>
            <a:endParaRPr kumimoji="0" lang="en-US" sz="100" b="0" i="0" u="none" strike="noStrike" cap="none" spc="0" normalizeH="0" baseline="0" noProof="0">
              <a:ln>
                <a:noFill/>
              </a:ln>
              <a:solidFill>
                <a:schemeClr val="bg1"/>
              </a:solidFill>
              <a:effectLst/>
              <a:uLnTx/>
              <a:uFillTx/>
            </a:endParaRPr>
          </a:p>
        </p:txBody>
      </p:sp>
      <p:sp>
        <p:nvSpPr>
          <p:cNvPr id="4" name="Title 1">
            <a:extLst>
              <a:ext uri="{FF2B5EF4-FFF2-40B4-BE49-F238E27FC236}">
                <a16:creationId xmlns:a16="http://schemas.microsoft.com/office/drawing/2014/main" id="{CBB46B9E-46BD-DBAF-3028-F610AE497253}"/>
              </a:ext>
            </a:extLst>
          </p:cNvPr>
          <p:cNvSpPr>
            <a:spLocks noGrp="1"/>
          </p:cNvSpPr>
          <p:nvPr>
            <p:ph type="title"/>
          </p:nvPr>
        </p:nvSpPr>
        <p:spPr>
          <a:xfrm>
            <a:off x="588263" y="272457"/>
            <a:ext cx="11018520" cy="430887"/>
          </a:xfrm>
        </p:spPr>
        <p:txBody>
          <a:bodyPr/>
          <a:lstStyle>
            <a:lvl1pPr>
              <a:defRPr>
                <a:solidFill>
                  <a:schemeClr val="tx1"/>
                </a:solidFill>
              </a:defRPr>
            </a:lvl1pPr>
          </a:lstStyle>
          <a:p>
            <a:endParaRPr lang="en-US" sz="2800"/>
          </a:p>
        </p:txBody>
      </p:sp>
      <p:sp>
        <p:nvSpPr>
          <p:cNvPr id="5" name="Rectangle: Rounded Corners 6">
            <a:extLst>
              <a:ext uri="{FF2B5EF4-FFF2-40B4-BE49-F238E27FC236}">
                <a16:creationId xmlns:a16="http://schemas.microsoft.com/office/drawing/2014/main" id="{7D654A5E-F201-075F-3F2B-A5A2F124FC57}"/>
              </a:ext>
              <a:ext uri="{C183D7F6-B498-43B3-948B-1728B52AA6E4}">
                <adec:decorative xmlns:adec="http://schemas.microsoft.com/office/drawing/2017/decorative" val="1"/>
              </a:ext>
            </a:extLst>
          </p:cNvPr>
          <p:cNvSpPr/>
          <p:nvPr userDrawn="1"/>
        </p:nvSpPr>
        <p:spPr bwMode="auto">
          <a:xfrm>
            <a:off x="1107052" y="5349814"/>
            <a:ext cx="2705513" cy="582726"/>
          </a:xfrm>
          <a:prstGeom prst="roundRect">
            <a:avLst>
              <a:gd name="adj" fmla="val 8425"/>
            </a:avLst>
          </a:prstGeom>
          <a:solidFill>
            <a:schemeClr val="bg1">
              <a:alpha val="62000"/>
            </a:schemeClr>
          </a:solidFill>
          <a:ln w="1270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91440" tIns="64008" rIns="45720" bIns="45720" numCol="1" spcCol="0" rtlCol="0" fromWordArt="0" anchor="ctr"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900" b="0" i="0" u="none" strike="noStrike" kern="0" cap="none" spc="0" normalizeH="0" baseline="0" noProof="0">
              <a:ln>
                <a:noFill/>
              </a:ln>
              <a:effectLst/>
              <a:uLnTx/>
              <a:uFillTx/>
              <a:latin typeface="Segoe UI"/>
            </a:endParaRPr>
          </a:p>
        </p:txBody>
      </p:sp>
      <p:sp>
        <p:nvSpPr>
          <p:cNvPr id="6" name="Rectangle: Rounded Corners 4">
            <a:extLst>
              <a:ext uri="{FF2B5EF4-FFF2-40B4-BE49-F238E27FC236}">
                <a16:creationId xmlns:a16="http://schemas.microsoft.com/office/drawing/2014/main" id="{72364D96-BF87-7B10-EE55-88B4027BE036}"/>
              </a:ext>
            </a:extLst>
          </p:cNvPr>
          <p:cNvSpPr/>
          <p:nvPr userDrawn="1"/>
        </p:nvSpPr>
        <p:spPr bwMode="auto">
          <a:xfrm>
            <a:off x="1107052" y="4149512"/>
            <a:ext cx="2705513" cy="343994"/>
          </a:xfrm>
          <a:prstGeom prst="roundRect">
            <a:avLst>
              <a:gd name="adj" fmla="val 50000"/>
            </a:avLst>
          </a:prstGeom>
          <a:solidFill>
            <a:srgbClr val="E0FAFF"/>
          </a:solidFill>
          <a:ln>
            <a:solidFill>
              <a:schemeClr val="bg2">
                <a:lumMod val="40000"/>
                <a:lumOff val="60000"/>
              </a:schemeClr>
            </a:solidFill>
            <a:headEnd type="none" w="med" len="med"/>
            <a:tailEnd type="none" w="med" len="med"/>
          </a:ln>
          <a:effectLst>
            <a:outerShdw blurRad="63500" sx="102000" sy="102000" algn="ctr"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indent="0" algn="ctr" fontAlgn="base">
              <a:lnSpc>
                <a:spcPct val="100000"/>
              </a:lnSpc>
              <a:spcBef>
                <a:spcPct val="0"/>
              </a:spcBef>
              <a:spcAft>
                <a:spcPct val="0"/>
              </a:spcAft>
              <a:buClrTx/>
              <a:buSzTx/>
              <a:buFontTx/>
              <a:buNone/>
              <a:tabLst/>
            </a:pPr>
            <a:endParaRPr kumimoji="0" lang="en-US" sz="1200" b="1" i="0" u="none" strike="noStrike" cap="none" spc="0" normalizeH="0" baseline="0" noProof="0">
              <a:ln w="3175">
                <a:noFill/>
              </a:ln>
              <a:solidFill>
                <a:schemeClr val="bg2"/>
              </a:solidFill>
              <a:effectLst/>
              <a:uLnTx/>
              <a:uFillTx/>
              <a:latin typeface="Segoe UI Semibold"/>
              <a:cs typeface="Segoe UI" pitchFamily="34" charset="0"/>
            </a:endParaRPr>
          </a:p>
        </p:txBody>
      </p:sp>
      <p:sp>
        <p:nvSpPr>
          <p:cNvPr id="8" name="Rectangle: Rounded Corners 6">
            <a:extLst>
              <a:ext uri="{FF2B5EF4-FFF2-40B4-BE49-F238E27FC236}">
                <a16:creationId xmlns:a16="http://schemas.microsoft.com/office/drawing/2014/main" id="{160DE83A-BDDA-85EA-B24A-7EA45065B7B5}"/>
              </a:ext>
              <a:ext uri="{C183D7F6-B498-43B3-948B-1728B52AA6E4}">
                <adec:decorative xmlns:adec="http://schemas.microsoft.com/office/drawing/2017/decorative" val="1"/>
              </a:ext>
            </a:extLst>
          </p:cNvPr>
          <p:cNvSpPr/>
          <p:nvPr userDrawn="1"/>
        </p:nvSpPr>
        <p:spPr bwMode="auto">
          <a:xfrm>
            <a:off x="8028777" y="5349814"/>
            <a:ext cx="2705513" cy="582726"/>
          </a:xfrm>
          <a:prstGeom prst="roundRect">
            <a:avLst>
              <a:gd name="adj" fmla="val 8425"/>
            </a:avLst>
          </a:prstGeom>
          <a:solidFill>
            <a:schemeClr val="bg1">
              <a:alpha val="62000"/>
            </a:schemeClr>
          </a:solidFill>
          <a:ln w="1270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91440" tIns="64008" rIns="45720" bIns="45720" numCol="1" spcCol="0" rtlCol="0" fromWordArt="0" anchor="ctr"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900" b="0" i="0" u="none" strike="noStrike" kern="0" cap="none" spc="0" normalizeH="0" baseline="0" noProof="0">
              <a:ln>
                <a:noFill/>
              </a:ln>
              <a:effectLst/>
              <a:uLnTx/>
              <a:uFillTx/>
              <a:latin typeface="Segoe UI"/>
            </a:endParaRPr>
          </a:p>
        </p:txBody>
      </p:sp>
      <p:sp>
        <p:nvSpPr>
          <p:cNvPr id="9" name="Rectangle: Rounded Corners 7">
            <a:extLst>
              <a:ext uri="{FF2B5EF4-FFF2-40B4-BE49-F238E27FC236}">
                <a16:creationId xmlns:a16="http://schemas.microsoft.com/office/drawing/2014/main" id="{F30029A5-3CAD-10FE-C3DF-12EE1477843B}"/>
              </a:ext>
            </a:extLst>
          </p:cNvPr>
          <p:cNvSpPr/>
          <p:nvPr userDrawn="1"/>
        </p:nvSpPr>
        <p:spPr bwMode="auto">
          <a:xfrm>
            <a:off x="8028777" y="4151674"/>
            <a:ext cx="2705513" cy="343994"/>
          </a:xfrm>
          <a:prstGeom prst="roundRect">
            <a:avLst>
              <a:gd name="adj" fmla="val 50000"/>
            </a:avLst>
          </a:prstGeom>
          <a:solidFill>
            <a:srgbClr val="E0FAFF"/>
          </a:solidFill>
          <a:ln>
            <a:solidFill>
              <a:schemeClr val="bg2">
                <a:lumMod val="40000"/>
                <a:lumOff val="60000"/>
              </a:schemeClr>
            </a:solidFill>
            <a:headEnd type="none" w="med" len="med"/>
            <a:tailEnd type="none" w="med" len="med"/>
          </a:ln>
          <a:effectLst>
            <a:outerShdw blurRad="63500" sx="102000" sy="102000" algn="ctr"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indent="0" algn="ctr" fontAlgn="base">
              <a:lnSpc>
                <a:spcPct val="100000"/>
              </a:lnSpc>
              <a:spcBef>
                <a:spcPct val="0"/>
              </a:spcBef>
              <a:spcAft>
                <a:spcPct val="0"/>
              </a:spcAft>
              <a:buClrTx/>
              <a:buSzTx/>
              <a:buFontTx/>
              <a:buNone/>
              <a:tabLst/>
            </a:pPr>
            <a:endParaRPr kumimoji="0" lang="en-US" sz="1200" b="1" i="0" u="none" strike="noStrike" cap="none" spc="0" normalizeH="0" baseline="0" noProof="0">
              <a:ln w="3175">
                <a:noFill/>
              </a:ln>
              <a:solidFill>
                <a:schemeClr val="bg2"/>
              </a:solidFill>
              <a:effectLst/>
              <a:uLnTx/>
              <a:uFillTx/>
              <a:latin typeface="Segoe UI Semibold"/>
              <a:cs typeface="Segoe UI" pitchFamily="34" charset="0"/>
            </a:endParaRPr>
          </a:p>
        </p:txBody>
      </p:sp>
      <p:sp>
        <p:nvSpPr>
          <p:cNvPr id="11" name="Rectangle: Rounded Corners 6">
            <a:extLst>
              <a:ext uri="{FF2B5EF4-FFF2-40B4-BE49-F238E27FC236}">
                <a16:creationId xmlns:a16="http://schemas.microsoft.com/office/drawing/2014/main" id="{96115249-0466-04F3-6734-8C66104C0E67}"/>
              </a:ext>
              <a:ext uri="{C183D7F6-B498-43B3-948B-1728B52AA6E4}">
                <adec:decorative xmlns:adec="http://schemas.microsoft.com/office/drawing/2017/decorative" val="1"/>
              </a:ext>
            </a:extLst>
          </p:cNvPr>
          <p:cNvSpPr/>
          <p:nvPr userDrawn="1"/>
        </p:nvSpPr>
        <p:spPr bwMode="auto">
          <a:xfrm>
            <a:off x="1107052" y="2996299"/>
            <a:ext cx="2705513" cy="577209"/>
          </a:xfrm>
          <a:prstGeom prst="roundRect">
            <a:avLst>
              <a:gd name="adj" fmla="val 10001"/>
            </a:avLst>
          </a:prstGeom>
          <a:solidFill>
            <a:schemeClr val="bg1">
              <a:alpha val="62000"/>
            </a:schemeClr>
          </a:solidFill>
          <a:ln w="1270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91440" tIns="64008"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chemeClr val="tx1"/>
              </a:solidFill>
              <a:effectLst/>
              <a:uLnTx/>
              <a:uFillTx/>
              <a:latin typeface="Segoe UI"/>
              <a:ea typeface="+mn-ea"/>
              <a:cs typeface="+mn-cs"/>
            </a:endParaRPr>
          </a:p>
        </p:txBody>
      </p:sp>
      <p:sp>
        <p:nvSpPr>
          <p:cNvPr id="12" name="Rectangle: Rounded Corners 11">
            <a:extLst>
              <a:ext uri="{FF2B5EF4-FFF2-40B4-BE49-F238E27FC236}">
                <a16:creationId xmlns:a16="http://schemas.microsoft.com/office/drawing/2014/main" id="{51D8859E-399E-0E6D-5739-2DF5A179B09A}"/>
              </a:ext>
            </a:extLst>
          </p:cNvPr>
          <p:cNvSpPr/>
          <p:nvPr userDrawn="1"/>
        </p:nvSpPr>
        <p:spPr bwMode="auto">
          <a:xfrm>
            <a:off x="1107052" y="1741631"/>
            <a:ext cx="2705513" cy="343994"/>
          </a:xfrm>
          <a:prstGeom prst="roundRect">
            <a:avLst>
              <a:gd name="adj" fmla="val 50000"/>
            </a:avLst>
          </a:prstGeom>
          <a:solidFill>
            <a:srgbClr val="E0FAFF"/>
          </a:solidFill>
          <a:ln>
            <a:solidFill>
              <a:schemeClr val="bg2">
                <a:lumMod val="40000"/>
                <a:lumOff val="60000"/>
              </a:schemeClr>
            </a:solidFill>
            <a:headEnd type="none" w="med" len="med"/>
            <a:tailEnd type="none" w="med" len="med"/>
          </a:ln>
          <a:effectLst>
            <a:outerShdw blurRad="63500" sx="102000" sy="102000" algn="ctr"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w="3175">
                <a:noFill/>
              </a:ln>
              <a:solidFill>
                <a:schemeClr val="bg2"/>
              </a:solidFill>
              <a:effectLst/>
              <a:uLnTx/>
              <a:uFillTx/>
              <a:latin typeface="Segoe UI Semibold"/>
              <a:ea typeface="+mn-ea"/>
              <a:cs typeface="Segoe UI" pitchFamily="34" charset="0"/>
            </a:endParaRPr>
          </a:p>
        </p:txBody>
      </p:sp>
      <p:sp>
        <p:nvSpPr>
          <p:cNvPr id="13" name="Rectangle: Rounded Corners 6">
            <a:extLst>
              <a:ext uri="{FF2B5EF4-FFF2-40B4-BE49-F238E27FC236}">
                <a16:creationId xmlns:a16="http://schemas.microsoft.com/office/drawing/2014/main" id="{D2022330-7142-A975-F797-B40E742938E1}"/>
              </a:ext>
              <a:ext uri="{C183D7F6-B498-43B3-948B-1728B52AA6E4}">
                <adec:decorative xmlns:adec="http://schemas.microsoft.com/office/drawing/2017/decorative" val="1"/>
              </a:ext>
            </a:extLst>
          </p:cNvPr>
          <p:cNvSpPr/>
          <p:nvPr userDrawn="1"/>
        </p:nvSpPr>
        <p:spPr bwMode="auto">
          <a:xfrm>
            <a:off x="4575471" y="2996298"/>
            <a:ext cx="2705513" cy="577210"/>
          </a:xfrm>
          <a:prstGeom prst="roundRect">
            <a:avLst>
              <a:gd name="adj" fmla="val 8425"/>
            </a:avLst>
          </a:prstGeom>
          <a:solidFill>
            <a:schemeClr val="bg1">
              <a:alpha val="62000"/>
            </a:schemeClr>
          </a:solidFill>
          <a:ln w="1270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91440" tIns="64008" rIns="45720" bIns="45720" numCol="1" spcCol="0" rtlCol="0" fromWordArt="0" anchor="ctr"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900" b="0" i="0" u="none" strike="noStrike" kern="0" cap="none" spc="0" normalizeH="0" baseline="0" noProof="0">
              <a:ln>
                <a:noFill/>
              </a:ln>
              <a:effectLst/>
              <a:uLnTx/>
              <a:uFillTx/>
              <a:latin typeface="Segoe UI"/>
            </a:endParaRPr>
          </a:p>
        </p:txBody>
      </p:sp>
      <p:sp>
        <p:nvSpPr>
          <p:cNvPr id="14" name="Rectangle: Rounded Corners 13">
            <a:extLst>
              <a:ext uri="{FF2B5EF4-FFF2-40B4-BE49-F238E27FC236}">
                <a16:creationId xmlns:a16="http://schemas.microsoft.com/office/drawing/2014/main" id="{AF3D0C6F-863D-72B5-F9AD-018404B92694}"/>
              </a:ext>
            </a:extLst>
          </p:cNvPr>
          <p:cNvSpPr/>
          <p:nvPr userDrawn="1"/>
        </p:nvSpPr>
        <p:spPr bwMode="auto">
          <a:xfrm>
            <a:off x="4575472" y="1741631"/>
            <a:ext cx="2705513" cy="343994"/>
          </a:xfrm>
          <a:prstGeom prst="roundRect">
            <a:avLst>
              <a:gd name="adj" fmla="val 50000"/>
            </a:avLst>
          </a:prstGeom>
          <a:solidFill>
            <a:srgbClr val="E0FAFF"/>
          </a:solidFill>
          <a:ln>
            <a:solidFill>
              <a:schemeClr val="bg2">
                <a:lumMod val="40000"/>
                <a:lumOff val="60000"/>
              </a:schemeClr>
            </a:solidFill>
            <a:headEnd type="none" w="med" len="med"/>
            <a:tailEnd type="none" w="med" len="med"/>
          </a:ln>
          <a:effectLst>
            <a:outerShdw blurRad="63500" sx="102000" sy="102000" algn="ctr"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indent="0" algn="ctr" fontAlgn="base">
              <a:lnSpc>
                <a:spcPct val="100000"/>
              </a:lnSpc>
              <a:spcBef>
                <a:spcPct val="0"/>
              </a:spcBef>
              <a:spcAft>
                <a:spcPct val="0"/>
              </a:spcAft>
              <a:buClrTx/>
              <a:buSzTx/>
              <a:buFontTx/>
              <a:buNone/>
              <a:tabLst/>
            </a:pPr>
            <a:endParaRPr kumimoji="0" lang="en-US" sz="1200" b="1" i="0" u="none" strike="noStrike" cap="none" spc="0" normalizeH="0" baseline="0" noProof="0">
              <a:ln w="3175">
                <a:noFill/>
              </a:ln>
              <a:solidFill>
                <a:schemeClr val="bg2"/>
              </a:solidFill>
              <a:effectLst/>
              <a:uLnTx/>
              <a:uFillTx/>
              <a:latin typeface="Segoe UI Semibold"/>
              <a:cs typeface="Segoe UI" pitchFamily="34" charset="0"/>
            </a:endParaRPr>
          </a:p>
        </p:txBody>
      </p:sp>
      <p:sp>
        <p:nvSpPr>
          <p:cNvPr id="16" name="Rectangle: Rounded Corners 15">
            <a:extLst>
              <a:ext uri="{FF2B5EF4-FFF2-40B4-BE49-F238E27FC236}">
                <a16:creationId xmlns:a16="http://schemas.microsoft.com/office/drawing/2014/main" id="{86EC33A2-1B7B-5AC3-481D-652129036512}"/>
              </a:ext>
            </a:extLst>
          </p:cNvPr>
          <p:cNvSpPr/>
          <p:nvPr userDrawn="1"/>
        </p:nvSpPr>
        <p:spPr bwMode="auto">
          <a:xfrm>
            <a:off x="8028777" y="1741631"/>
            <a:ext cx="2705513" cy="343994"/>
          </a:xfrm>
          <a:prstGeom prst="roundRect">
            <a:avLst>
              <a:gd name="adj" fmla="val 50000"/>
            </a:avLst>
          </a:prstGeom>
          <a:solidFill>
            <a:srgbClr val="E0FAFF"/>
          </a:solidFill>
          <a:ln>
            <a:solidFill>
              <a:schemeClr val="bg2">
                <a:lumMod val="40000"/>
                <a:lumOff val="60000"/>
              </a:schemeClr>
            </a:solidFill>
            <a:headEnd type="none" w="med" len="med"/>
            <a:tailEnd type="none" w="med" len="med"/>
          </a:ln>
          <a:effectLst>
            <a:outerShdw blurRad="63500" sx="102000" sy="102000" algn="ctr"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indent="0" algn="ctr" fontAlgn="base">
              <a:lnSpc>
                <a:spcPct val="100000"/>
              </a:lnSpc>
              <a:spcBef>
                <a:spcPct val="0"/>
              </a:spcBef>
              <a:spcAft>
                <a:spcPct val="0"/>
              </a:spcAft>
              <a:buClrTx/>
              <a:buSzTx/>
              <a:buFontTx/>
              <a:buNone/>
              <a:tabLst/>
            </a:pPr>
            <a:endParaRPr kumimoji="0" lang="en-US" sz="1200" b="1" i="0" u="none" strike="noStrike" cap="none" spc="0" normalizeH="0" baseline="0" noProof="0">
              <a:ln w="3175">
                <a:noFill/>
              </a:ln>
              <a:solidFill>
                <a:schemeClr val="bg2"/>
              </a:solidFill>
              <a:effectLst/>
              <a:uLnTx/>
              <a:uFillTx/>
              <a:latin typeface="Segoe UI Semibold"/>
              <a:cs typeface="Segoe UI" pitchFamily="34" charset="0"/>
            </a:endParaRPr>
          </a:p>
        </p:txBody>
      </p:sp>
      <p:sp>
        <p:nvSpPr>
          <p:cNvPr id="17" name="Rectangle: Rounded Corners 6">
            <a:extLst>
              <a:ext uri="{FF2B5EF4-FFF2-40B4-BE49-F238E27FC236}">
                <a16:creationId xmlns:a16="http://schemas.microsoft.com/office/drawing/2014/main" id="{BB6E9850-57A5-C38A-AF82-7493542748B8}"/>
              </a:ext>
              <a:ext uri="{C183D7F6-B498-43B3-948B-1728B52AA6E4}">
                <adec:decorative xmlns:adec="http://schemas.microsoft.com/office/drawing/2017/decorative" val="1"/>
              </a:ext>
            </a:extLst>
          </p:cNvPr>
          <p:cNvSpPr/>
          <p:nvPr userDrawn="1"/>
        </p:nvSpPr>
        <p:spPr bwMode="auto">
          <a:xfrm>
            <a:off x="8028777" y="2996298"/>
            <a:ext cx="2705513" cy="577210"/>
          </a:xfrm>
          <a:prstGeom prst="roundRect">
            <a:avLst>
              <a:gd name="adj" fmla="val 8425"/>
            </a:avLst>
          </a:prstGeom>
          <a:solidFill>
            <a:schemeClr val="bg1">
              <a:alpha val="62000"/>
            </a:schemeClr>
          </a:solidFill>
          <a:ln w="1270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91440" tIns="64008" rIns="45720" bIns="45720" numCol="1" spcCol="0" rtlCol="0" fromWordArt="0" anchor="ctr"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900" b="0" i="0" u="none" strike="noStrike" kern="0" cap="none" spc="0" normalizeH="0" baseline="0" noProof="0">
              <a:ln>
                <a:noFill/>
              </a:ln>
              <a:effectLst/>
              <a:uLnTx/>
              <a:uFillTx/>
              <a:latin typeface="Segoe UI"/>
            </a:endParaRPr>
          </a:p>
        </p:txBody>
      </p:sp>
      <p:sp>
        <p:nvSpPr>
          <p:cNvPr id="19" name="Rectangle: Rounded Corners 6">
            <a:extLst>
              <a:ext uri="{FF2B5EF4-FFF2-40B4-BE49-F238E27FC236}">
                <a16:creationId xmlns:a16="http://schemas.microsoft.com/office/drawing/2014/main" id="{0C30235C-34C7-5FA7-38C1-DC1EAF7ACC5F}"/>
              </a:ext>
              <a:ext uri="{C183D7F6-B498-43B3-948B-1728B52AA6E4}">
                <adec:decorative xmlns:adec="http://schemas.microsoft.com/office/drawing/2017/decorative" val="1"/>
              </a:ext>
            </a:extLst>
          </p:cNvPr>
          <p:cNvSpPr/>
          <p:nvPr userDrawn="1"/>
        </p:nvSpPr>
        <p:spPr bwMode="auto">
          <a:xfrm>
            <a:off x="4575472" y="5349814"/>
            <a:ext cx="2705513" cy="582726"/>
          </a:xfrm>
          <a:prstGeom prst="roundRect">
            <a:avLst>
              <a:gd name="adj" fmla="val 8425"/>
            </a:avLst>
          </a:prstGeom>
          <a:solidFill>
            <a:schemeClr val="bg1">
              <a:alpha val="62000"/>
            </a:schemeClr>
          </a:solidFill>
          <a:ln w="1270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91440" tIns="64008" rIns="45720" bIns="45720" numCol="1" spcCol="0" rtlCol="0" fromWordArt="0" anchor="ctr"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900" b="0" i="0" u="none" strike="noStrike" kern="0" cap="none" spc="0" normalizeH="0" baseline="0" noProof="0">
              <a:ln>
                <a:noFill/>
              </a:ln>
              <a:solidFill>
                <a:schemeClr val="tx1"/>
              </a:solidFill>
              <a:effectLst/>
              <a:uLnTx/>
              <a:uFillTx/>
              <a:latin typeface="Segoe UI"/>
            </a:endParaRPr>
          </a:p>
        </p:txBody>
      </p:sp>
      <p:sp>
        <p:nvSpPr>
          <p:cNvPr id="20" name="Rectangle: Rounded Corners 19">
            <a:extLst>
              <a:ext uri="{FF2B5EF4-FFF2-40B4-BE49-F238E27FC236}">
                <a16:creationId xmlns:a16="http://schemas.microsoft.com/office/drawing/2014/main" id="{A9BC46D2-10F9-D85D-899D-7296553995AF}"/>
              </a:ext>
            </a:extLst>
          </p:cNvPr>
          <p:cNvSpPr/>
          <p:nvPr userDrawn="1"/>
        </p:nvSpPr>
        <p:spPr bwMode="auto">
          <a:xfrm>
            <a:off x="4575472" y="4152104"/>
            <a:ext cx="2705513" cy="343994"/>
          </a:xfrm>
          <a:prstGeom prst="roundRect">
            <a:avLst>
              <a:gd name="adj" fmla="val 50000"/>
            </a:avLst>
          </a:prstGeom>
          <a:solidFill>
            <a:srgbClr val="E0FAFF"/>
          </a:solidFill>
          <a:ln>
            <a:solidFill>
              <a:schemeClr val="bg2">
                <a:lumMod val="40000"/>
                <a:lumOff val="60000"/>
              </a:schemeClr>
            </a:solidFill>
            <a:headEnd type="none" w="med" len="med"/>
            <a:tailEnd type="none" w="med" len="med"/>
          </a:ln>
          <a:effectLst>
            <a:outerShdw blurRad="63500" sx="102000" sy="102000" algn="ctr"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indent="0" algn="ctr" fontAlgn="base">
              <a:lnSpc>
                <a:spcPct val="100000"/>
              </a:lnSpc>
              <a:spcBef>
                <a:spcPct val="0"/>
              </a:spcBef>
              <a:spcAft>
                <a:spcPct val="0"/>
              </a:spcAft>
              <a:buClrTx/>
              <a:buSzTx/>
              <a:buFontTx/>
              <a:buNone/>
              <a:tabLst/>
            </a:pPr>
            <a:endParaRPr kumimoji="0" lang="en-US" sz="1200" b="1" i="0" u="none" strike="noStrike" cap="none" spc="0" normalizeH="0" baseline="0" noProof="0">
              <a:ln w="3175">
                <a:noFill/>
              </a:ln>
              <a:solidFill>
                <a:schemeClr val="bg2"/>
              </a:solidFill>
              <a:effectLst/>
              <a:uLnTx/>
              <a:uFillTx/>
              <a:latin typeface="Segoe UI Semibold"/>
              <a:cs typeface="Segoe UI" pitchFamily="34" charset="0"/>
            </a:endParaRPr>
          </a:p>
        </p:txBody>
      </p:sp>
      <p:sp>
        <p:nvSpPr>
          <p:cNvPr id="22" name="Rectangle: Rounded Corners 6">
            <a:extLst>
              <a:ext uri="{FF2B5EF4-FFF2-40B4-BE49-F238E27FC236}">
                <a16:creationId xmlns:a16="http://schemas.microsoft.com/office/drawing/2014/main" id="{CEBBAB11-DAAC-7F4D-A387-3E35951E734F}"/>
              </a:ext>
              <a:ext uri="{C183D7F6-B498-43B3-948B-1728B52AA6E4}">
                <adec:decorative xmlns:adec="http://schemas.microsoft.com/office/drawing/2017/decorative" val="1"/>
              </a:ext>
            </a:extLst>
          </p:cNvPr>
          <p:cNvSpPr/>
          <p:nvPr userDrawn="1"/>
        </p:nvSpPr>
        <p:spPr bwMode="auto">
          <a:xfrm>
            <a:off x="588262" y="977145"/>
            <a:ext cx="1188720" cy="169396"/>
          </a:xfrm>
          <a:prstGeom prst="roundRect">
            <a:avLst>
              <a:gd name="adj" fmla="val 8425"/>
            </a:avLst>
          </a:prstGeom>
          <a:noFill/>
          <a:ln w="2540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chemeClr val="bg2"/>
                </a:solidFill>
                <a:effectLst/>
                <a:uLnTx/>
                <a:uFillTx/>
                <a:latin typeface="Segoe UI Semibold" panose="020B0702040204020203" pitchFamily="34" charset="0"/>
                <a:ea typeface="+mn-ea"/>
                <a:cs typeface="Segoe UI Semibold" panose="020B0702040204020203" pitchFamily="34" charset="0"/>
              </a:rPr>
              <a:t>Potential benefits</a:t>
            </a:r>
          </a:p>
        </p:txBody>
      </p:sp>
      <p:sp>
        <p:nvSpPr>
          <p:cNvPr id="25" name="Rectangle: Rounded Corners 6">
            <a:extLst>
              <a:ext uri="{FF2B5EF4-FFF2-40B4-BE49-F238E27FC236}">
                <a16:creationId xmlns:a16="http://schemas.microsoft.com/office/drawing/2014/main" id="{60338395-4A6B-FD31-84AC-D50D04DE76DF}"/>
              </a:ext>
              <a:ext uri="{C183D7F6-B498-43B3-948B-1728B52AA6E4}">
                <adec:decorative xmlns:adec="http://schemas.microsoft.com/office/drawing/2017/decorative" val="1"/>
              </a:ext>
            </a:extLst>
          </p:cNvPr>
          <p:cNvSpPr/>
          <p:nvPr userDrawn="1"/>
        </p:nvSpPr>
        <p:spPr bwMode="auto">
          <a:xfrm>
            <a:off x="1776982" y="940944"/>
            <a:ext cx="3256032" cy="236369"/>
          </a:xfrm>
          <a:prstGeom prst="roundRect">
            <a:avLst>
              <a:gd name="adj" fmla="val 50000"/>
            </a:avLst>
          </a:prstGeom>
          <a:solidFill>
            <a:srgbClr val="0090A8"/>
          </a:solidFill>
          <a:ln w="6350" cap="flat">
            <a:solidFill>
              <a:schemeClr val="bg2">
                <a:lumMod val="40000"/>
                <a:lumOff val="6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R="0" lvl="0" indent="0" algn="ctr" defTabSz="932472" fontAlgn="base">
              <a:lnSpc>
                <a:spcPct val="100000"/>
              </a:lnSpc>
              <a:spcBef>
                <a:spcPct val="0"/>
              </a:spcBef>
              <a:spcAft>
                <a:spcPct val="0"/>
              </a:spcAft>
              <a:buClrTx/>
              <a:buSzTx/>
              <a:buFontTx/>
              <a:buNone/>
              <a:tabLst/>
            </a:pPr>
            <a:endParaRPr kumimoji="0" lang="en-US" sz="1000" b="0" i="0" u="none" strike="noStrike" kern="0" cap="none" spc="0" normalizeH="0" baseline="0" noProof="0">
              <a:ln>
                <a:noFill/>
              </a:ln>
              <a:solidFill>
                <a:schemeClr val="bg1"/>
              </a:solidFill>
              <a:effectLst/>
              <a:uLnTx/>
              <a:uFillTx/>
              <a:latin typeface="+mj-lt"/>
              <a:cs typeface="Segoe UI" pitchFamily="34" charset="0"/>
            </a:endParaRPr>
          </a:p>
        </p:txBody>
      </p:sp>
      <p:sp>
        <p:nvSpPr>
          <p:cNvPr id="27" name="Rectangle: Rounded Corners 6">
            <a:extLst>
              <a:ext uri="{FF2B5EF4-FFF2-40B4-BE49-F238E27FC236}">
                <a16:creationId xmlns:a16="http://schemas.microsoft.com/office/drawing/2014/main" id="{831F910D-2D26-33D4-33D0-94AD9C77362E}"/>
              </a:ext>
              <a:ext uri="{C183D7F6-B498-43B3-948B-1728B52AA6E4}">
                <adec:decorative xmlns:adec="http://schemas.microsoft.com/office/drawing/2017/decorative" val="1"/>
              </a:ext>
            </a:extLst>
          </p:cNvPr>
          <p:cNvSpPr/>
          <p:nvPr userDrawn="1"/>
        </p:nvSpPr>
        <p:spPr bwMode="auto">
          <a:xfrm>
            <a:off x="5062344" y="940944"/>
            <a:ext cx="3256032" cy="236369"/>
          </a:xfrm>
          <a:prstGeom prst="roundRect">
            <a:avLst>
              <a:gd name="adj" fmla="val 50000"/>
            </a:avLst>
          </a:prstGeom>
          <a:solidFill>
            <a:srgbClr val="0090A8"/>
          </a:solidFill>
          <a:ln w="6350" cap="flat">
            <a:solidFill>
              <a:schemeClr val="bg2">
                <a:lumMod val="40000"/>
                <a:lumOff val="6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R="0" lvl="0" indent="0" algn="ctr" defTabSz="932472" fontAlgn="base">
              <a:lnSpc>
                <a:spcPct val="100000"/>
              </a:lnSpc>
              <a:spcBef>
                <a:spcPct val="0"/>
              </a:spcBef>
              <a:spcAft>
                <a:spcPct val="0"/>
              </a:spcAft>
              <a:buClrTx/>
              <a:buSzTx/>
              <a:buFontTx/>
              <a:buNone/>
              <a:tabLst/>
            </a:pPr>
            <a:endParaRPr kumimoji="0" lang="en-US" sz="1000" b="0" i="0" u="none" strike="noStrike" kern="0" cap="none" spc="0" normalizeH="0" baseline="0" noProof="0">
              <a:ln>
                <a:noFill/>
              </a:ln>
              <a:solidFill>
                <a:schemeClr val="bg1"/>
              </a:solidFill>
              <a:effectLst/>
              <a:uLnTx/>
              <a:uFillTx/>
              <a:latin typeface="+mj-lt"/>
              <a:cs typeface="Segoe UI" pitchFamily="34" charset="0"/>
            </a:endParaRPr>
          </a:p>
        </p:txBody>
      </p:sp>
      <p:sp>
        <p:nvSpPr>
          <p:cNvPr id="28" name="Rectangle: Rounded Corners 6">
            <a:extLst>
              <a:ext uri="{FF2B5EF4-FFF2-40B4-BE49-F238E27FC236}">
                <a16:creationId xmlns:a16="http://schemas.microsoft.com/office/drawing/2014/main" id="{16AE1F24-276F-BADD-8687-083105730CF5}"/>
              </a:ext>
              <a:ext uri="{C183D7F6-B498-43B3-948B-1728B52AA6E4}">
                <adec:decorative xmlns:adec="http://schemas.microsoft.com/office/drawing/2017/decorative" val="1"/>
              </a:ext>
            </a:extLst>
          </p:cNvPr>
          <p:cNvSpPr/>
          <p:nvPr userDrawn="1"/>
        </p:nvSpPr>
        <p:spPr bwMode="auto">
          <a:xfrm>
            <a:off x="8347706" y="940944"/>
            <a:ext cx="3256032" cy="236369"/>
          </a:xfrm>
          <a:prstGeom prst="roundRect">
            <a:avLst>
              <a:gd name="adj" fmla="val 50000"/>
            </a:avLst>
          </a:prstGeom>
          <a:solidFill>
            <a:srgbClr val="0090A8"/>
          </a:solidFill>
          <a:ln w="6350" cap="flat">
            <a:solidFill>
              <a:schemeClr val="bg2">
                <a:lumMod val="40000"/>
                <a:lumOff val="6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R="0" lvl="0" indent="0" algn="ctr" defTabSz="932472" fontAlgn="base">
              <a:lnSpc>
                <a:spcPct val="100000"/>
              </a:lnSpc>
              <a:spcBef>
                <a:spcPct val="0"/>
              </a:spcBef>
              <a:spcAft>
                <a:spcPct val="0"/>
              </a:spcAft>
              <a:buClrTx/>
              <a:buSzTx/>
              <a:buFontTx/>
              <a:buNone/>
              <a:tabLst/>
            </a:pPr>
            <a:endParaRPr kumimoji="0" lang="en-US" sz="1000" b="0" i="0" u="none" strike="noStrike" kern="0" cap="none" spc="0" normalizeH="0" baseline="0" noProof="0">
              <a:ln>
                <a:noFill/>
              </a:ln>
              <a:solidFill>
                <a:schemeClr val="bg1"/>
              </a:solidFill>
              <a:effectLst/>
              <a:uLnTx/>
              <a:uFillTx/>
              <a:latin typeface="+mj-lt"/>
              <a:cs typeface="Segoe UI" pitchFamily="34" charset="0"/>
            </a:endParaRPr>
          </a:p>
        </p:txBody>
      </p:sp>
      <p:sp>
        <p:nvSpPr>
          <p:cNvPr id="31" name="Text Placeholder 30">
            <a:extLst>
              <a:ext uri="{FF2B5EF4-FFF2-40B4-BE49-F238E27FC236}">
                <a16:creationId xmlns:a16="http://schemas.microsoft.com/office/drawing/2014/main" id="{00388725-F43B-30CB-7BEA-3082A0751BAF}"/>
              </a:ext>
            </a:extLst>
          </p:cNvPr>
          <p:cNvSpPr>
            <a:spLocks noGrp="1"/>
          </p:cNvSpPr>
          <p:nvPr>
            <p:ph type="body" sz="quarter" idx="10"/>
          </p:nvPr>
        </p:nvSpPr>
        <p:spPr>
          <a:xfrm>
            <a:off x="1106488" y="2195540"/>
            <a:ext cx="2706687" cy="138499"/>
          </a:xfrm>
        </p:spPr>
        <p:txBody>
          <a:bodyPr/>
          <a:lstStyle>
            <a:lvl1pPr marL="0" indent="0" algn="ctr">
              <a:buFontTx/>
              <a:buNone/>
              <a:defRPr sz="900"/>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32" name="Text Placeholder 30">
            <a:extLst>
              <a:ext uri="{FF2B5EF4-FFF2-40B4-BE49-F238E27FC236}">
                <a16:creationId xmlns:a16="http://schemas.microsoft.com/office/drawing/2014/main" id="{5824BBEC-F9FF-D13F-AF65-27DB6EB388E5}"/>
              </a:ext>
            </a:extLst>
          </p:cNvPr>
          <p:cNvSpPr>
            <a:spLocks noGrp="1"/>
          </p:cNvSpPr>
          <p:nvPr>
            <p:ph type="body" sz="quarter" idx="11"/>
          </p:nvPr>
        </p:nvSpPr>
        <p:spPr>
          <a:xfrm>
            <a:off x="4574297" y="2195540"/>
            <a:ext cx="2706687" cy="138499"/>
          </a:xfrm>
        </p:spPr>
        <p:txBody>
          <a:bodyPr/>
          <a:lstStyle>
            <a:lvl1pPr marL="0" indent="0" algn="ctr">
              <a:buFontTx/>
              <a:buNone/>
              <a:defRPr sz="900"/>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33" name="Text Placeholder 30">
            <a:extLst>
              <a:ext uri="{FF2B5EF4-FFF2-40B4-BE49-F238E27FC236}">
                <a16:creationId xmlns:a16="http://schemas.microsoft.com/office/drawing/2014/main" id="{CAD19BC1-B397-9CAD-0343-B9D9AB012D41}"/>
              </a:ext>
            </a:extLst>
          </p:cNvPr>
          <p:cNvSpPr>
            <a:spLocks noGrp="1"/>
          </p:cNvSpPr>
          <p:nvPr>
            <p:ph type="body" sz="quarter" idx="12"/>
          </p:nvPr>
        </p:nvSpPr>
        <p:spPr>
          <a:xfrm>
            <a:off x="8027603" y="2195540"/>
            <a:ext cx="2706687" cy="138499"/>
          </a:xfrm>
        </p:spPr>
        <p:txBody>
          <a:bodyPr/>
          <a:lstStyle>
            <a:lvl1pPr marL="0" indent="0" algn="ctr">
              <a:buFontTx/>
              <a:buNone/>
              <a:defRPr sz="900"/>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34" name="Text Placeholder 30">
            <a:extLst>
              <a:ext uri="{FF2B5EF4-FFF2-40B4-BE49-F238E27FC236}">
                <a16:creationId xmlns:a16="http://schemas.microsoft.com/office/drawing/2014/main" id="{E09030D7-1CE7-C753-0913-73F2BD6E0661}"/>
              </a:ext>
            </a:extLst>
          </p:cNvPr>
          <p:cNvSpPr>
            <a:spLocks noGrp="1"/>
          </p:cNvSpPr>
          <p:nvPr>
            <p:ph type="body" sz="quarter" idx="13"/>
          </p:nvPr>
        </p:nvSpPr>
        <p:spPr>
          <a:xfrm>
            <a:off x="8027602" y="4600473"/>
            <a:ext cx="2706687" cy="138499"/>
          </a:xfrm>
        </p:spPr>
        <p:txBody>
          <a:bodyPr/>
          <a:lstStyle>
            <a:lvl1pPr marL="0" indent="0" algn="ctr">
              <a:buFontTx/>
              <a:buNone/>
              <a:defRPr sz="900"/>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35" name="Text Placeholder 30">
            <a:extLst>
              <a:ext uri="{FF2B5EF4-FFF2-40B4-BE49-F238E27FC236}">
                <a16:creationId xmlns:a16="http://schemas.microsoft.com/office/drawing/2014/main" id="{43B210B3-915E-3224-0316-A597910C3406}"/>
              </a:ext>
            </a:extLst>
          </p:cNvPr>
          <p:cNvSpPr>
            <a:spLocks noGrp="1"/>
          </p:cNvSpPr>
          <p:nvPr>
            <p:ph type="body" sz="quarter" idx="14"/>
          </p:nvPr>
        </p:nvSpPr>
        <p:spPr>
          <a:xfrm>
            <a:off x="4574297" y="4600473"/>
            <a:ext cx="2706687" cy="138499"/>
          </a:xfrm>
        </p:spPr>
        <p:txBody>
          <a:bodyPr/>
          <a:lstStyle>
            <a:lvl1pPr marL="0" indent="0" algn="ctr">
              <a:buFontTx/>
              <a:buNone/>
              <a:defRPr sz="900"/>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36" name="Text Placeholder 30">
            <a:extLst>
              <a:ext uri="{FF2B5EF4-FFF2-40B4-BE49-F238E27FC236}">
                <a16:creationId xmlns:a16="http://schemas.microsoft.com/office/drawing/2014/main" id="{EB35BD41-0A05-D176-B084-83B52E6A0642}"/>
              </a:ext>
            </a:extLst>
          </p:cNvPr>
          <p:cNvSpPr>
            <a:spLocks noGrp="1"/>
          </p:cNvSpPr>
          <p:nvPr>
            <p:ph type="body" sz="quarter" idx="15"/>
          </p:nvPr>
        </p:nvSpPr>
        <p:spPr>
          <a:xfrm>
            <a:off x="1120992" y="4600473"/>
            <a:ext cx="2706687" cy="138499"/>
          </a:xfrm>
        </p:spPr>
        <p:txBody>
          <a:bodyPr/>
          <a:lstStyle>
            <a:lvl1pPr marL="0" indent="0" algn="ctr">
              <a:buFontTx/>
              <a:buNone/>
              <a:defRPr sz="900"/>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37" name="Text Placeholder 30">
            <a:extLst>
              <a:ext uri="{FF2B5EF4-FFF2-40B4-BE49-F238E27FC236}">
                <a16:creationId xmlns:a16="http://schemas.microsoft.com/office/drawing/2014/main" id="{9DCA4606-0A3A-2F64-FE16-4DC17DFA1A24}"/>
              </a:ext>
            </a:extLst>
          </p:cNvPr>
          <p:cNvSpPr>
            <a:spLocks noGrp="1"/>
          </p:cNvSpPr>
          <p:nvPr>
            <p:ph type="body" sz="quarter" idx="16"/>
          </p:nvPr>
        </p:nvSpPr>
        <p:spPr>
          <a:xfrm>
            <a:off x="1275587" y="3215654"/>
            <a:ext cx="2368442" cy="138499"/>
          </a:xfrm>
        </p:spPr>
        <p:txBody>
          <a:bodyPr anchor="ctr"/>
          <a:lstStyle>
            <a:lvl1pPr marL="0" indent="0" algn="ctr">
              <a:buFontTx/>
              <a:buNone/>
              <a:defRPr sz="900" i="0">
                <a:solidFill>
                  <a:schemeClr val="tx1">
                    <a:lumMod val="65000"/>
                    <a:lumOff val="35000"/>
                  </a:schemeClr>
                </a:solidFill>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38" name="Text Placeholder 30">
            <a:extLst>
              <a:ext uri="{FF2B5EF4-FFF2-40B4-BE49-F238E27FC236}">
                <a16:creationId xmlns:a16="http://schemas.microsoft.com/office/drawing/2014/main" id="{F39FFD35-244B-67E4-CC43-43533E03F760}"/>
              </a:ext>
            </a:extLst>
          </p:cNvPr>
          <p:cNvSpPr>
            <a:spLocks noGrp="1"/>
          </p:cNvSpPr>
          <p:nvPr>
            <p:ph type="body" sz="quarter" idx="17"/>
          </p:nvPr>
        </p:nvSpPr>
        <p:spPr>
          <a:xfrm>
            <a:off x="4743419" y="3215653"/>
            <a:ext cx="2368442" cy="138499"/>
          </a:xfrm>
        </p:spPr>
        <p:txBody>
          <a:bodyPr anchor="ctr"/>
          <a:lstStyle>
            <a:lvl1pPr marL="0" indent="0" algn="ctr">
              <a:buFontTx/>
              <a:buNone/>
              <a:defRPr sz="900" i="0">
                <a:solidFill>
                  <a:schemeClr val="tx1">
                    <a:lumMod val="65000"/>
                    <a:lumOff val="35000"/>
                  </a:schemeClr>
                </a:solidFill>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39" name="Text Placeholder 30">
            <a:extLst>
              <a:ext uri="{FF2B5EF4-FFF2-40B4-BE49-F238E27FC236}">
                <a16:creationId xmlns:a16="http://schemas.microsoft.com/office/drawing/2014/main" id="{51CCEABD-BFD5-2296-4ABA-44CD58B5E388}"/>
              </a:ext>
            </a:extLst>
          </p:cNvPr>
          <p:cNvSpPr>
            <a:spLocks noGrp="1"/>
          </p:cNvSpPr>
          <p:nvPr>
            <p:ph type="body" sz="quarter" idx="18"/>
          </p:nvPr>
        </p:nvSpPr>
        <p:spPr>
          <a:xfrm>
            <a:off x="8196724" y="3215652"/>
            <a:ext cx="2368442" cy="138499"/>
          </a:xfrm>
        </p:spPr>
        <p:txBody>
          <a:bodyPr anchor="ctr"/>
          <a:lstStyle>
            <a:lvl1pPr marL="0" indent="0" algn="ctr">
              <a:buFontTx/>
              <a:buNone/>
              <a:defRPr sz="900" i="0">
                <a:solidFill>
                  <a:schemeClr val="tx1">
                    <a:lumMod val="65000"/>
                    <a:lumOff val="35000"/>
                  </a:schemeClr>
                </a:solidFill>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0" name="Text Placeholder 30">
            <a:extLst>
              <a:ext uri="{FF2B5EF4-FFF2-40B4-BE49-F238E27FC236}">
                <a16:creationId xmlns:a16="http://schemas.microsoft.com/office/drawing/2014/main" id="{CBC2C052-5B2D-90BA-DD85-F49C3C2CB924}"/>
              </a:ext>
            </a:extLst>
          </p:cNvPr>
          <p:cNvSpPr>
            <a:spLocks noGrp="1"/>
          </p:cNvSpPr>
          <p:nvPr>
            <p:ph type="body" sz="quarter" idx="19"/>
          </p:nvPr>
        </p:nvSpPr>
        <p:spPr>
          <a:xfrm>
            <a:off x="1290114" y="5571927"/>
            <a:ext cx="2368442" cy="138499"/>
          </a:xfrm>
        </p:spPr>
        <p:txBody>
          <a:bodyPr anchor="ctr"/>
          <a:lstStyle>
            <a:lvl1pPr marL="0" indent="0" algn="ctr">
              <a:buFontTx/>
              <a:buNone/>
              <a:defRPr sz="900" i="0">
                <a:solidFill>
                  <a:schemeClr val="tx1">
                    <a:lumMod val="65000"/>
                    <a:lumOff val="35000"/>
                  </a:schemeClr>
                </a:solidFill>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1" name="Text Placeholder 30">
            <a:extLst>
              <a:ext uri="{FF2B5EF4-FFF2-40B4-BE49-F238E27FC236}">
                <a16:creationId xmlns:a16="http://schemas.microsoft.com/office/drawing/2014/main" id="{82C54A50-1E30-8AD6-F8D6-FE2FE8265FD5}"/>
              </a:ext>
            </a:extLst>
          </p:cNvPr>
          <p:cNvSpPr>
            <a:spLocks noGrp="1"/>
          </p:cNvSpPr>
          <p:nvPr>
            <p:ph type="body" sz="quarter" idx="20"/>
          </p:nvPr>
        </p:nvSpPr>
        <p:spPr>
          <a:xfrm>
            <a:off x="4743419" y="5575224"/>
            <a:ext cx="2368442" cy="138499"/>
          </a:xfrm>
        </p:spPr>
        <p:txBody>
          <a:bodyPr anchor="ctr"/>
          <a:lstStyle>
            <a:lvl1pPr marL="0" indent="0" algn="ctr">
              <a:buFontTx/>
              <a:buNone/>
              <a:defRPr sz="900" i="0">
                <a:solidFill>
                  <a:schemeClr val="tx1">
                    <a:lumMod val="65000"/>
                    <a:lumOff val="35000"/>
                  </a:schemeClr>
                </a:solidFill>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2" name="Text Placeholder 30">
            <a:extLst>
              <a:ext uri="{FF2B5EF4-FFF2-40B4-BE49-F238E27FC236}">
                <a16:creationId xmlns:a16="http://schemas.microsoft.com/office/drawing/2014/main" id="{40E4FBA5-CD14-842F-ABF4-E7569DF500D7}"/>
              </a:ext>
            </a:extLst>
          </p:cNvPr>
          <p:cNvSpPr>
            <a:spLocks noGrp="1"/>
          </p:cNvSpPr>
          <p:nvPr>
            <p:ph type="body" sz="quarter" idx="21"/>
          </p:nvPr>
        </p:nvSpPr>
        <p:spPr>
          <a:xfrm>
            <a:off x="8196724" y="5571927"/>
            <a:ext cx="2368442" cy="138499"/>
          </a:xfrm>
        </p:spPr>
        <p:txBody>
          <a:bodyPr anchor="ctr"/>
          <a:lstStyle>
            <a:lvl1pPr marL="0" indent="0" algn="ctr">
              <a:buFontTx/>
              <a:buNone/>
              <a:defRPr sz="900" i="0">
                <a:solidFill>
                  <a:schemeClr val="tx1">
                    <a:lumMod val="65000"/>
                    <a:lumOff val="35000"/>
                  </a:schemeClr>
                </a:solidFill>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3" name="Text Placeholder 30">
            <a:extLst>
              <a:ext uri="{FF2B5EF4-FFF2-40B4-BE49-F238E27FC236}">
                <a16:creationId xmlns:a16="http://schemas.microsoft.com/office/drawing/2014/main" id="{D5316A94-E460-AA98-061B-783974C4DA25}"/>
              </a:ext>
            </a:extLst>
          </p:cNvPr>
          <p:cNvSpPr>
            <a:spLocks noGrp="1"/>
          </p:cNvSpPr>
          <p:nvPr>
            <p:ph type="body" sz="quarter" idx="22"/>
          </p:nvPr>
        </p:nvSpPr>
        <p:spPr>
          <a:xfrm>
            <a:off x="1275587" y="1840513"/>
            <a:ext cx="2368442" cy="153888"/>
          </a:xfrm>
        </p:spPr>
        <p:txBody>
          <a:bodyPr/>
          <a:lstStyle>
            <a:lvl1pPr marL="0" indent="0" algn="ctr">
              <a:buFontTx/>
              <a:buNone/>
              <a:defRPr sz="1000">
                <a:solidFill>
                  <a:schemeClr val="bg2"/>
                </a:solidFill>
                <a:latin typeface="+mj-lt"/>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4" name="Text Placeholder 30">
            <a:extLst>
              <a:ext uri="{FF2B5EF4-FFF2-40B4-BE49-F238E27FC236}">
                <a16:creationId xmlns:a16="http://schemas.microsoft.com/office/drawing/2014/main" id="{4918B7D2-2C76-2AC6-61AE-979F9035CFDB}"/>
              </a:ext>
            </a:extLst>
          </p:cNvPr>
          <p:cNvSpPr>
            <a:spLocks noGrp="1"/>
          </p:cNvSpPr>
          <p:nvPr>
            <p:ph type="body" sz="quarter" idx="23"/>
          </p:nvPr>
        </p:nvSpPr>
        <p:spPr>
          <a:xfrm>
            <a:off x="4743419" y="1840513"/>
            <a:ext cx="2368442" cy="153888"/>
          </a:xfrm>
        </p:spPr>
        <p:txBody>
          <a:bodyPr/>
          <a:lstStyle>
            <a:lvl1pPr marL="0" indent="0" algn="ctr">
              <a:buFontTx/>
              <a:buNone/>
              <a:defRPr sz="1000">
                <a:solidFill>
                  <a:schemeClr val="bg2"/>
                </a:solidFill>
                <a:latin typeface="+mj-lt"/>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5" name="Text Placeholder 30">
            <a:extLst>
              <a:ext uri="{FF2B5EF4-FFF2-40B4-BE49-F238E27FC236}">
                <a16:creationId xmlns:a16="http://schemas.microsoft.com/office/drawing/2014/main" id="{E27A3E23-F88F-EC36-8FAD-713B80AB799A}"/>
              </a:ext>
            </a:extLst>
          </p:cNvPr>
          <p:cNvSpPr>
            <a:spLocks noGrp="1"/>
          </p:cNvSpPr>
          <p:nvPr>
            <p:ph type="body" sz="quarter" idx="24"/>
          </p:nvPr>
        </p:nvSpPr>
        <p:spPr>
          <a:xfrm>
            <a:off x="8196724" y="1840513"/>
            <a:ext cx="2368442" cy="153888"/>
          </a:xfrm>
        </p:spPr>
        <p:txBody>
          <a:bodyPr/>
          <a:lstStyle>
            <a:lvl1pPr marL="0" indent="0" algn="ctr">
              <a:buFontTx/>
              <a:buNone/>
              <a:defRPr sz="1000">
                <a:solidFill>
                  <a:schemeClr val="bg2"/>
                </a:solidFill>
                <a:latin typeface="+mj-lt"/>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6" name="Text Placeholder 30">
            <a:extLst>
              <a:ext uri="{FF2B5EF4-FFF2-40B4-BE49-F238E27FC236}">
                <a16:creationId xmlns:a16="http://schemas.microsoft.com/office/drawing/2014/main" id="{B031F939-46F9-99B1-B621-B89043CB9730}"/>
              </a:ext>
            </a:extLst>
          </p:cNvPr>
          <p:cNvSpPr>
            <a:spLocks noGrp="1"/>
          </p:cNvSpPr>
          <p:nvPr>
            <p:ph type="body" sz="quarter" idx="25"/>
          </p:nvPr>
        </p:nvSpPr>
        <p:spPr>
          <a:xfrm>
            <a:off x="1275587" y="4244565"/>
            <a:ext cx="2368442" cy="153888"/>
          </a:xfrm>
        </p:spPr>
        <p:txBody>
          <a:bodyPr/>
          <a:lstStyle>
            <a:lvl1pPr marL="0" indent="0" algn="ctr">
              <a:buFontTx/>
              <a:buNone/>
              <a:defRPr sz="1000">
                <a:solidFill>
                  <a:schemeClr val="bg2"/>
                </a:solidFill>
                <a:latin typeface="+mj-lt"/>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7" name="Text Placeholder 30">
            <a:extLst>
              <a:ext uri="{FF2B5EF4-FFF2-40B4-BE49-F238E27FC236}">
                <a16:creationId xmlns:a16="http://schemas.microsoft.com/office/drawing/2014/main" id="{96AFEF9C-6938-50CE-D06F-DFAD75C1C0A3}"/>
              </a:ext>
            </a:extLst>
          </p:cNvPr>
          <p:cNvSpPr>
            <a:spLocks noGrp="1"/>
          </p:cNvSpPr>
          <p:nvPr>
            <p:ph type="body" sz="quarter" idx="26"/>
          </p:nvPr>
        </p:nvSpPr>
        <p:spPr>
          <a:xfrm>
            <a:off x="4743419" y="4247157"/>
            <a:ext cx="2368442" cy="153888"/>
          </a:xfrm>
        </p:spPr>
        <p:txBody>
          <a:bodyPr/>
          <a:lstStyle>
            <a:lvl1pPr marL="0" indent="0" algn="ctr">
              <a:buFontTx/>
              <a:buNone/>
              <a:defRPr sz="1000">
                <a:solidFill>
                  <a:schemeClr val="bg2"/>
                </a:solidFill>
                <a:latin typeface="+mj-lt"/>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8" name="Text Placeholder 30">
            <a:extLst>
              <a:ext uri="{FF2B5EF4-FFF2-40B4-BE49-F238E27FC236}">
                <a16:creationId xmlns:a16="http://schemas.microsoft.com/office/drawing/2014/main" id="{0E3863A0-C276-6DA9-F342-2B9A34E4DD7A}"/>
              </a:ext>
            </a:extLst>
          </p:cNvPr>
          <p:cNvSpPr>
            <a:spLocks noGrp="1"/>
          </p:cNvSpPr>
          <p:nvPr>
            <p:ph type="body" sz="quarter" idx="27"/>
          </p:nvPr>
        </p:nvSpPr>
        <p:spPr>
          <a:xfrm>
            <a:off x="8196724" y="4246727"/>
            <a:ext cx="2368442" cy="153888"/>
          </a:xfrm>
        </p:spPr>
        <p:txBody>
          <a:bodyPr/>
          <a:lstStyle>
            <a:lvl1pPr marL="0" indent="0" algn="ctr">
              <a:buFontTx/>
              <a:buNone/>
              <a:defRPr sz="1000">
                <a:solidFill>
                  <a:schemeClr val="bg2"/>
                </a:solidFill>
                <a:latin typeface="+mj-lt"/>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49" name="Text Placeholder 30">
            <a:extLst>
              <a:ext uri="{FF2B5EF4-FFF2-40B4-BE49-F238E27FC236}">
                <a16:creationId xmlns:a16="http://schemas.microsoft.com/office/drawing/2014/main" id="{738DC6BE-A655-DC85-5795-07894705E9F8}"/>
              </a:ext>
            </a:extLst>
          </p:cNvPr>
          <p:cNvSpPr>
            <a:spLocks noGrp="1"/>
          </p:cNvSpPr>
          <p:nvPr>
            <p:ph type="body" sz="quarter" idx="28"/>
          </p:nvPr>
        </p:nvSpPr>
        <p:spPr>
          <a:xfrm>
            <a:off x="1921973" y="983183"/>
            <a:ext cx="2986358" cy="155346"/>
          </a:xfrm>
        </p:spPr>
        <p:txBody>
          <a:bodyPr/>
          <a:lstStyle>
            <a:lvl1pPr marL="0" indent="0" algn="ctr">
              <a:buFontTx/>
              <a:buNone/>
              <a:defRPr sz="1000">
                <a:solidFill>
                  <a:schemeClr val="bg1"/>
                </a:solidFill>
                <a:latin typeface="+mj-lt"/>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50" name="Text Placeholder 30">
            <a:extLst>
              <a:ext uri="{FF2B5EF4-FFF2-40B4-BE49-F238E27FC236}">
                <a16:creationId xmlns:a16="http://schemas.microsoft.com/office/drawing/2014/main" id="{378DDB32-29A0-0110-DC84-7DC47D5F9EEF}"/>
              </a:ext>
            </a:extLst>
          </p:cNvPr>
          <p:cNvSpPr>
            <a:spLocks noGrp="1"/>
          </p:cNvSpPr>
          <p:nvPr>
            <p:ph type="body" sz="quarter" idx="29"/>
          </p:nvPr>
        </p:nvSpPr>
        <p:spPr>
          <a:xfrm>
            <a:off x="5210366" y="983183"/>
            <a:ext cx="2986358" cy="155346"/>
          </a:xfrm>
        </p:spPr>
        <p:txBody>
          <a:bodyPr/>
          <a:lstStyle>
            <a:lvl1pPr marL="0" indent="0" algn="ctr">
              <a:buFontTx/>
              <a:buNone/>
              <a:defRPr sz="1000">
                <a:solidFill>
                  <a:schemeClr val="bg1"/>
                </a:solidFill>
                <a:latin typeface="+mj-lt"/>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
        <p:nvSpPr>
          <p:cNvPr id="51" name="Text Placeholder 30">
            <a:extLst>
              <a:ext uri="{FF2B5EF4-FFF2-40B4-BE49-F238E27FC236}">
                <a16:creationId xmlns:a16="http://schemas.microsoft.com/office/drawing/2014/main" id="{2810AB8F-E59B-2FBB-3CE4-F86874307CE7}"/>
              </a:ext>
            </a:extLst>
          </p:cNvPr>
          <p:cNvSpPr>
            <a:spLocks noGrp="1"/>
          </p:cNvSpPr>
          <p:nvPr>
            <p:ph type="body" sz="quarter" idx="30"/>
          </p:nvPr>
        </p:nvSpPr>
        <p:spPr>
          <a:xfrm>
            <a:off x="8482543" y="983183"/>
            <a:ext cx="2986358" cy="155346"/>
          </a:xfrm>
        </p:spPr>
        <p:txBody>
          <a:bodyPr/>
          <a:lstStyle>
            <a:lvl1pPr marL="0" indent="0" algn="ctr">
              <a:buFontTx/>
              <a:buNone/>
              <a:defRPr sz="1000">
                <a:solidFill>
                  <a:schemeClr val="bg1"/>
                </a:solidFill>
                <a:latin typeface="+mj-lt"/>
              </a:defRPr>
            </a:lvl1pPr>
            <a:lvl2pPr marL="228600" indent="0">
              <a:buFontTx/>
              <a:buNone/>
              <a:defRPr sz="900"/>
            </a:lvl2pPr>
            <a:lvl3pPr marL="457200" indent="0">
              <a:buFontTx/>
              <a:buNone/>
              <a:defRPr sz="900"/>
            </a:lvl3pPr>
            <a:lvl4pPr marL="661988" indent="0">
              <a:buFontTx/>
              <a:buNone/>
              <a:defRPr sz="900"/>
            </a:lvl4pPr>
            <a:lvl5pPr marL="855663" indent="0">
              <a:buFontTx/>
              <a:buNone/>
              <a:defRPr sz="900"/>
            </a:lvl5pPr>
          </a:lstStyle>
          <a:p>
            <a:pPr lvl="0"/>
            <a:r>
              <a:rPr lang="en-US"/>
              <a:t>Click to edit Master text styles</a:t>
            </a:r>
          </a:p>
        </p:txBody>
      </p:sp>
    </p:spTree>
    <p:extLst>
      <p:ext uri="{BB962C8B-B14F-4D97-AF65-F5344CB8AC3E}">
        <p14:creationId xmlns:p14="http://schemas.microsoft.com/office/powerpoint/2010/main" val="355974230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4" name="Picture 3" descr="A close up of a corner of a paper&#10;&#10;AI-generated content may be incorrect.">
            <a:extLst>
              <a:ext uri="{FF2B5EF4-FFF2-40B4-BE49-F238E27FC236}">
                <a16:creationId xmlns:a16="http://schemas.microsoft.com/office/drawing/2014/main" id="{738AF8BF-88B4-941B-796C-002169F5D81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40746" t="4251" r="284" b="4637"/>
          <a:stretch>
            <a:fillRect/>
          </a:stretch>
        </p:blipFill>
        <p:spPr>
          <a:xfrm rot="10800000" flipH="1" flipV="1">
            <a:off x="-4" y="4289179"/>
            <a:ext cx="4267201" cy="2391535"/>
          </a:xfrm>
          <a:prstGeom prst="rect">
            <a:avLst/>
          </a:pr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hasCustomPrompt="1"/>
          </p:nvPr>
        </p:nvSpPr>
        <p:spPr>
          <a:xfrm>
            <a:off x="5178287"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
        <p:nvSpPr>
          <p:cNvPr id="5" name="Text Placeholder 3">
            <a:extLst>
              <a:ext uri="{FF2B5EF4-FFF2-40B4-BE49-F238E27FC236}">
                <a16:creationId xmlns:a16="http://schemas.microsoft.com/office/drawing/2014/main" id="{481F9AB0-2AFF-1686-C6D2-FA4E95E9CF7A}"/>
              </a:ext>
            </a:extLst>
          </p:cNvPr>
          <p:cNvSpPr>
            <a:spLocks noGrp="1"/>
          </p:cNvSpPr>
          <p:nvPr>
            <p:ph idx="10" hasCustomPrompt="1"/>
          </p:nvPr>
        </p:nvSpPr>
        <p:spPr>
          <a:xfrm>
            <a:off x="8873985"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0" name="Text Placeholder 3">
            <a:extLst>
              <a:ext uri="{FF2B5EF4-FFF2-40B4-BE49-F238E27FC236}">
                <a16:creationId xmlns:a16="http://schemas.microsoft.com/office/drawing/2014/main" id="{E521278D-83E6-60F0-DE85-9BBB167AD000}"/>
              </a:ext>
            </a:extLst>
          </p:cNvPr>
          <p:cNvSpPr>
            <a:spLocks noGrp="1"/>
          </p:cNvSpPr>
          <p:nvPr>
            <p:ph idx="11" hasCustomPrompt="1"/>
          </p:nvPr>
        </p:nvSpPr>
        <p:spPr>
          <a:xfrm>
            <a:off x="5178287"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1" name="Text Placeholder 3">
            <a:extLst>
              <a:ext uri="{FF2B5EF4-FFF2-40B4-BE49-F238E27FC236}">
                <a16:creationId xmlns:a16="http://schemas.microsoft.com/office/drawing/2014/main" id="{A21CEE09-B3B0-47A7-6B86-65FF85C6967C}"/>
              </a:ext>
            </a:extLst>
          </p:cNvPr>
          <p:cNvSpPr>
            <a:spLocks noGrp="1"/>
          </p:cNvSpPr>
          <p:nvPr>
            <p:ph idx="12" hasCustomPrompt="1"/>
          </p:nvPr>
        </p:nvSpPr>
        <p:spPr>
          <a:xfrm>
            <a:off x="8873985"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4" name="Text Placeholder 3">
            <a:extLst>
              <a:ext uri="{FF2B5EF4-FFF2-40B4-BE49-F238E27FC236}">
                <a16:creationId xmlns:a16="http://schemas.microsoft.com/office/drawing/2014/main" id="{45337E61-848B-2D2F-C9C0-746F07AA0467}"/>
              </a:ext>
            </a:extLst>
          </p:cNvPr>
          <p:cNvSpPr>
            <a:spLocks noGrp="1"/>
          </p:cNvSpPr>
          <p:nvPr>
            <p:ph idx="13" hasCustomPrompt="1"/>
          </p:nvPr>
        </p:nvSpPr>
        <p:spPr>
          <a:xfrm>
            <a:off x="5178287"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5" name="Text Placeholder 3">
            <a:extLst>
              <a:ext uri="{FF2B5EF4-FFF2-40B4-BE49-F238E27FC236}">
                <a16:creationId xmlns:a16="http://schemas.microsoft.com/office/drawing/2014/main" id="{C23AA298-3C87-59E0-54D9-D70EB4EF262F}"/>
              </a:ext>
            </a:extLst>
          </p:cNvPr>
          <p:cNvSpPr>
            <a:spLocks noGrp="1"/>
          </p:cNvSpPr>
          <p:nvPr>
            <p:ph idx="14" hasCustomPrompt="1"/>
          </p:nvPr>
        </p:nvSpPr>
        <p:spPr>
          <a:xfrm>
            <a:off x="8873985"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Tree>
    <p:extLst>
      <p:ext uri="{BB962C8B-B14F-4D97-AF65-F5344CB8AC3E}">
        <p14:creationId xmlns:p14="http://schemas.microsoft.com/office/powerpoint/2010/main" val="13827527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Main">
    <p:bg>
      <p:bgPr>
        <a:solidFill>
          <a:srgbClr val="F2F2F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79438" y="499491"/>
            <a:ext cx="11033124" cy="492443"/>
          </a:xfrm>
        </p:spPr>
        <p:txBody>
          <a:bodyPr/>
          <a:lstStyle>
            <a:lvl1pPr algn="ctr">
              <a:defRPr sz="32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8425647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E19F8C0-275E-362B-1A1B-1F5A79DC8B5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83" y="0"/>
            <a:ext cx="12191118" cy="6994524"/>
          </a:xfrm>
          <a:prstGeom prst="rect">
            <a:avLst/>
          </a:prstGeom>
        </p:spPr>
      </p:pic>
      <p:pic>
        <p:nvPicPr>
          <p:cNvPr id="11" name="Picture 10">
            <a:extLst>
              <a:ext uri="{FF2B5EF4-FFF2-40B4-BE49-F238E27FC236}">
                <a16:creationId xmlns:a16="http://schemas.microsoft.com/office/drawing/2014/main" id="{6280DDBC-586B-4A47-B30B-AEF108DDA6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7090" y="438649"/>
            <a:ext cx="971807" cy="208330"/>
          </a:xfrm>
          <a:prstGeom prst="rect">
            <a:avLst/>
          </a:prstGeom>
        </p:spPr>
      </p:pic>
      <p:sp>
        <p:nvSpPr>
          <p:cNvPr id="13" name="Text Placeholder 12">
            <a:extLst>
              <a:ext uri="{FF2B5EF4-FFF2-40B4-BE49-F238E27FC236}">
                <a16:creationId xmlns:a16="http://schemas.microsoft.com/office/drawing/2014/main" id="{77375E1A-C339-3140-967C-AA8983E30B8B}"/>
              </a:ext>
            </a:extLst>
          </p:cNvPr>
          <p:cNvSpPr>
            <a:spLocks noGrp="1"/>
          </p:cNvSpPr>
          <p:nvPr>
            <p:ph type="body" sz="quarter" idx="17" hasCustomPrompt="1"/>
          </p:nvPr>
        </p:nvSpPr>
        <p:spPr>
          <a:xfrm>
            <a:off x="403543" y="2149474"/>
            <a:ext cx="5387657" cy="1961197"/>
          </a:xfrm>
        </p:spPr>
        <p:txBody>
          <a:bodyPr>
            <a:noAutofit/>
          </a:bodyPr>
          <a:lstStyle>
            <a:lvl1pPr>
              <a:defRPr sz="4800" b="1" i="0">
                <a:solidFill>
                  <a:schemeClr val="bg1"/>
                </a:solidFill>
                <a:latin typeface="Segoe UI Semibold" panose="020B0502040204020203" pitchFamily="34" charset="0"/>
                <a:cs typeface="Segoe UI Semibold" panose="020B0502040204020203" pitchFamily="34" charset="0"/>
              </a:defRPr>
            </a:lvl1pPr>
            <a:lvl2pPr>
              <a:defRPr b="1" i="0">
                <a:solidFill>
                  <a:schemeClr val="bg1"/>
                </a:solidFill>
                <a:latin typeface="Segoe UI Semibold" panose="020B0502040204020203" pitchFamily="34" charset="0"/>
                <a:cs typeface="Segoe UI Semibold" panose="020B0502040204020203" pitchFamily="34" charset="0"/>
              </a:defRPr>
            </a:lvl2pPr>
            <a:lvl3pPr>
              <a:defRPr b="1" i="0">
                <a:solidFill>
                  <a:schemeClr val="bg1"/>
                </a:solidFill>
                <a:latin typeface="Segoe UI Semibold" panose="020B0502040204020203" pitchFamily="34" charset="0"/>
                <a:cs typeface="Segoe UI Semibold" panose="020B0502040204020203" pitchFamily="34" charset="0"/>
              </a:defRPr>
            </a:lvl3pPr>
            <a:lvl4pPr>
              <a:defRPr b="1" i="0">
                <a:solidFill>
                  <a:schemeClr val="bg1"/>
                </a:solidFill>
                <a:latin typeface="Segoe UI Semibold" panose="020B0502040204020203" pitchFamily="34" charset="0"/>
                <a:cs typeface="Segoe UI Semibold" panose="020B0502040204020203" pitchFamily="34" charset="0"/>
              </a:defRPr>
            </a:lvl4pPr>
            <a:lvl5pPr>
              <a:defRPr b="1" i="0">
                <a:solidFill>
                  <a:schemeClr val="bg1"/>
                </a:solidFill>
                <a:latin typeface="Segoe UI Semibold" panose="020B0502040204020203" pitchFamily="34" charset="0"/>
                <a:cs typeface="Segoe UI Semibold" panose="020B0502040204020203" pitchFamily="34" charset="0"/>
              </a:defRPr>
            </a:lvl5pPr>
          </a:lstStyle>
          <a:p>
            <a:pPr lvl="0"/>
            <a:r>
              <a:rPr lang="en-US"/>
              <a:t>Session name</a:t>
            </a:r>
          </a:p>
        </p:txBody>
      </p:sp>
      <p:sp>
        <p:nvSpPr>
          <p:cNvPr id="15" name="Text Placeholder 14">
            <a:extLst>
              <a:ext uri="{FF2B5EF4-FFF2-40B4-BE49-F238E27FC236}">
                <a16:creationId xmlns:a16="http://schemas.microsoft.com/office/drawing/2014/main" id="{FE87972E-A72B-3840-AD58-96C92145965B}"/>
              </a:ext>
            </a:extLst>
          </p:cNvPr>
          <p:cNvSpPr>
            <a:spLocks noGrp="1"/>
          </p:cNvSpPr>
          <p:nvPr>
            <p:ph type="body" sz="quarter" idx="18" hasCustomPrompt="1"/>
          </p:nvPr>
        </p:nvSpPr>
        <p:spPr>
          <a:xfrm>
            <a:off x="403543" y="4273550"/>
            <a:ext cx="5387975" cy="969010"/>
          </a:xfrm>
        </p:spPr>
        <p:txBody>
          <a:bodyPr>
            <a:noAutofit/>
          </a:bodyPr>
          <a:lstStyle>
            <a:lvl1pPr>
              <a:defRPr sz="2400" b="0" i="0">
                <a:solidFill>
                  <a:schemeClr val="bg1"/>
                </a:solidFill>
                <a:latin typeface="Segoe UI" panose="020B0502040204020203" pitchFamily="34" charset="0"/>
                <a:cs typeface="Segoe UI" panose="020B0502040204020203" pitchFamily="34" charset="0"/>
              </a:defRPr>
            </a:lvl1pPr>
            <a:lvl2pPr>
              <a:defRPr sz="2400" b="0" i="0">
                <a:solidFill>
                  <a:schemeClr val="bg1"/>
                </a:solidFill>
                <a:latin typeface="Segoe UI" panose="020B0502040204020203" pitchFamily="34" charset="0"/>
                <a:cs typeface="Segoe UI" panose="020B0502040204020203" pitchFamily="34" charset="0"/>
              </a:defRPr>
            </a:lvl2pPr>
            <a:lvl3pPr>
              <a:defRPr sz="2400" b="0" i="0">
                <a:solidFill>
                  <a:schemeClr val="bg1"/>
                </a:solidFill>
                <a:latin typeface="Segoe UI" panose="020B0502040204020203" pitchFamily="34" charset="0"/>
                <a:cs typeface="Segoe UI" panose="020B0502040204020203" pitchFamily="34" charset="0"/>
              </a:defRPr>
            </a:lvl3pPr>
            <a:lvl4pPr>
              <a:defRPr sz="2400" b="0" i="0">
                <a:solidFill>
                  <a:schemeClr val="bg1"/>
                </a:solidFill>
                <a:latin typeface="Segoe UI" panose="020B0502040204020203" pitchFamily="34" charset="0"/>
                <a:cs typeface="Segoe UI" panose="020B0502040204020203" pitchFamily="34" charset="0"/>
              </a:defRPr>
            </a:lvl4pPr>
            <a:lvl5pPr>
              <a:defRPr sz="2400" b="0" i="0">
                <a:solidFill>
                  <a:schemeClr val="bg1"/>
                </a:solidFill>
                <a:latin typeface="Segoe UI" panose="020B0502040204020203" pitchFamily="34" charset="0"/>
                <a:cs typeface="Segoe UI" panose="020B0502040204020203" pitchFamily="34" charset="0"/>
              </a:defRPr>
            </a:lvl5pPr>
          </a:lstStyle>
          <a:p>
            <a:pPr lvl="0"/>
            <a:r>
              <a:rPr lang="en-US"/>
              <a:t>Speaker(s)</a:t>
            </a:r>
          </a:p>
        </p:txBody>
      </p:sp>
    </p:spTree>
    <p:extLst>
      <p:ext uri="{BB962C8B-B14F-4D97-AF65-F5344CB8AC3E}">
        <p14:creationId xmlns:p14="http://schemas.microsoft.com/office/powerpoint/2010/main" val="92365394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C04C5A1-2D7B-914F-96C1-8C14BFFC6D0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5"/>
          <a:stretch/>
        </p:blipFill>
        <p:spPr>
          <a:xfrm>
            <a:off x="882" y="0"/>
            <a:ext cx="12191118" cy="6858000"/>
          </a:xfrm>
          <a:prstGeom prst="rect">
            <a:avLst/>
          </a:prstGeom>
        </p:spPr>
      </p:pic>
      <p:sp>
        <p:nvSpPr>
          <p:cNvPr id="2" name="Title 1">
            <a:extLst>
              <a:ext uri="{FF2B5EF4-FFF2-40B4-BE49-F238E27FC236}">
                <a16:creationId xmlns:a16="http://schemas.microsoft.com/office/drawing/2014/main" id="{BAA41A47-C03B-A94B-9452-C264A5BEFF30}"/>
              </a:ext>
            </a:extLst>
          </p:cNvPr>
          <p:cNvSpPr>
            <a:spLocks noGrp="1"/>
          </p:cNvSpPr>
          <p:nvPr>
            <p:ph type="title"/>
          </p:nvPr>
        </p:nvSpPr>
        <p:spPr>
          <a:xfrm>
            <a:off x="839788" y="457200"/>
            <a:ext cx="5542724" cy="1847088"/>
          </a:xfrm>
        </p:spPr>
        <p:txBody>
          <a:bodyPr anchor="b">
            <a:normAutofit/>
          </a:bodyPr>
          <a:lstStyle>
            <a:lvl1pPr>
              <a:defRPr sz="4400">
                <a:solidFill>
                  <a:schemeClr val="bg1"/>
                </a:solidFill>
              </a:defRPr>
            </a:lvl1pPr>
          </a:lstStyle>
          <a:p>
            <a:r>
              <a:rPr lang="en-US"/>
              <a:t>Click to edit Master title style</a:t>
            </a:r>
          </a:p>
        </p:txBody>
      </p:sp>
      <p:pic>
        <p:nvPicPr>
          <p:cNvPr id="9" name="Picture 8">
            <a:extLst>
              <a:ext uri="{FF2B5EF4-FFF2-40B4-BE49-F238E27FC236}">
                <a16:creationId xmlns:a16="http://schemas.microsoft.com/office/drawing/2014/main" id="{A20493AA-FD75-304E-BF6B-8C91FE9C983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7812" y="6217919"/>
            <a:ext cx="477593" cy="477593"/>
          </a:xfrm>
          <a:prstGeom prst="rect">
            <a:avLst/>
          </a:prstGeom>
        </p:spPr>
      </p:pic>
      <p:pic>
        <p:nvPicPr>
          <p:cNvPr id="10" name="Picture 9">
            <a:extLst>
              <a:ext uri="{FF2B5EF4-FFF2-40B4-BE49-F238E27FC236}">
                <a16:creationId xmlns:a16="http://schemas.microsoft.com/office/drawing/2014/main" id="{43EA9885-AFA0-5148-9548-B90FBFA3143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67896" y="6345054"/>
            <a:ext cx="971807" cy="208330"/>
          </a:xfrm>
          <a:prstGeom prst="rect">
            <a:avLst/>
          </a:prstGeom>
        </p:spPr>
      </p:pic>
    </p:spTree>
    <p:extLst>
      <p:ext uri="{BB962C8B-B14F-4D97-AF65-F5344CB8AC3E}">
        <p14:creationId xmlns:p14="http://schemas.microsoft.com/office/powerpoint/2010/main" val="24647349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5DB7C75-1740-FD3E-3216-A4B6A1C17BB0}"/>
              </a:ext>
            </a:extLst>
          </p:cNvPr>
          <p:cNvPicPr>
            <a:picLocks noChangeAspect="1"/>
          </p:cNvPicPr>
          <p:nvPr userDrawn="1"/>
        </p:nvPicPr>
        <p:blipFill>
          <a:blip r:embed="rId2" cstate="print">
            <a:alphaModFix/>
            <a:extLst>
              <a:ext uri="{28A0092B-C50C-407E-A947-70E740481C1C}">
                <a14:useLocalDpi xmlns:a14="http://schemas.microsoft.com/office/drawing/2010/main" val="0"/>
              </a:ext>
            </a:extLst>
          </a:blip>
          <a:srcRect/>
          <a:stretch/>
        </p:blipFill>
        <p:spPr>
          <a:xfrm>
            <a:off x="0" y="0"/>
            <a:ext cx="12192000" cy="6857999"/>
          </a:xfrm>
          <a:prstGeom prst="rect">
            <a:avLst/>
          </a:prstGeom>
        </p:spPr>
      </p:pic>
      <p:sp>
        <p:nvSpPr>
          <p:cNvPr id="8" name="TextBox 7">
            <a:extLst>
              <a:ext uri="{FF2B5EF4-FFF2-40B4-BE49-F238E27FC236}">
                <a16:creationId xmlns:a16="http://schemas.microsoft.com/office/drawing/2014/main" id="{54F98C51-636C-780E-F5F4-20674573FCCE}"/>
              </a:ext>
            </a:extLst>
          </p:cNvPr>
          <p:cNvSpPr txBox="1"/>
          <p:nvPr userDrawn="1"/>
        </p:nvSpPr>
        <p:spPr>
          <a:xfrm>
            <a:off x="181328" y="6476532"/>
            <a:ext cx="2367956" cy="215444"/>
          </a:xfrm>
          <a:prstGeom prst="rect">
            <a:avLst/>
          </a:prstGeom>
          <a:noFill/>
        </p:spPr>
        <p:txBody>
          <a:bodyPr wrap="none" rtlCol="0">
            <a:spAutoFit/>
          </a:bodyPr>
          <a:lstStyle/>
          <a:p>
            <a:r>
              <a:rPr lang="en-US" sz="800" b="1" i="0">
                <a:solidFill>
                  <a:schemeClr val="bg1">
                    <a:lumMod val="65000"/>
                  </a:schemeClr>
                </a:solidFill>
                <a:latin typeface="Segoe UI" panose="020B0502040204020203" pitchFamily="34" charset="0"/>
                <a:cs typeface="Segoe UI" panose="020B0502040204020203" pitchFamily="34" charset="0"/>
              </a:rPr>
              <a:t>NDA ONLY: </a:t>
            </a:r>
            <a:r>
              <a:rPr lang="en-US" sz="800" b="0" i="0">
                <a:solidFill>
                  <a:schemeClr val="bg1">
                    <a:lumMod val="65000"/>
                  </a:schemeClr>
                </a:solidFill>
                <a:latin typeface="Segoe UI" panose="020B0502040204020203" pitchFamily="34" charset="0"/>
                <a:cs typeface="Segoe UI" panose="020B0502040204020203" pitchFamily="34" charset="0"/>
              </a:rPr>
              <a:t>Classified as Microsoft Confidential</a:t>
            </a:r>
          </a:p>
        </p:txBody>
      </p:sp>
    </p:spTree>
    <p:extLst>
      <p:ext uri="{BB962C8B-B14F-4D97-AF65-F5344CB8AC3E}">
        <p14:creationId xmlns:p14="http://schemas.microsoft.com/office/powerpoint/2010/main" val="306842461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Blank-BIC">
    <p:bg>
      <p:bgPr>
        <a:solidFill>
          <a:schemeClr val="bg1"/>
        </a:solid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A5DDC46-131E-1932-E5FF-2DB33DAECB56}"/>
              </a:ext>
            </a:extLst>
          </p:cNvPr>
          <p:cNvSpPr>
            <a:spLocks noGrp="1"/>
          </p:cNvSpPr>
          <p:nvPr>
            <p:ph type="body" sz="quarter" idx="11" hasCustomPrompt="1"/>
          </p:nvPr>
        </p:nvSpPr>
        <p:spPr>
          <a:xfrm>
            <a:off x="10121900" y="-558800"/>
            <a:ext cx="2070100" cy="330200"/>
          </a:xfrm>
          <a:prstGeom prst="rect">
            <a:avLst/>
          </a:prstGeom>
          <a:solidFill>
            <a:schemeClr val="bg1">
              <a:lumMod val="95000"/>
            </a:schemeClr>
          </a:solidFill>
          <a:ln>
            <a:solidFill>
              <a:schemeClr val="bg1">
                <a:lumMod val="50000"/>
              </a:schemeClr>
            </a:solidFill>
            <a:prstDash val="sysDot"/>
          </a:ln>
        </p:spPr>
        <p:txBody>
          <a:bodyPr anchor="ctr"/>
          <a:lstStyle>
            <a:lvl1pPr marL="0" indent="0" algn="r">
              <a:buNone/>
              <a:defRPr sz="1400" b="0" i="0">
                <a:solidFill>
                  <a:schemeClr val="bg1">
                    <a:lumMod val="50000"/>
                  </a:schemeClr>
                </a:solidFill>
                <a:latin typeface="Segoe UI" panose="020B0502040204020203" pitchFamily="34" charset="0"/>
                <a:cs typeface="Segoe UI" panose="020B0502040204020203" pitchFamily="34" charset="0"/>
              </a:defRPr>
            </a:lvl1pPr>
            <a:lvl2pPr marL="457200" indent="0">
              <a:buNone/>
              <a:defRPr sz="1000" b="0" i="0">
                <a:solidFill>
                  <a:schemeClr val="bg1">
                    <a:lumMod val="50000"/>
                  </a:schemeClr>
                </a:solidFill>
                <a:latin typeface="Segoe UI" panose="020B0502040204020203" pitchFamily="34" charset="0"/>
                <a:cs typeface="Segoe UI" panose="020B0502040204020203" pitchFamily="34" charset="0"/>
              </a:defRPr>
            </a:lvl2pPr>
            <a:lvl3pPr marL="914400" indent="0">
              <a:buNone/>
              <a:defRPr sz="1000" b="0" i="0">
                <a:solidFill>
                  <a:schemeClr val="bg1">
                    <a:lumMod val="50000"/>
                  </a:schemeClr>
                </a:solidFill>
                <a:latin typeface="Segoe UI" panose="020B0502040204020203" pitchFamily="34" charset="0"/>
                <a:cs typeface="Segoe UI" panose="020B0502040204020203" pitchFamily="34" charset="0"/>
              </a:defRPr>
            </a:lvl3pPr>
            <a:lvl4pPr marL="1371600" indent="0">
              <a:buNone/>
              <a:defRPr sz="1000" b="0" i="0">
                <a:solidFill>
                  <a:schemeClr val="bg1">
                    <a:lumMod val="50000"/>
                  </a:schemeClr>
                </a:solidFill>
                <a:latin typeface="Segoe UI" panose="020B0502040204020203" pitchFamily="34" charset="0"/>
                <a:cs typeface="Segoe UI" panose="020B0502040204020203" pitchFamily="34" charset="0"/>
              </a:defRPr>
            </a:lvl4pPr>
            <a:lvl5pPr marL="1828800" indent="0">
              <a:buNone/>
              <a:defRPr sz="1000" b="0" i="0">
                <a:solidFill>
                  <a:schemeClr val="bg1">
                    <a:lumMod val="50000"/>
                  </a:schemeClr>
                </a:solidFill>
                <a:latin typeface="Segoe UI" panose="020B0502040204020203" pitchFamily="34" charset="0"/>
                <a:cs typeface="Segoe UI" panose="020B0502040204020203" pitchFamily="34" charset="0"/>
              </a:defRPr>
            </a:lvl5pPr>
          </a:lstStyle>
          <a:p>
            <a:pPr lvl="0"/>
            <a:r>
              <a:rPr lang="en-US"/>
              <a:t>#</a:t>
            </a:r>
          </a:p>
        </p:txBody>
      </p:sp>
    </p:spTree>
    <p:extLst>
      <p:ext uri="{BB962C8B-B14F-4D97-AF65-F5344CB8AC3E}">
        <p14:creationId xmlns:p14="http://schemas.microsoft.com/office/powerpoint/2010/main" val="524382626"/>
      </p:ext>
    </p:extLst>
  </p:cSld>
  <p:clrMapOvr>
    <a:masterClrMapping/>
  </p:clrMapOvr>
  <p:transition>
    <p:fade/>
  </p:transition>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Right side media">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4FB4F104-4F56-1C72-6B4B-6003D87CCAA1}"/>
              </a:ext>
            </a:extLst>
          </p:cNvPr>
          <p:cNvSpPr/>
          <p:nvPr userDrawn="1"/>
        </p:nvSpPr>
        <p:spPr bwMode="auto">
          <a:xfrm>
            <a:off x="613810" y="539253"/>
            <a:ext cx="5949035" cy="5642342"/>
          </a:xfrm>
          <a:prstGeom prst="roundRect">
            <a:avLst>
              <a:gd name="adj" fmla="val 2764"/>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3C24262A-4B23-F365-A6E1-DFDEF065BC16}"/>
              </a:ext>
            </a:extLst>
          </p:cNvPr>
          <p:cNvSpPr/>
          <p:nvPr userDrawn="1"/>
        </p:nvSpPr>
        <p:spPr bwMode="auto">
          <a:xfrm>
            <a:off x="501662" y="425311"/>
            <a:ext cx="11101485" cy="5848489"/>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0673175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Section Title Accen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C04C5A1-2D7B-914F-96C1-8C14BFFC6D0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5"/>
          <a:stretch/>
        </p:blipFill>
        <p:spPr>
          <a:xfrm>
            <a:off x="882" y="0"/>
            <a:ext cx="12191118" cy="6858000"/>
          </a:xfrm>
          <a:prstGeom prst="rect">
            <a:avLst/>
          </a:prstGeom>
        </p:spPr>
      </p:pic>
      <p:sp>
        <p:nvSpPr>
          <p:cNvPr id="2" name="Title 1">
            <a:extLst>
              <a:ext uri="{FF2B5EF4-FFF2-40B4-BE49-F238E27FC236}">
                <a16:creationId xmlns:a16="http://schemas.microsoft.com/office/drawing/2014/main" id="{BAA41A47-C03B-A94B-9452-C264A5BEFF30}"/>
              </a:ext>
            </a:extLst>
          </p:cNvPr>
          <p:cNvSpPr>
            <a:spLocks noGrp="1"/>
          </p:cNvSpPr>
          <p:nvPr>
            <p:ph type="title"/>
          </p:nvPr>
        </p:nvSpPr>
        <p:spPr>
          <a:xfrm>
            <a:off x="839788" y="457200"/>
            <a:ext cx="5542724" cy="1847088"/>
          </a:xfrm>
        </p:spPr>
        <p:txBody>
          <a:bodyPr anchor="b">
            <a:normAutofit/>
          </a:bodyPr>
          <a:lstStyle>
            <a:lvl1pPr>
              <a:defRPr sz="4400">
                <a:solidFill>
                  <a:schemeClr val="bg1"/>
                </a:solidFill>
              </a:defRPr>
            </a:lvl1pPr>
          </a:lstStyle>
          <a:p>
            <a:r>
              <a:rPr lang="en-US"/>
              <a:t>Click to edit Master title style</a:t>
            </a:r>
          </a:p>
        </p:txBody>
      </p:sp>
      <p:pic>
        <p:nvPicPr>
          <p:cNvPr id="9" name="Picture 8">
            <a:extLst>
              <a:ext uri="{FF2B5EF4-FFF2-40B4-BE49-F238E27FC236}">
                <a16:creationId xmlns:a16="http://schemas.microsoft.com/office/drawing/2014/main" id="{A20493AA-FD75-304E-BF6B-8C91FE9C983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7812" y="6217919"/>
            <a:ext cx="477593" cy="477593"/>
          </a:xfrm>
          <a:prstGeom prst="rect">
            <a:avLst/>
          </a:prstGeom>
        </p:spPr>
      </p:pic>
      <p:pic>
        <p:nvPicPr>
          <p:cNvPr id="10" name="Picture 9">
            <a:extLst>
              <a:ext uri="{FF2B5EF4-FFF2-40B4-BE49-F238E27FC236}">
                <a16:creationId xmlns:a16="http://schemas.microsoft.com/office/drawing/2014/main" id="{43EA9885-AFA0-5148-9548-B90FBFA3143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67896" y="6345054"/>
            <a:ext cx="971807" cy="208330"/>
          </a:xfrm>
          <a:prstGeom prst="rect">
            <a:avLst/>
          </a:prstGeom>
        </p:spPr>
      </p:pic>
    </p:spTree>
    <p:extLst>
      <p:ext uri="{BB962C8B-B14F-4D97-AF65-F5344CB8AC3E}">
        <p14:creationId xmlns:p14="http://schemas.microsoft.com/office/powerpoint/2010/main" val="151719971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4381500" y="1085850"/>
            <a:ext cx="6858000" cy="5086350"/>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8" name="Title 1">
            <a:extLst>
              <a:ext uri="{FF2B5EF4-FFF2-40B4-BE49-F238E27FC236}">
                <a16:creationId xmlns:a16="http://schemas.microsoft.com/office/drawing/2014/main" id="{6810C5D6-BE0E-81CA-D041-F375BC16290F}"/>
              </a:ext>
            </a:extLst>
          </p:cNvPr>
          <p:cNvSpPr>
            <a:spLocks noGrp="1"/>
          </p:cNvSpPr>
          <p:nvPr>
            <p:ph type="title"/>
          </p:nvPr>
        </p:nvSpPr>
        <p:spPr>
          <a:xfrm>
            <a:off x="731839" y="1018911"/>
            <a:ext cx="3192461" cy="775597"/>
          </a:xfrm>
        </p:spPr>
        <p:txBody>
          <a:bodyPr anchor="b">
            <a:spAutoFit/>
          </a:bodyPr>
          <a:lstStyle>
            <a:lvl1pPr>
              <a:defRPr sz="2800"/>
            </a:lvl1pPr>
          </a:lstStyle>
          <a:p>
            <a:r>
              <a:rPr lang="en-US"/>
              <a:t>Click to edit Master title style</a:t>
            </a:r>
          </a:p>
        </p:txBody>
      </p:sp>
      <p:sp>
        <p:nvSpPr>
          <p:cNvPr id="9" name="Text Placeholder 3">
            <a:extLst>
              <a:ext uri="{FF2B5EF4-FFF2-40B4-BE49-F238E27FC236}">
                <a16:creationId xmlns:a16="http://schemas.microsoft.com/office/drawing/2014/main" id="{2C686E56-D7FD-ADB2-F8E0-67414A061562}"/>
              </a:ext>
            </a:extLst>
          </p:cNvPr>
          <p:cNvSpPr>
            <a:spLocks noGrp="1"/>
          </p:cNvSpPr>
          <p:nvPr>
            <p:ph type="body" sz="half" idx="2"/>
          </p:nvPr>
        </p:nvSpPr>
        <p:spPr>
          <a:xfrm>
            <a:off x="731839" y="2003674"/>
            <a:ext cx="3192461" cy="4168526"/>
          </a:xfrm>
        </p:spPr>
        <p:txBody>
          <a:bodyPr>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1" name="Date Placeholder 20">
            <a:extLst>
              <a:ext uri="{FF2B5EF4-FFF2-40B4-BE49-F238E27FC236}">
                <a16:creationId xmlns:a16="http://schemas.microsoft.com/office/drawing/2014/main" id="{A8D2097C-9E92-9D50-CDAA-D366F692199B}"/>
              </a:ext>
            </a:extLst>
          </p:cNvPr>
          <p:cNvSpPr>
            <a:spLocks noGrp="1"/>
          </p:cNvSpPr>
          <p:nvPr>
            <p:ph type="dt" sz="half" idx="14"/>
          </p:nvPr>
        </p:nvSpPr>
        <p:spPr/>
        <p:txBody>
          <a:bodyPr/>
          <a:lstStyle/>
          <a:p>
            <a:r>
              <a:rPr lang="en-US"/>
              <a:t>Microsoft confidential</a:t>
            </a:r>
          </a:p>
        </p:txBody>
      </p:sp>
      <p:sp>
        <p:nvSpPr>
          <p:cNvPr id="22" name="Footer Placeholder 21">
            <a:extLst>
              <a:ext uri="{FF2B5EF4-FFF2-40B4-BE49-F238E27FC236}">
                <a16:creationId xmlns:a16="http://schemas.microsoft.com/office/drawing/2014/main" id="{1F7B70CE-844B-A67E-8FB6-17C0E871D432}"/>
              </a:ext>
            </a:extLst>
          </p:cNvPr>
          <p:cNvSpPr>
            <a:spLocks noGrp="1"/>
          </p:cNvSpPr>
          <p:nvPr>
            <p:ph type="ftr" sz="quarter" idx="15"/>
          </p:nvPr>
        </p:nvSpPr>
        <p:spPr/>
        <p:txBody>
          <a:bodyPr/>
          <a:lstStyle/>
          <a:p>
            <a:r>
              <a:rPr lang="en-US"/>
              <a:t>Creating a scalable conversational UX</a:t>
            </a:r>
          </a:p>
        </p:txBody>
      </p:sp>
      <p:sp>
        <p:nvSpPr>
          <p:cNvPr id="23" name="Slide Number Placeholder 22">
            <a:extLst>
              <a:ext uri="{FF2B5EF4-FFF2-40B4-BE49-F238E27FC236}">
                <a16:creationId xmlns:a16="http://schemas.microsoft.com/office/drawing/2014/main" id="{67851276-2BCB-1F58-AE5E-1036302CE353}"/>
              </a:ext>
            </a:extLst>
          </p:cNvPr>
          <p:cNvSpPr>
            <a:spLocks noGrp="1"/>
          </p:cNvSpPr>
          <p:nvPr>
            <p:ph type="sldNum" sz="quarter" idx="16"/>
          </p:nvPr>
        </p:nvSpPr>
        <p:spPr/>
        <p:txBody>
          <a:bodyPr/>
          <a:lstStyle/>
          <a:p>
            <a:fld id="{9406BE13-FF2C-3A41-A53B-D6BC2DDA0AE5}" type="slidenum">
              <a:rPr lang="en-US" smtClean="0"/>
              <a:pPr/>
              <a:t>‹#›</a:t>
            </a:fld>
            <a:endParaRPr lang="en-US">
              <a:solidFill>
                <a:schemeClr val="bg1">
                  <a:lumMod val="85000"/>
                </a:schemeClr>
              </a:solidFill>
            </a:endParaRPr>
          </a:p>
        </p:txBody>
      </p:sp>
      <p:sp>
        <p:nvSpPr>
          <p:cNvPr id="4" name="Text Placeholder 14">
            <a:extLst>
              <a:ext uri="{FF2B5EF4-FFF2-40B4-BE49-F238E27FC236}">
                <a16:creationId xmlns:a16="http://schemas.microsoft.com/office/drawing/2014/main" id="{C67E7603-C8DC-EB27-045C-FAD581083C67}"/>
              </a:ext>
            </a:extLst>
          </p:cNvPr>
          <p:cNvSpPr>
            <a:spLocks noGrp="1"/>
          </p:cNvSpPr>
          <p:nvPr>
            <p:ph type="body" sz="quarter" idx="13" hasCustomPrompt="1"/>
          </p:nvPr>
        </p:nvSpPr>
        <p:spPr>
          <a:xfrm>
            <a:off x="723900" y="523101"/>
            <a:ext cx="10515600" cy="276999"/>
          </a:xfrm>
        </p:spPr>
        <p:txBody>
          <a:bodyPr anchor="b">
            <a:spAutoFit/>
          </a:bodyPr>
          <a:lstStyle>
            <a:lvl1pPr marL="0" indent="0">
              <a:buNone/>
              <a:defRPr sz="1800">
                <a:gradFill>
                  <a:gsLst>
                    <a:gs pos="100000">
                      <a:schemeClr val="accent6">
                        <a:lumMod val="20000"/>
                        <a:lumOff val="80000"/>
                      </a:schemeClr>
                    </a:gs>
                    <a:gs pos="72000">
                      <a:schemeClr val="accent1">
                        <a:lumMod val="60000"/>
                        <a:lumOff val="40000"/>
                      </a:schemeClr>
                    </a:gs>
                    <a:gs pos="28000">
                      <a:schemeClr val="accent2">
                        <a:lumMod val="60000"/>
                        <a:lumOff val="40000"/>
                      </a:schemeClr>
                    </a:gs>
                    <a:gs pos="0">
                      <a:schemeClr val="accent2"/>
                    </a:gs>
                  </a:gsLst>
                  <a:lin ang="4200000" scaled="0"/>
                </a:gradFill>
                <a:latin typeface="+mj-lt"/>
              </a:defRPr>
            </a:lvl1pPr>
            <a:lvl2pPr>
              <a:defRPr sz="1800">
                <a:gradFill>
                  <a:gsLst>
                    <a:gs pos="0">
                      <a:schemeClr val="accent1">
                        <a:lumMod val="96000"/>
                      </a:schemeClr>
                    </a:gs>
                    <a:gs pos="99000">
                      <a:schemeClr val="accent2">
                        <a:lumMod val="60000"/>
                        <a:lumOff val="40000"/>
                      </a:schemeClr>
                    </a:gs>
                  </a:gsLst>
                  <a:lin ang="4200000" scaled="0"/>
                </a:gradFill>
                <a:latin typeface="+mj-lt"/>
              </a:defRPr>
            </a:lvl2pPr>
            <a:lvl3pPr>
              <a:defRPr sz="1800">
                <a:gradFill>
                  <a:gsLst>
                    <a:gs pos="0">
                      <a:schemeClr val="accent1">
                        <a:lumMod val="96000"/>
                      </a:schemeClr>
                    </a:gs>
                    <a:gs pos="99000">
                      <a:schemeClr val="accent2">
                        <a:lumMod val="60000"/>
                        <a:lumOff val="40000"/>
                      </a:schemeClr>
                    </a:gs>
                  </a:gsLst>
                  <a:lin ang="4200000" scaled="0"/>
                </a:gradFill>
                <a:latin typeface="+mj-lt"/>
              </a:defRPr>
            </a:lvl3pPr>
            <a:lvl4pPr>
              <a:defRPr sz="1800">
                <a:gradFill>
                  <a:gsLst>
                    <a:gs pos="0">
                      <a:schemeClr val="accent1">
                        <a:lumMod val="96000"/>
                      </a:schemeClr>
                    </a:gs>
                    <a:gs pos="99000">
                      <a:schemeClr val="accent2">
                        <a:lumMod val="60000"/>
                        <a:lumOff val="40000"/>
                      </a:schemeClr>
                    </a:gs>
                  </a:gsLst>
                  <a:lin ang="4200000" scaled="0"/>
                </a:gradFill>
                <a:latin typeface="+mj-lt"/>
              </a:defRPr>
            </a:lvl4pPr>
            <a:lvl5pPr>
              <a:defRPr sz="1800">
                <a:gradFill>
                  <a:gsLst>
                    <a:gs pos="0">
                      <a:schemeClr val="accent1">
                        <a:lumMod val="96000"/>
                      </a:schemeClr>
                    </a:gs>
                    <a:gs pos="99000">
                      <a:schemeClr val="accent2">
                        <a:lumMod val="60000"/>
                        <a:lumOff val="40000"/>
                      </a:schemeClr>
                    </a:gs>
                  </a:gsLst>
                  <a:lin ang="4200000" scaled="0"/>
                </a:gradFill>
                <a:latin typeface="+mj-lt"/>
              </a:defRPr>
            </a:lvl5pPr>
          </a:lstStyle>
          <a:p>
            <a:pPr lvl="0"/>
            <a:r>
              <a:rPr lang="en-US"/>
              <a:t>Section header</a:t>
            </a:r>
          </a:p>
        </p:txBody>
      </p:sp>
    </p:spTree>
    <p:extLst>
      <p:ext uri="{BB962C8B-B14F-4D97-AF65-F5344CB8AC3E}">
        <p14:creationId xmlns:p14="http://schemas.microsoft.com/office/powerpoint/2010/main" val="328766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60">
          <p15:clr>
            <a:srgbClr val="5ACBF0"/>
          </p15:clr>
        </p15:guide>
        <p15:guide id="2" pos="2472">
          <p15:clr>
            <a:srgbClr val="5ACBF0"/>
          </p15:clr>
        </p15:guide>
        <p15:guide id="3" orient="horz" pos="468">
          <p15:clr>
            <a:srgbClr val="9FCC3B"/>
          </p15:clr>
        </p15:guide>
        <p15:guide id="4" orient="horz" pos="1080">
          <p15:clr>
            <a:srgbClr val="9FCC3B"/>
          </p15:clr>
        </p15:guide>
        <p15:guide id="5" orient="horz" pos="1260">
          <p15:clr>
            <a:srgbClr val="5ACBF0"/>
          </p15:clr>
        </p15:guide>
        <p15:guide id="6" orient="horz" pos="3888">
          <p15:clr>
            <a:srgbClr val="5ACBF0"/>
          </p15:clr>
        </p15:guide>
        <p15:guide id="7" pos="7080">
          <p15:clr>
            <a:srgbClr val="5ACBF0"/>
          </p15:clr>
        </p15:guide>
        <p15:guide id="8" orient="horz" pos="68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3900" y="1362872"/>
            <a:ext cx="10515600" cy="443198"/>
          </a:xfrm>
        </p:spPr>
        <p:txBody>
          <a:bodyPr wrap="square">
            <a:spAutoFit/>
          </a:bodyPr>
          <a:lstStyle/>
          <a:p>
            <a:r>
              <a:rPr lang="en-US"/>
              <a:t>A concise, specific, and conversational active headline.</a:t>
            </a:r>
          </a:p>
        </p:txBody>
      </p:sp>
      <p:sp>
        <p:nvSpPr>
          <p:cNvPr id="10" name="Content Placeholder 2">
            <a:extLst>
              <a:ext uri="{FF2B5EF4-FFF2-40B4-BE49-F238E27FC236}">
                <a16:creationId xmlns:a16="http://schemas.microsoft.com/office/drawing/2014/main" id="{C48EC71C-D4A1-1E6C-CF0D-B6FC362ABF64}"/>
              </a:ext>
            </a:extLst>
          </p:cNvPr>
          <p:cNvSpPr>
            <a:spLocks noGrp="1"/>
          </p:cNvSpPr>
          <p:nvPr>
            <p:ph idx="1" hasCustomPrompt="1"/>
          </p:nvPr>
        </p:nvSpPr>
        <p:spPr>
          <a:xfrm>
            <a:off x="723900" y="2000250"/>
            <a:ext cx="10515600" cy="4171950"/>
          </a:xfrm>
        </p:spPr>
        <p:txBody>
          <a:bodyPr lIns="0" tIns="0" rIns="0" bIns="0"/>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content</a:t>
            </a:r>
          </a:p>
          <a:p>
            <a:pPr lvl="1"/>
            <a:r>
              <a:rPr lang="en-US"/>
              <a:t>Second level</a:t>
            </a:r>
          </a:p>
          <a:p>
            <a:pPr lvl="2"/>
            <a:r>
              <a:rPr lang="en-US"/>
              <a:t>Third level</a:t>
            </a:r>
          </a:p>
          <a:p>
            <a:pPr lvl="3"/>
            <a:r>
              <a:rPr lang="en-US"/>
              <a:t>Fourth level</a:t>
            </a:r>
          </a:p>
          <a:p>
            <a:pPr lvl="4"/>
            <a:r>
              <a:rPr lang="en-US"/>
              <a:t>Fifth level</a:t>
            </a:r>
          </a:p>
        </p:txBody>
      </p:sp>
      <p:sp>
        <p:nvSpPr>
          <p:cNvPr id="15" name="Text Placeholder 14">
            <a:extLst>
              <a:ext uri="{FF2B5EF4-FFF2-40B4-BE49-F238E27FC236}">
                <a16:creationId xmlns:a16="http://schemas.microsoft.com/office/drawing/2014/main" id="{743078C0-2270-0525-5AF4-41E6139CA407}"/>
              </a:ext>
            </a:extLst>
          </p:cNvPr>
          <p:cNvSpPr>
            <a:spLocks noGrp="1"/>
          </p:cNvSpPr>
          <p:nvPr>
            <p:ph type="body" sz="quarter" idx="13" hasCustomPrompt="1"/>
          </p:nvPr>
        </p:nvSpPr>
        <p:spPr>
          <a:xfrm>
            <a:off x="723900" y="523101"/>
            <a:ext cx="10515600" cy="276999"/>
          </a:xfrm>
        </p:spPr>
        <p:txBody>
          <a:bodyPr anchor="b">
            <a:spAutoFit/>
          </a:bodyPr>
          <a:lstStyle>
            <a:lvl1pPr marL="0" indent="0">
              <a:buNone/>
              <a:defRPr sz="1800">
                <a:gradFill>
                  <a:gsLst>
                    <a:gs pos="100000">
                      <a:schemeClr val="accent6">
                        <a:lumMod val="20000"/>
                        <a:lumOff val="80000"/>
                      </a:schemeClr>
                    </a:gs>
                    <a:gs pos="72000">
                      <a:schemeClr val="accent1">
                        <a:lumMod val="60000"/>
                        <a:lumOff val="40000"/>
                      </a:schemeClr>
                    </a:gs>
                    <a:gs pos="28000">
                      <a:schemeClr val="accent2">
                        <a:lumMod val="60000"/>
                        <a:lumOff val="40000"/>
                      </a:schemeClr>
                    </a:gs>
                    <a:gs pos="0">
                      <a:schemeClr val="accent2"/>
                    </a:gs>
                  </a:gsLst>
                  <a:lin ang="4200000" scaled="0"/>
                </a:gradFill>
                <a:latin typeface="+mj-lt"/>
              </a:defRPr>
            </a:lvl1pPr>
            <a:lvl2pPr>
              <a:defRPr sz="1800">
                <a:gradFill>
                  <a:gsLst>
                    <a:gs pos="0">
                      <a:schemeClr val="accent1">
                        <a:lumMod val="96000"/>
                      </a:schemeClr>
                    </a:gs>
                    <a:gs pos="99000">
                      <a:schemeClr val="accent2">
                        <a:lumMod val="60000"/>
                        <a:lumOff val="40000"/>
                      </a:schemeClr>
                    </a:gs>
                  </a:gsLst>
                  <a:lin ang="4200000" scaled="0"/>
                </a:gradFill>
                <a:latin typeface="+mj-lt"/>
              </a:defRPr>
            </a:lvl2pPr>
            <a:lvl3pPr>
              <a:defRPr sz="1800">
                <a:gradFill>
                  <a:gsLst>
                    <a:gs pos="0">
                      <a:schemeClr val="accent1">
                        <a:lumMod val="96000"/>
                      </a:schemeClr>
                    </a:gs>
                    <a:gs pos="99000">
                      <a:schemeClr val="accent2">
                        <a:lumMod val="60000"/>
                        <a:lumOff val="40000"/>
                      </a:schemeClr>
                    </a:gs>
                  </a:gsLst>
                  <a:lin ang="4200000" scaled="0"/>
                </a:gradFill>
                <a:latin typeface="+mj-lt"/>
              </a:defRPr>
            </a:lvl3pPr>
            <a:lvl4pPr>
              <a:defRPr sz="1800">
                <a:gradFill>
                  <a:gsLst>
                    <a:gs pos="0">
                      <a:schemeClr val="accent1">
                        <a:lumMod val="96000"/>
                      </a:schemeClr>
                    </a:gs>
                    <a:gs pos="99000">
                      <a:schemeClr val="accent2">
                        <a:lumMod val="60000"/>
                        <a:lumOff val="40000"/>
                      </a:schemeClr>
                    </a:gs>
                  </a:gsLst>
                  <a:lin ang="4200000" scaled="0"/>
                </a:gradFill>
                <a:latin typeface="+mj-lt"/>
              </a:defRPr>
            </a:lvl4pPr>
            <a:lvl5pPr>
              <a:defRPr sz="1800">
                <a:gradFill>
                  <a:gsLst>
                    <a:gs pos="0">
                      <a:schemeClr val="accent1">
                        <a:lumMod val="96000"/>
                      </a:schemeClr>
                    </a:gs>
                    <a:gs pos="99000">
                      <a:schemeClr val="accent2">
                        <a:lumMod val="60000"/>
                        <a:lumOff val="40000"/>
                      </a:schemeClr>
                    </a:gs>
                  </a:gsLst>
                  <a:lin ang="4200000" scaled="0"/>
                </a:gradFill>
                <a:latin typeface="+mj-lt"/>
              </a:defRPr>
            </a:lvl5pPr>
          </a:lstStyle>
          <a:p>
            <a:pPr lvl="0"/>
            <a:r>
              <a:rPr lang="en-US"/>
              <a:t>Section header</a:t>
            </a:r>
          </a:p>
        </p:txBody>
      </p:sp>
      <p:sp>
        <p:nvSpPr>
          <p:cNvPr id="20" name="Date Placeholder 19">
            <a:extLst>
              <a:ext uri="{FF2B5EF4-FFF2-40B4-BE49-F238E27FC236}">
                <a16:creationId xmlns:a16="http://schemas.microsoft.com/office/drawing/2014/main" id="{7AF16819-2921-255D-9D8C-2351717A7E27}"/>
              </a:ext>
            </a:extLst>
          </p:cNvPr>
          <p:cNvSpPr>
            <a:spLocks noGrp="1"/>
          </p:cNvSpPr>
          <p:nvPr>
            <p:ph type="dt" sz="half" idx="14"/>
          </p:nvPr>
        </p:nvSpPr>
        <p:spPr/>
        <p:txBody>
          <a:bodyPr/>
          <a:lstStyle/>
          <a:p>
            <a:r>
              <a:rPr lang="en-US"/>
              <a:t>Microsoft confidential</a:t>
            </a:r>
          </a:p>
        </p:txBody>
      </p:sp>
      <p:sp>
        <p:nvSpPr>
          <p:cNvPr id="21" name="Footer Placeholder 20">
            <a:extLst>
              <a:ext uri="{FF2B5EF4-FFF2-40B4-BE49-F238E27FC236}">
                <a16:creationId xmlns:a16="http://schemas.microsoft.com/office/drawing/2014/main" id="{9F8F8417-796E-7B12-425B-979865EC99E4}"/>
              </a:ext>
            </a:extLst>
          </p:cNvPr>
          <p:cNvSpPr>
            <a:spLocks noGrp="1"/>
          </p:cNvSpPr>
          <p:nvPr>
            <p:ph type="ftr" sz="quarter" idx="15"/>
          </p:nvPr>
        </p:nvSpPr>
        <p:spPr/>
        <p:txBody>
          <a:bodyPr/>
          <a:lstStyle/>
          <a:p>
            <a:r>
              <a:rPr lang="en-US"/>
              <a:t>Creating a scalable conversational UX</a:t>
            </a:r>
          </a:p>
        </p:txBody>
      </p:sp>
      <p:sp>
        <p:nvSpPr>
          <p:cNvPr id="22" name="Slide Number Placeholder 21">
            <a:extLst>
              <a:ext uri="{FF2B5EF4-FFF2-40B4-BE49-F238E27FC236}">
                <a16:creationId xmlns:a16="http://schemas.microsoft.com/office/drawing/2014/main" id="{151AE55D-1F6E-119D-8C74-D84C645F1FED}"/>
              </a:ext>
            </a:extLst>
          </p:cNvPr>
          <p:cNvSpPr>
            <a:spLocks noGrp="1"/>
          </p:cNvSpPr>
          <p:nvPr>
            <p:ph type="sldNum" sz="quarter" idx="16"/>
          </p:nvPr>
        </p:nvSpPr>
        <p:spPr/>
        <p:txBody>
          <a:bodyPr/>
          <a:lstStyle/>
          <a:p>
            <a:fld id="{9406BE13-FF2C-3A41-A53B-D6BC2DDA0AE5}" type="slidenum">
              <a:rPr lang="en-US" smtClean="0"/>
              <a:pPr/>
              <a:t>‹#›</a:t>
            </a:fld>
            <a:endParaRPr lang="en-US">
              <a:solidFill>
                <a:schemeClr val="bg1">
                  <a:lumMod val="85000"/>
                </a:schemeClr>
              </a:solidFill>
            </a:endParaRPr>
          </a:p>
        </p:txBody>
      </p:sp>
    </p:spTree>
    <p:extLst>
      <p:ext uri="{BB962C8B-B14F-4D97-AF65-F5344CB8AC3E}">
        <p14:creationId xmlns:p14="http://schemas.microsoft.com/office/powerpoint/2010/main" val="284762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68">
          <p15:clr>
            <a:srgbClr val="9FCC3B"/>
          </p15:clr>
        </p15:guide>
        <p15:guide id="2" orient="horz" pos="1080">
          <p15:clr>
            <a:srgbClr val="9FCC3B"/>
          </p15:clr>
        </p15:guide>
        <p15:guide id="3" orient="horz" pos="1260">
          <p15:clr>
            <a:srgbClr val="5ACBF0"/>
          </p15:clr>
        </p15:guide>
        <p15:guide id="4" orient="horz" pos="3888">
          <p15:clr>
            <a:srgbClr val="5ACBF0"/>
          </p15:clr>
        </p15:guide>
        <p15:guide id="5" pos="7080">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Caption with Detail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FB5441F-36A5-717B-0919-0FC544144CA4}"/>
              </a:ext>
            </a:extLst>
          </p:cNvPr>
          <p:cNvSpPr/>
          <p:nvPr userDrawn="1"/>
        </p:nvSpPr>
        <p:spPr>
          <a:xfrm>
            <a:off x="2726575" y="0"/>
            <a:ext cx="946542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6810C5D6-BE0E-81CA-D041-F375BC16290F}"/>
              </a:ext>
            </a:extLst>
          </p:cNvPr>
          <p:cNvSpPr>
            <a:spLocks noGrp="1"/>
          </p:cNvSpPr>
          <p:nvPr>
            <p:ph type="title"/>
          </p:nvPr>
        </p:nvSpPr>
        <p:spPr>
          <a:xfrm>
            <a:off x="191192" y="1117354"/>
            <a:ext cx="2310939" cy="664797"/>
          </a:xfrm>
        </p:spPr>
        <p:txBody>
          <a:bodyPr wrap="square" anchor="b">
            <a:spAutoFit/>
          </a:bodyPr>
          <a:lstStyle>
            <a:lvl1pPr>
              <a:defRPr sz="2400"/>
            </a:lvl1pPr>
          </a:lstStyle>
          <a:p>
            <a:r>
              <a:rPr lang="en-US"/>
              <a:t>Click to edit Master title style</a:t>
            </a:r>
          </a:p>
        </p:txBody>
      </p:sp>
      <p:sp>
        <p:nvSpPr>
          <p:cNvPr id="9" name="Text Placeholder 3">
            <a:extLst>
              <a:ext uri="{FF2B5EF4-FFF2-40B4-BE49-F238E27FC236}">
                <a16:creationId xmlns:a16="http://schemas.microsoft.com/office/drawing/2014/main" id="{2C686E56-D7FD-ADB2-F8E0-67414A061562}"/>
              </a:ext>
            </a:extLst>
          </p:cNvPr>
          <p:cNvSpPr>
            <a:spLocks noGrp="1"/>
          </p:cNvSpPr>
          <p:nvPr>
            <p:ph type="body" sz="half" idx="2"/>
          </p:nvPr>
        </p:nvSpPr>
        <p:spPr>
          <a:xfrm>
            <a:off x="191192" y="1987893"/>
            <a:ext cx="2369129" cy="4171950"/>
          </a:xfrm>
        </p:spPr>
        <p:txBody>
          <a:bodyPr>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Content Placeholder 2">
            <a:extLst>
              <a:ext uri="{FF2B5EF4-FFF2-40B4-BE49-F238E27FC236}">
                <a16:creationId xmlns:a16="http://schemas.microsoft.com/office/drawing/2014/main" id="{F7F7D32A-2256-96E0-3DE9-C3313E337E7A}"/>
              </a:ext>
            </a:extLst>
          </p:cNvPr>
          <p:cNvSpPr>
            <a:spLocks noGrp="1"/>
          </p:cNvSpPr>
          <p:nvPr>
            <p:ph idx="1"/>
          </p:nvPr>
        </p:nvSpPr>
        <p:spPr>
          <a:xfrm>
            <a:off x="2784765" y="1085850"/>
            <a:ext cx="8927868" cy="5073993"/>
          </a:xfrm>
        </p:spPr>
        <p:txBody>
          <a:bodyPr>
            <a:normAutofit/>
          </a:bodyPr>
          <a:lstStyle>
            <a:lvl1pPr>
              <a:defRPr sz="2000">
                <a:solidFill>
                  <a:schemeClr val="tx2"/>
                </a:solidFill>
              </a:defRPr>
            </a:lvl1pPr>
            <a:lvl2pPr>
              <a:lnSpc>
                <a:spcPct val="100000"/>
              </a:lnSpc>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Date Placeholder 27">
            <a:extLst>
              <a:ext uri="{FF2B5EF4-FFF2-40B4-BE49-F238E27FC236}">
                <a16:creationId xmlns:a16="http://schemas.microsoft.com/office/drawing/2014/main" id="{AC04BFB5-B21E-FB36-8F69-C8B5ECCFF32D}"/>
              </a:ext>
            </a:extLst>
          </p:cNvPr>
          <p:cNvSpPr>
            <a:spLocks noGrp="1"/>
          </p:cNvSpPr>
          <p:nvPr>
            <p:ph type="dt" sz="half" idx="10"/>
          </p:nvPr>
        </p:nvSpPr>
        <p:spPr/>
        <p:txBody>
          <a:bodyPr/>
          <a:lstStyle/>
          <a:p>
            <a:r>
              <a:rPr lang="en-US"/>
              <a:t>Microsoft confidential</a:t>
            </a:r>
          </a:p>
        </p:txBody>
      </p:sp>
      <p:sp>
        <p:nvSpPr>
          <p:cNvPr id="29" name="Footer Placeholder 28">
            <a:extLst>
              <a:ext uri="{FF2B5EF4-FFF2-40B4-BE49-F238E27FC236}">
                <a16:creationId xmlns:a16="http://schemas.microsoft.com/office/drawing/2014/main" id="{6364E18D-8700-21BD-F5EE-A702FB90A761}"/>
              </a:ext>
            </a:extLst>
          </p:cNvPr>
          <p:cNvSpPr>
            <a:spLocks noGrp="1"/>
          </p:cNvSpPr>
          <p:nvPr>
            <p:ph type="ftr" sz="quarter" idx="11"/>
          </p:nvPr>
        </p:nvSpPr>
        <p:spPr/>
        <p:txBody>
          <a:bodyPr/>
          <a:lstStyle/>
          <a:p>
            <a:r>
              <a:rPr lang="en-US"/>
              <a:t>Creating a scalable conversational UX</a:t>
            </a:r>
          </a:p>
        </p:txBody>
      </p:sp>
      <p:sp>
        <p:nvSpPr>
          <p:cNvPr id="30" name="Slide Number Placeholder 29">
            <a:extLst>
              <a:ext uri="{FF2B5EF4-FFF2-40B4-BE49-F238E27FC236}">
                <a16:creationId xmlns:a16="http://schemas.microsoft.com/office/drawing/2014/main" id="{83682194-0BAE-2337-E73E-B858952DB378}"/>
              </a:ext>
            </a:extLst>
          </p:cNvPr>
          <p:cNvSpPr>
            <a:spLocks noGrp="1"/>
          </p:cNvSpPr>
          <p:nvPr>
            <p:ph type="sldNum" sz="quarter" idx="12"/>
          </p:nvPr>
        </p:nvSpPr>
        <p:spPr/>
        <p:txBody>
          <a:bodyPr/>
          <a:lstStyle/>
          <a:p>
            <a:fld id="{9406BE13-FF2C-3A41-A53B-D6BC2DDA0AE5}" type="slidenum">
              <a:rPr lang="en-US" smtClean="0"/>
              <a:pPr/>
              <a:t>‹#›</a:t>
            </a:fld>
            <a:endParaRPr lang="en-US"/>
          </a:p>
        </p:txBody>
      </p:sp>
    </p:spTree>
    <p:extLst>
      <p:ext uri="{BB962C8B-B14F-4D97-AF65-F5344CB8AC3E}">
        <p14:creationId xmlns:p14="http://schemas.microsoft.com/office/powerpoint/2010/main" val="128003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92">
          <p15:clr>
            <a:srgbClr val="5ACBF0"/>
          </p15:clr>
        </p15:guide>
        <p15:guide id="2" pos="2472">
          <p15:clr>
            <a:srgbClr val="5ACBF0"/>
          </p15:clr>
        </p15:guide>
        <p15:guide id="3" orient="horz" pos="468">
          <p15:clr>
            <a:srgbClr val="9FCC3B"/>
          </p15:clr>
        </p15:guide>
        <p15:guide id="4" orient="horz" pos="1080">
          <p15:clr>
            <a:srgbClr val="9FCC3B"/>
          </p15:clr>
        </p15:guide>
        <p15:guide id="5" orient="horz" pos="684">
          <p15:clr>
            <a:srgbClr val="5ACBF0"/>
          </p15:clr>
        </p15:guide>
        <p15:guide id="6" orient="horz" pos="3888">
          <p15:clr>
            <a:srgbClr val="5ACBF0"/>
          </p15:clr>
        </p15:guide>
        <p15:guide id="7" pos="7080">
          <p15:clr>
            <a:srgbClr val="5ACBF0"/>
          </p15:clr>
        </p15:guide>
        <p15:guide id="8" orient="horz" pos="1260">
          <p15:clr>
            <a:srgbClr val="5ACBF0"/>
          </p15:clr>
        </p15:guide>
        <p15:guide id="9" pos="27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7" name="Picture 6" descr="A colorful curved object on a black background&#10;&#10;AI-generated content may be incorrect.">
            <a:extLst>
              <a:ext uri="{FF2B5EF4-FFF2-40B4-BE49-F238E27FC236}">
                <a16:creationId xmlns:a16="http://schemas.microsoft.com/office/drawing/2014/main" id="{0B19AD7D-AD70-629E-3C43-4550DB340BB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r="-43958"/>
          <a:stretch>
            <a:fillRect/>
          </a:stretch>
        </p:blipFill>
        <p:spPr>
          <a:xfrm rot="14957738">
            <a:off x="-1612069" y="511985"/>
            <a:ext cx="7143866" cy="6393705"/>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8" name="Text Placeholder 3">
            <a:extLst>
              <a:ext uri="{FF2B5EF4-FFF2-40B4-BE49-F238E27FC236}">
                <a16:creationId xmlns:a16="http://schemas.microsoft.com/office/drawing/2014/main" id="{1237AE35-A655-4E3E-2695-F11A2D8F4871}"/>
              </a:ext>
            </a:extLst>
          </p:cNvPr>
          <p:cNvSpPr>
            <a:spLocks noGrp="1"/>
          </p:cNvSpPr>
          <p:nvPr>
            <p:ph idx="1"/>
          </p:nvPr>
        </p:nvSpPr>
        <p:spPr>
          <a:xfrm>
            <a:off x="6091332" y="1441655"/>
            <a:ext cx="5511388" cy="2499146"/>
          </a:xfrm>
          <a:prstGeom prst="rect">
            <a:avLst/>
          </a:prstGeom>
        </p:spPr>
        <p:txBody>
          <a:bodyPr vert="horz" wrap="square" lIns="0" tIns="0" rIns="0" bIns="0" rtlCol="0">
            <a:spAutoFit/>
          </a:bodyPr>
          <a:lstStyle>
            <a:lvl1pPr>
              <a:defRPr sz="2800">
                <a:solidFill>
                  <a:schemeClr val="bg1"/>
                </a:solidFill>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2EDA46B1-A4F7-91DB-14EA-5ACDCE48E9BA}"/>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Tree>
    <p:extLst>
      <p:ext uri="{BB962C8B-B14F-4D97-AF65-F5344CB8AC3E}">
        <p14:creationId xmlns:p14="http://schemas.microsoft.com/office/powerpoint/2010/main" val="228772451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9" name="Text Placeholder 14">
            <a:extLst>
              <a:ext uri="{FF2B5EF4-FFF2-40B4-BE49-F238E27FC236}">
                <a16:creationId xmlns:a16="http://schemas.microsoft.com/office/drawing/2014/main" id="{7E738742-55AE-F5FD-A161-CD60751CD026}"/>
              </a:ext>
            </a:extLst>
          </p:cNvPr>
          <p:cNvSpPr>
            <a:spLocks noGrp="1"/>
          </p:cNvSpPr>
          <p:nvPr>
            <p:ph type="body" sz="quarter" idx="13" hasCustomPrompt="1"/>
          </p:nvPr>
        </p:nvSpPr>
        <p:spPr>
          <a:xfrm>
            <a:off x="723900" y="542926"/>
            <a:ext cx="10515600" cy="257174"/>
          </a:xfrm>
        </p:spPr>
        <p:txBody>
          <a:bodyPr anchor="b">
            <a:noAutofit/>
          </a:bodyPr>
          <a:lstStyle>
            <a:lvl1pPr marL="0" indent="0">
              <a:buNone/>
              <a:defRPr sz="1800">
                <a:gradFill>
                  <a:gsLst>
                    <a:gs pos="0">
                      <a:schemeClr val="accent1">
                        <a:lumMod val="96000"/>
                      </a:schemeClr>
                    </a:gs>
                    <a:gs pos="99000">
                      <a:schemeClr val="accent2">
                        <a:lumMod val="60000"/>
                        <a:lumOff val="40000"/>
                      </a:schemeClr>
                    </a:gs>
                  </a:gsLst>
                  <a:lin ang="4200000" scaled="0"/>
                </a:gradFill>
                <a:latin typeface="+mj-lt"/>
              </a:defRPr>
            </a:lvl1pPr>
            <a:lvl2pPr>
              <a:defRPr sz="1800">
                <a:gradFill>
                  <a:gsLst>
                    <a:gs pos="0">
                      <a:schemeClr val="accent1">
                        <a:lumMod val="96000"/>
                      </a:schemeClr>
                    </a:gs>
                    <a:gs pos="99000">
                      <a:schemeClr val="accent2">
                        <a:lumMod val="60000"/>
                        <a:lumOff val="40000"/>
                      </a:schemeClr>
                    </a:gs>
                  </a:gsLst>
                  <a:lin ang="4200000" scaled="0"/>
                </a:gradFill>
                <a:latin typeface="+mj-lt"/>
              </a:defRPr>
            </a:lvl2pPr>
            <a:lvl3pPr>
              <a:defRPr sz="1800">
                <a:gradFill>
                  <a:gsLst>
                    <a:gs pos="0">
                      <a:schemeClr val="accent1">
                        <a:lumMod val="96000"/>
                      </a:schemeClr>
                    </a:gs>
                    <a:gs pos="99000">
                      <a:schemeClr val="accent2">
                        <a:lumMod val="60000"/>
                        <a:lumOff val="40000"/>
                      </a:schemeClr>
                    </a:gs>
                  </a:gsLst>
                  <a:lin ang="4200000" scaled="0"/>
                </a:gradFill>
                <a:latin typeface="+mj-lt"/>
              </a:defRPr>
            </a:lvl3pPr>
            <a:lvl4pPr>
              <a:defRPr sz="1800">
                <a:gradFill>
                  <a:gsLst>
                    <a:gs pos="0">
                      <a:schemeClr val="accent1">
                        <a:lumMod val="96000"/>
                      </a:schemeClr>
                    </a:gs>
                    <a:gs pos="99000">
                      <a:schemeClr val="accent2">
                        <a:lumMod val="60000"/>
                        <a:lumOff val="40000"/>
                      </a:schemeClr>
                    </a:gs>
                  </a:gsLst>
                  <a:lin ang="4200000" scaled="0"/>
                </a:gradFill>
                <a:latin typeface="+mj-lt"/>
              </a:defRPr>
            </a:lvl4pPr>
            <a:lvl5pPr>
              <a:defRPr sz="1800">
                <a:gradFill>
                  <a:gsLst>
                    <a:gs pos="0">
                      <a:schemeClr val="accent1">
                        <a:lumMod val="96000"/>
                      </a:schemeClr>
                    </a:gs>
                    <a:gs pos="99000">
                      <a:schemeClr val="accent2">
                        <a:lumMod val="60000"/>
                        <a:lumOff val="40000"/>
                      </a:schemeClr>
                    </a:gs>
                  </a:gsLst>
                  <a:lin ang="4200000" scaled="0"/>
                </a:gradFill>
                <a:latin typeface="+mj-lt"/>
              </a:defRPr>
            </a:lvl5pPr>
          </a:lstStyle>
          <a:p>
            <a:pPr lvl="0"/>
            <a:r>
              <a:rPr lang="en-US"/>
              <a:t>Sub header</a:t>
            </a:r>
          </a:p>
        </p:txBody>
      </p:sp>
      <p:sp>
        <p:nvSpPr>
          <p:cNvPr id="3" name="Text Placeholder 8">
            <a:extLst>
              <a:ext uri="{FF2B5EF4-FFF2-40B4-BE49-F238E27FC236}">
                <a16:creationId xmlns:a16="http://schemas.microsoft.com/office/drawing/2014/main" id="{E194B6BC-F57D-39EE-F228-5EEAC20F4513}"/>
              </a:ext>
            </a:extLst>
          </p:cNvPr>
          <p:cNvSpPr>
            <a:spLocks noGrp="1"/>
          </p:cNvSpPr>
          <p:nvPr>
            <p:ph type="body" sz="quarter" idx="15"/>
          </p:nvPr>
        </p:nvSpPr>
        <p:spPr>
          <a:xfrm>
            <a:off x="723900" y="742950"/>
            <a:ext cx="10515598" cy="1060704"/>
          </a:xfrm>
        </p:spPr>
        <p:txBody>
          <a:bodyPr anchor="b">
            <a:noAutofit/>
          </a:bodyPr>
          <a:lstStyle>
            <a:lvl1pPr marL="0" indent="0">
              <a:buNone/>
              <a:defRPr sz="32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Click to edit Master text</a:t>
            </a:r>
          </a:p>
        </p:txBody>
      </p:sp>
      <p:sp>
        <p:nvSpPr>
          <p:cNvPr id="14" name="Date Placeholder 13">
            <a:extLst>
              <a:ext uri="{FF2B5EF4-FFF2-40B4-BE49-F238E27FC236}">
                <a16:creationId xmlns:a16="http://schemas.microsoft.com/office/drawing/2014/main" id="{3174A77F-C0D1-8B49-6E03-45198C1F91AA}"/>
              </a:ext>
            </a:extLst>
          </p:cNvPr>
          <p:cNvSpPr>
            <a:spLocks noGrp="1"/>
          </p:cNvSpPr>
          <p:nvPr>
            <p:ph type="dt" sz="half" idx="16"/>
          </p:nvPr>
        </p:nvSpPr>
        <p:spPr/>
        <p:txBody>
          <a:bodyPr/>
          <a:lstStyle/>
          <a:p>
            <a:r>
              <a:rPr lang="en-US"/>
              <a:t>Microsoft confidential</a:t>
            </a:r>
          </a:p>
        </p:txBody>
      </p:sp>
      <p:sp>
        <p:nvSpPr>
          <p:cNvPr id="15" name="Footer Placeholder 14">
            <a:extLst>
              <a:ext uri="{FF2B5EF4-FFF2-40B4-BE49-F238E27FC236}">
                <a16:creationId xmlns:a16="http://schemas.microsoft.com/office/drawing/2014/main" id="{C2AD537F-3EA1-D89E-3AB6-381327B64022}"/>
              </a:ext>
            </a:extLst>
          </p:cNvPr>
          <p:cNvSpPr>
            <a:spLocks noGrp="1"/>
          </p:cNvSpPr>
          <p:nvPr>
            <p:ph type="ftr" sz="quarter" idx="17"/>
          </p:nvPr>
        </p:nvSpPr>
        <p:spPr/>
        <p:txBody>
          <a:bodyPr/>
          <a:lstStyle/>
          <a:p>
            <a:r>
              <a:rPr lang="en-US"/>
              <a:t>Creating a scalable conversational UX</a:t>
            </a:r>
          </a:p>
        </p:txBody>
      </p:sp>
      <p:sp>
        <p:nvSpPr>
          <p:cNvPr id="16" name="Slide Number Placeholder 15">
            <a:extLst>
              <a:ext uri="{FF2B5EF4-FFF2-40B4-BE49-F238E27FC236}">
                <a16:creationId xmlns:a16="http://schemas.microsoft.com/office/drawing/2014/main" id="{2F8B7D47-DBDE-7938-7BF3-99BBA52FC527}"/>
              </a:ext>
            </a:extLst>
          </p:cNvPr>
          <p:cNvSpPr>
            <a:spLocks noGrp="1"/>
          </p:cNvSpPr>
          <p:nvPr>
            <p:ph type="sldNum" sz="quarter" idx="18"/>
          </p:nvPr>
        </p:nvSpPr>
        <p:spPr/>
        <p:txBody>
          <a:bodyPr/>
          <a:lstStyle/>
          <a:p>
            <a:fld id="{9406BE13-FF2C-3A41-A53B-D6BC2DDA0AE5}" type="slidenum">
              <a:rPr lang="en-US" smtClean="0"/>
              <a:pPr/>
              <a:t>‹#›</a:t>
            </a:fld>
            <a:endParaRPr lang="en-US">
              <a:solidFill>
                <a:schemeClr val="bg1">
                  <a:lumMod val="85000"/>
                </a:schemeClr>
              </a:solidFill>
            </a:endParaRPr>
          </a:p>
        </p:txBody>
      </p:sp>
    </p:spTree>
    <p:extLst>
      <p:ext uri="{BB962C8B-B14F-4D97-AF65-F5344CB8AC3E}">
        <p14:creationId xmlns:p14="http://schemas.microsoft.com/office/powerpoint/2010/main" val="213111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080">
          <p15:clr>
            <a:srgbClr val="5ACBF0"/>
          </p15:clr>
        </p15:guide>
        <p15:guide id="2" orient="horz" pos="1080">
          <p15:clr>
            <a:srgbClr val="9FCC3B"/>
          </p15:clr>
        </p15:guide>
        <p15:guide id="3" orient="horz" pos="468">
          <p15:clr>
            <a:srgbClr val="9FCC3B"/>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906ECE1D-8677-BBB5-4B8C-8B79C77928E7}"/>
              </a:ext>
            </a:extLst>
          </p:cNvPr>
          <p:cNvSpPr/>
          <p:nvPr userDrawn="1"/>
        </p:nvSpPr>
        <p:spPr>
          <a:xfrm>
            <a:off x="531361" y="4955412"/>
            <a:ext cx="1462540" cy="1390022"/>
          </a:xfrm>
          <a:custGeom>
            <a:avLst/>
            <a:gdLst>
              <a:gd name="connsiteX0" fmla="*/ 1182547 w 1182546"/>
              <a:gd name="connsiteY0" fmla="*/ 595820 h 1191639"/>
              <a:gd name="connsiteX1" fmla="*/ 591273 w 1182546"/>
              <a:gd name="connsiteY1" fmla="*/ 1191640 h 1191639"/>
              <a:gd name="connsiteX2" fmla="*/ 0 w 1182546"/>
              <a:gd name="connsiteY2" fmla="*/ 595820 h 1191639"/>
              <a:gd name="connsiteX3" fmla="*/ 591273 w 1182546"/>
              <a:gd name="connsiteY3" fmla="*/ 0 h 1191639"/>
              <a:gd name="connsiteX4" fmla="*/ 1182547 w 1182546"/>
              <a:gd name="connsiteY4" fmla="*/ 595820 h 119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546" h="1191639">
                <a:moveTo>
                  <a:pt x="1182547" y="595820"/>
                </a:moveTo>
                <a:cubicBezTo>
                  <a:pt x="1182547" y="924882"/>
                  <a:pt x="917825" y="1191640"/>
                  <a:pt x="591273" y="1191640"/>
                </a:cubicBezTo>
                <a:cubicBezTo>
                  <a:pt x="264721" y="1191640"/>
                  <a:pt x="0" y="924882"/>
                  <a:pt x="0" y="595820"/>
                </a:cubicBezTo>
                <a:cubicBezTo>
                  <a:pt x="0" y="266758"/>
                  <a:pt x="264721" y="0"/>
                  <a:pt x="591273" y="0"/>
                </a:cubicBezTo>
                <a:cubicBezTo>
                  <a:pt x="917825" y="0"/>
                  <a:pt x="1182547" y="266758"/>
                  <a:pt x="1182547" y="595820"/>
                </a:cubicBezTo>
                <a:close/>
              </a:path>
            </a:pathLst>
          </a:custGeom>
          <a:pattFill prst="wdDnDiag">
            <a:fgClr>
              <a:schemeClr val="accent2">
                <a:lumMod val="20000"/>
                <a:lumOff val="80000"/>
              </a:schemeClr>
            </a:fgClr>
            <a:bgClr>
              <a:schemeClr val="bg1"/>
            </a:bgClr>
          </a:pattFill>
          <a:ln w="144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B1BB3C6A-CD88-BA7F-FDD5-766DB2850DCF}"/>
              </a:ext>
            </a:extLst>
          </p:cNvPr>
          <p:cNvSpPr/>
          <p:nvPr userDrawn="1"/>
        </p:nvSpPr>
        <p:spPr>
          <a:xfrm flipV="1">
            <a:off x="1" y="2085662"/>
            <a:ext cx="12191998" cy="3282750"/>
          </a:xfrm>
          <a:custGeom>
            <a:avLst/>
            <a:gdLst>
              <a:gd name="connsiteX0" fmla="*/ 225390 w 12191998"/>
              <a:gd name="connsiteY0" fmla="*/ 3282750 h 3282750"/>
              <a:gd name="connsiteX1" fmla="*/ 9880096 w 12191998"/>
              <a:gd name="connsiteY1" fmla="*/ 3282750 h 3282750"/>
              <a:gd name="connsiteX2" fmla="*/ 10320199 w 12191998"/>
              <a:gd name="connsiteY2" fmla="*/ 3100060 h 3282750"/>
              <a:gd name="connsiteX3" fmla="*/ 12191998 w 12191998"/>
              <a:gd name="connsiteY3" fmla="*/ 1221634 h 3282750"/>
              <a:gd name="connsiteX4" fmla="*/ 12191998 w 12191998"/>
              <a:gd name="connsiteY4" fmla="*/ 1523 h 3282750"/>
              <a:gd name="connsiteX5" fmla="*/ 11409355 w 12191998"/>
              <a:gd name="connsiteY5" fmla="*/ 1523 h 3282750"/>
              <a:gd name="connsiteX6" fmla="*/ 11410872 w 12191998"/>
              <a:gd name="connsiteY6" fmla="*/ 0 h 3282750"/>
              <a:gd name="connsiteX7" fmla="*/ 9138442 w 12191998"/>
              <a:gd name="connsiteY7" fmla="*/ 0 h 3282750"/>
              <a:gd name="connsiteX8" fmla="*/ 6866012 w 12191998"/>
              <a:gd name="connsiteY8" fmla="*/ 0 h 3282750"/>
              <a:gd name="connsiteX9" fmla="*/ 5045748 w 12191998"/>
              <a:gd name="connsiteY9" fmla="*/ 0 h 3282750"/>
              <a:gd name="connsiteX10" fmla="*/ 4593580 w 12191998"/>
              <a:gd name="connsiteY10" fmla="*/ 0 h 3282750"/>
              <a:gd name="connsiteX11" fmla="*/ 2773318 w 12191998"/>
              <a:gd name="connsiteY11" fmla="*/ 0 h 3282750"/>
              <a:gd name="connsiteX12" fmla="*/ 500887 w 12191998"/>
              <a:gd name="connsiteY12" fmla="*/ 0 h 3282750"/>
              <a:gd name="connsiteX13" fmla="*/ 0 w 12191998"/>
              <a:gd name="connsiteY13" fmla="*/ 0 h 3282750"/>
              <a:gd name="connsiteX14" fmla="*/ 0 w 12191998"/>
              <a:gd name="connsiteY14" fmla="*/ 3282749 h 3282750"/>
              <a:gd name="connsiteX15" fmla="*/ 225390 w 12191998"/>
              <a:gd name="connsiteY15" fmla="*/ 3282749 h 32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1998" h="3282750">
                <a:moveTo>
                  <a:pt x="225390" y="3282750"/>
                </a:moveTo>
                <a:lnTo>
                  <a:pt x="9880096" y="3282750"/>
                </a:lnTo>
                <a:cubicBezTo>
                  <a:pt x="10045266" y="3282750"/>
                  <a:pt x="10203546" y="3217012"/>
                  <a:pt x="10320199" y="3100060"/>
                </a:cubicBezTo>
                <a:lnTo>
                  <a:pt x="12191998" y="1221634"/>
                </a:lnTo>
                <a:lnTo>
                  <a:pt x="12191998" y="1523"/>
                </a:lnTo>
                <a:lnTo>
                  <a:pt x="11409355" y="1523"/>
                </a:lnTo>
                <a:lnTo>
                  <a:pt x="11410872" y="0"/>
                </a:lnTo>
                <a:lnTo>
                  <a:pt x="9138442" y="0"/>
                </a:lnTo>
                <a:lnTo>
                  <a:pt x="6866012" y="0"/>
                </a:lnTo>
                <a:lnTo>
                  <a:pt x="5045748" y="0"/>
                </a:lnTo>
                <a:lnTo>
                  <a:pt x="4593580" y="0"/>
                </a:lnTo>
                <a:lnTo>
                  <a:pt x="2773318" y="0"/>
                </a:lnTo>
                <a:lnTo>
                  <a:pt x="500887" y="0"/>
                </a:lnTo>
                <a:lnTo>
                  <a:pt x="0" y="0"/>
                </a:lnTo>
                <a:lnTo>
                  <a:pt x="0" y="3282749"/>
                </a:lnTo>
                <a:lnTo>
                  <a:pt x="225390" y="3282749"/>
                </a:lnTo>
                <a:close/>
              </a:path>
            </a:pathLst>
          </a:custGeom>
          <a:solidFill>
            <a:schemeClr val="bg1">
              <a:lumMod val="95000"/>
            </a:schemeClr>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DF69AE36-ABC0-A0B5-13F2-73AFBA4E6484}"/>
              </a:ext>
            </a:extLst>
          </p:cNvPr>
          <p:cNvSpPr/>
          <p:nvPr userDrawn="1"/>
        </p:nvSpPr>
        <p:spPr>
          <a:xfrm flipV="1">
            <a:off x="7329714" y="0"/>
            <a:ext cx="4862286" cy="3709134"/>
          </a:xfrm>
          <a:custGeom>
            <a:avLst/>
            <a:gdLst>
              <a:gd name="connsiteX0" fmla="*/ 5285805 w 5285804"/>
              <a:gd name="connsiteY0" fmla="*/ 0 h 4032209"/>
              <a:gd name="connsiteX1" fmla="*/ 5285805 w 5285804"/>
              <a:gd name="connsiteY1" fmla="*/ 4032209 h 4032209"/>
              <a:gd name="connsiteX2" fmla="*/ 0 w 5285804"/>
              <a:gd name="connsiteY2" fmla="*/ 4032209 h 4032209"/>
              <a:gd name="connsiteX3" fmla="*/ 0 w 5285804"/>
              <a:gd name="connsiteY3" fmla="*/ 3667624 h 4032209"/>
              <a:gd name="connsiteX4" fmla="*/ 1241008 w 5285804"/>
              <a:gd name="connsiteY4" fmla="*/ 2150979 h 4032209"/>
              <a:gd name="connsiteX5" fmla="*/ 1533020 w 5285804"/>
              <a:gd name="connsiteY5" fmla="*/ 2122817 h 4032209"/>
              <a:gd name="connsiteX6" fmla="*/ 2777955 w 5285804"/>
              <a:gd name="connsiteY6" fmla="*/ 2122817 h 4032209"/>
              <a:gd name="connsiteX7" fmla="*/ 3592354 w 5285804"/>
              <a:gd name="connsiteY7" fmla="*/ 1773606 h 4032209"/>
              <a:gd name="connsiteX8" fmla="*/ 4093289 w 5285804"/>
              <a:gd name="connsiteY8" fmla="*/ 1249029 h 4032209"/>
              <a:gd name="connsiteX9" fmla="*/ 4216408 w 5285804"/>
              <a:gd name="connsiteY9" fmla="*/ 1120092 h 4032209"/>
              <a:gd name="connsiteX10" fmla="*/ 5285503 w 5285804"/>
              <a:gd name="connsiteY10" fmla="*/ 305 h 4032209"/>
              <a:gd name="connsiteX11" fmla="*/ 5285805 w 5285804"/>
              <a:gd name="connsiteY11" fmla="*/ 0 h 403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5804" h="4032209">
                <a:moveTo>
                  <a:pt x="5285805" y="0"/>
                </a:moveTo>
                <a:lnTo>
                  <a:pt x="5285805" y="4032209"/>
                </a:lnTo>
                <a:lnTo>
                  <a:pt x="0" y="4032209"/>
                </a:lnTo>
                <a:lnTo>
                  <a:pt x="0" y="3667624"/>
                </a:lnTo>
                <a:cubicBezTo>
                  <a:pt x="0" y="2915010"/>
                  <a:pt x="534019" y="2288288"/>
                  <a:pt x="1241008" y="2150979"/>
                </a:cubicBezTo>
                <a:cubicBezTo>
                  <a:pt x="1335576" y="2132407"/>
                  <a:pt x="1433165" y="2122817"/>
                  <a:pt x="1533020" y="2122817"/>
                </a:cubicBezTo>
                <a:lnTo>
                  <a:pt x="2777955" y="2122817"/>
                </a:lnTo>
                <a:cubicBezTo>
                  <a:pt x="3085224" y="2122817"/>
                  <a:pt x="3379199" y="1996772"/>
                  <a:pt x="3592354" y="1773606"/>
                </a:cubicBezTo>
                <a:lnTo>
                  <a:pt x="4093289" y="1249029"/>
                </a:lnTo>
                <a:lnTo>
                  <a:pt x="4216408" y="1120092"/>
                </a:lnTo>
                <a:lnTo>
                  <a:pt x="5285503" y="305"/>
                </a:lnTo>
                <a:lnTo>
                  <a:pt x="5285805" y="0"/>
                </a:lnTo>
                <a:close/>
              </a:path>
            </a:pathLst>
          </a:custGeom>
          <a:solidFill>
            <a:schemeClr val="bg2">
              <a:lumMod val="20000"/>
              <a:lumOff val="80000"/>
              <a:alpha val="30000"/>
            </a:schemeClr>
          </a:solidFill>
          <a:ln w="144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CD0F9DFA-B0C9-1937-80E5-EA456BAF951E}"/>
              </a:ext>
            </a:extLst>
          </p:cNvPr>
          <p:cNvGrpSpPr/>
          <p:nvPr userDrawn="1"/>
        </p:nvGrpSpPr>
        <p:grpSpPr>
          <a:xfrm>
            <a:off x="10348517" y="5559865"/>
            <a:ext cx="1843479" cy="1298140"/>
            <a:chOff x="10348517" y="5559865"/>
            <a:chExt cx="1843479" cy="1298140"/>
          </a:xfrm>
        </p:grpSpPr>
        <p:grpSp>
          <p:nvGrpSpPr>
            <p:cNvPr id="10" name="Graphic 8">
              <a:extLst>
                <a:ext uri="{FF2B5EF4-FFF2-40B4-BE49-F238E27FC236}">
                  <a16:creationId xmlns:a16="http://schemas.microsoft.com/office/drawing/2014/main" id="{18E258A2-A83D-6978-F256-633D89BA78CE}"/>
                </a:ext>
              </a:extLst>
            </p:cNvPr>
            <p:cNvGrpSpPr/>
            <p:nvPr/>
          </p:nvGrpSpPr>
          <p:grpSpPr>
            <a:xfrm flipH="1">
              <a:off x="10348517" y="5687417"/>
              <a:ext cx="1563963" cy="1170588"/>
              <a:chOff x="5302292" y="8602600"/>
              <a:chExt cx="1381243" cy="1033826"/>
            </a:xfrm>
          </p:grpSpPr>
          <p:sp>
            <p:nvSpPr>
              <p:cNvPr id="16" name="Freeform: Shape 15">
                <a:extLst>
                  <a:ext uri="{FF2B5EF4-FFF2-40B4-BE49-F238E27FC236}">
                    <a16:creationId xmlns:a16="http://schemas.microsoft.com/office/drawing/2014/main" id="{8A533A25-F914-A9A5-D84A-ABC9EEC08341}"/>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w="127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2ECA051C-090C-899C-CBE2-FAE5D15C197C}"/>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C8EE1125-D59B-5748-163B-4E0B86A09A5C}"/>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77F66EB3-F27A-3DA9-9DAD-88A6C0178165}"/>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 name="Graphic 8">
              <a:extLst>
                <a:ext uri="{FF2B5EF4-FFF2-40B4-BE49-F238E27FC236}">
                  <a16:creationId xmlns:a16="http://schemas.microsoft.com/office/drawing/2014/main" id="{D2F46483-8FB7-2F57-3F95-FF57C18153ED}"/>
                </a:ext>
              </a:extLst>
            </p:cNvPr>
            <p:cNvGrpSpPr/>
            <p:nvPr/>
          </p:nvGrpSpPr>
          <p:grpSpPr>
            <a:xfrm flipH="1">
              <a:off x="11280562" y="5559865"/>
              <a:ext cx="911434" cy="1298132"/>
              <a:chOff x="5055426" y="8489952"/>
              <a:chExt cx="804949" cy="1146469"/>
            </a:xfrm>
          </p:grpSpPr>
          <p:sp>
            <p:nvSpPr>
              <p:cNvPr id="12" name="Freeform: Shape 11">
                <a:extLst>
                  <a:ext uri="{FF2B5EF4-FFF2-40B4-BE49-F238E27FC236}">
                    <a16:creationId xmlns:a16="http://schemas.microsoft.com/office/drawing/2014/main" id="{2B7E7AA8-1F3D-2007-E572-37DAA0AE6FCC}"/>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w="127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780F600B-49DE-1101-D909-296849FE7D45}"/>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w="127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29E6E00F-F05F-6D76-DA36-61817B43FCB1}"/>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9BBB7E2B-5BA6-CD57-275B-046906683F48}"/>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w="127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pic>
        <p:nvPicPr>
          <p:cNvPr id="20" name="Graphic 19">
            <a:extLst>
              <a:ext uri="{FF2B5EF4-FFF2-40B4-BE49-F238E27FC236}">
                <a16:creationId xmlns:a16="http://schemas.microsoft.com/office/drawing/2014/main" id="{91F8438C-7CCE-EA71-2D22-E0363782C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19161" y="2357437"/>
            <a:ext cx="5866264" cy="423863"/>
          </a:xfrm>
          <a:prstGeom prst="rect">
            <a:avLst/>
          </a:prstGeom>
        </p:spPr>
      </p:pic>
      <p:sp>
        <p:nvSpPr>
          <p:cNvPr id="9" name="Title 1"/>
          <p:cNvSpPr>
            <a:spLocks noGrp="1"/>
          </p:cNvSpPr>
          <p:nvPr>
            <p:ph type="title" hasCustomPrompt="1"/>
          </p:nvPr>
        </p:nvSpPr>
        <p:spPr>
          <a:xfrm>
            <a:off x="604894" y="2896041"/>
            <a:ext cx="8374006" cy="1661993"/>
          </a:xfrm>
          <a:noFill/>
        </p:spPr>
        <p:txBody>
          <a:bodyPr wrap="square" lIns="0" tIns="0" rIns="0" bIns="0" anchor="ctr" anchorCtr="0">
            <a:spAutoFit/>
          </a:bodyPr>
          <a:lstStyle>
            <a:lvl1pPr marL="0" algn="l" defTabSz="932742" rtl="0" eaLnBrk="1" latinLnBrk="0" hangingPunct="1">
              <a:lnSpc>
                <a:spcPct val="100000"/>
              </a:lnSpc>
              <a:spcBef>
                <a:spcPct val="0"/>
              </a:spcBef>
              <a:buNone/>
              <a:defRPr lang="en-US" sz="5400" b="0" kern="1200" cap="none" spc="-50" baseline="0" dirty="0">
                <a:ln w="3175">
                  <a:noFill/>
                </a:ln>
                <a:solidFill>
                  <a:srgbClr val="0B556A"/>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Tree>
    <p:extLst>
      <p:ext uri="{BB962C8B-B14F-4D97-AF65-F5344CB8AC3E}">
        <p14:creationId xmlns:p14="http://schemas.microsoft.com/office/powerpoint/2010/main" val="3780800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1500" y="581978"/>
            <a:ext cx="1454782" cy="343851"/>
          </a:xfrm>
          <a:prstGeom prst="rect">
            <a:avLst/>
          </a:prstGeom>
        </p:spPr>
      </p:pic>
    </p:spTree>
    <p:extLst>
      <p:ext uri="{BB962C8B-B14F-4D97-AF65-F5344CB8AC3E}">
        <p14:creationId xmlns:p14="http://schemas.microsoft.com/office/powerpoint/2010/main" val="3213468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1500" y="581978"/>
            <a:ext cx="1454782" cy="343851"/>
          </a:xfrm>
          <a:prstGeom prst="rect">
            <a:avLst/>
          </a:prstGeom>
        </p:spPr>
      </p:pic>
    </p:spTree>
    <p:extLst>
      <p:ext uri="{BB962C8B-B14F-4D97-AF65-F5344CB8AC3E}">
        <p14:creationId xmlns:p14="http://schemas.microsoft.com/office/powerpoint/2010/main" val="2019687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1500" y="581978"/>
            <a:ext cx="1454782" cy="343851"/>
          </a:xfrm>
          <a:prstGeom prst="rect">
            <a:avLst/>
          </a:prstGeom>
        </p:spPr>
      </p:pic>
    </p:spTree>
    <p:extLst>
      <p:ext uri="{BB962C8B-B14F-4D97-AF65-F5344CB8AC3E}">
        <p14:creationId xmlns:p14="http://schemas.microsoft.com/office/powerpoint/2010/main" val="12791184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5917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739199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824383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930501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968104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178287" y="605657"/>
            <a:ext cx="6442213" cy="1465016"/>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605657"/>
            <a:ext cx="2482166"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69842472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0129906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39986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7949065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9884528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1606780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37407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1128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35529547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4867057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52091738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ckground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009879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screen">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263969553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3"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92860918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Square Photo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p:nvPicPr>
        <p:blipFill>
          <a:blip r:embed="rId3" cstate="email">
            <a:extLst>
              <a:ext uri="{BEBA8EAE-BF5A-486C-A8C5-ECC9F3942E4B}">
                <a14:imgProps xmlns:a14="http://schemas.microsoft.com/office/drawing/2010/main">
                  <a14:imgLayer r:embed="rId4">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p:nvPicPr>
        <p:blipFill rotWithShape="1">
          <a:blip r:embed="rId5" cstate="screen">
            <a:alphaModFix amt="50000"/>
            <a:extLst>
              <a:ext uri="{28A0092B-C50C-407E-A947-70E740481C1C}">
                <a14:useLocalDpi xmlns:a14="http://schemas.microsoft.com/office/drawing/2010/main"/>
              </a:ext>
            </a:extLst>
          </a:blip>
          <a:srcRect/>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6"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6144463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491907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2821959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quare Photo ">
    <p:bg>
      <p:bgPr>
        <a:solidFill>
          <a:srgbClr val="E8E6DF"/>
        </a:solidFill>
        <a:effectLst/>
      </p:bgPr>
    </p:bg>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583837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993233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567416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37312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47335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ckground 2">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81C1390B-DA6C-0C43-6516-B4F79B35830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1"/>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2D2FB8B6-DDDF-697C-B70D-3ADE6D7DB1E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00088318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213575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138128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6492721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107843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925360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6028579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076764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988334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5703410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88732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ckground 3">
    <p:spTree>
      <p:nvGrpSpPr>
        <p:cNvPr id="1" name=""/>
        <p:cNvGrpSpPr/>
        <p:nvPr/>
      </p:nvGrpSpPr>
      <p:grpSpPr>
        <a:xfrm>
          <a:off x="0" y="0"/>
          <a:ext cx="0" cy="0"/>
          <a:chOff x="0" y="0"/>
          <a:chExt cx="0" cy="0"/>
        </a:xfrm>
      </p:grpSpPr>
      <p:pic>
        <p:nvPicPr>
          <p:cNvPr id="3" name="Picture 2" descr="A blue and red background&#10;&#10;AI-generated content may be incorrect.">
            <a:extLst>
              <a:ext uri="{FF2B5EF4-FFF2-40B4-BE49-F238E27FC236}">
                <a16:creationId xmlns:a16="http://schemas.microsoft.com/office/drawing/2014/main" id="{BBFC8868-BCF8-2EF4-AE9B-8641F358F3F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17832389-BBB4-D415-2E01-214D01BA99EF}"/>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37723193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826248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4340563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125403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5751153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63878479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425349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77176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p:nvPicPr>
        <p:blipFill>
          <a:blip r:embed="rId3" cstate="screen">
            <a:alphaModFix/>
            <a:extLst>
              <a:ext uri="{28A0092B-C50C-407E-A947-70E740481C1C}">
                <a14:useLocalDpi xmlns:a14="http://schemas.microsoft.com/office/drawing/2010/main"/>
              </a:ext>
            </a:extLst>
          </a:blip>
          <a:srcRect/>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35652421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Demo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3679937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4646254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ckground 4">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E3AEC7EF-E1D3-2298-1DBE-67672CD44B5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1"/>
            <a:ext cx="12201333"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90CC1B2A-918B-0FDA-2DDE-31F074644669}"/>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00196029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56947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2309615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102878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754325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1888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4273885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696250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58891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3061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16616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ckground 5">
    <p:spTree>
      <p:nvGrpSpPr>
        <p:cNvPr id="1" name=""/>
        <p:cNvGrpSpPr/>
        <p:nvPr/>
      </p:nvGrpSpPr>
      <p:grpSpPr>
        <a:xfrm>
          <a:off x="0" y="0"/>
          <a:ext cx="0" cy="0"/>
          <a:chOff x="0" y="0"/>
          <a:chExt cx="0" cy="0"/>
        </a:xfrm>
      </p:grpSpPr>
      <p:pic>
        <p:nvPicPr>
          <p:cNvPr id="2" name="Picture 1" descr="A blue and black background&#10;&#10;AI-generated content may be incorrect.">
            <a:extLst>
              <a:ext uri="{FF2B5EF4-FFF2-40B4-BE49-F238E27FC236}">
                <a16:creationId xmlns:a16="http://schemas.microsoft.com/office/drawing/2014/main" id="{01333BD5-0115-B424-BB58-BBB0B87C1CE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1" y="0"/>
            <a:ext cx="12201331"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itle 1">
            <a:extLst>
              <a:ext uri="{FF2B5EF4-FFF2-40B4-BE49-F238E27FC236}">
                <a16:creationId xmlns:a16="http://schemas.microsoft.com/office/drawing/2014/main" id="{847134EB-8BAD-722F-C9AD-CF4EF682FF56}"/>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409420795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44586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8897048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15000"/>
                    </a14:imgEffect>
                  </a14:imgLayer>
                </a14:imgProps>
              </a:ext>
              <a:ext uri="{28A0092B-C50C-407E-A947-70E740481C1C}">
                <a14:useLocalDpi xmlns:a14="http://schemas.microsoft.com/office/drawing/2010/main"/>
              </a:ext>
            </a:extLst>
          </a:blip>
          <a:srcRect/>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661589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p:nvPicPr>
        <p:blipFill>
          <a:blip r:embed="rId3">
            <a:lum bright="10000"/>
            <a:extLst>
              <a:ext uri="{96DAC541-7B7A-43D3-8B79-37D633B846F1}">
                <asvg:svgBlip xmlns:asvg="http://schemas.microsoft.com/office/drawing/2016/SVG/main" r:embed="rId4"/>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311872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1181915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7184709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11951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2033870388"/>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2335510144"/>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131175591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ackground 6">
    <p:spTree>
      <p:nvGrpSpPr>
        <p:cNvPr id="1" name=""/>
        <p:cNvGrpSpPr/>
        <p:nvPr/>
      </p:nvGrpSpPr>
      <p:grpSpPr>
        <a:xfrm>
          <a:off x="0" y="0"/>
          <a:ext cx="0" cy="0"/>
          <a:chOff x="0" y="0"/>
          <a:chExt cx="0" cy="0"/>
        </a:xfrm>
      </p:grpSpPr>
      <p:pic>
        <p:nvPicPr>
          <p:cNvPr id="3" name="Picture 2" descr="A blue background with a light&#10;&#10;AI-generated content may be incorrect.">
            <a:extLst>
              <a:ext uri="{FF2B5EF4-FFF2-40B4-BE49-F238E27FC236}">
                <a16:creationId xmlns:a16="http://schemas.microsoft.com/office/drawing/2014/main" id="{58CC931A-0D2A-512C-EAB0-14D8857A356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32F7015F-B3C8-994E-AF5D-DEDEF171EB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34605491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71500" y="581978"/>
            <a:ext cx="1454782" cy="343851"/>
          </a:xfrm>
          <a:prstGeom prst="rect">
            <a:avLst/>
          </a:prstGeom>
        </p:spPr>
      </p:pic>
    </p:spTree>
    <p:extLst>
      <p:ext uri="{BB962C8B-B14F-4D97-AF65-F5344CB8AC3E}">
        <p14:creationId xmlns:p14="http://schemas.microsoft.com/office/powerpoint/2010/main" val="11736158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15171897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BB55-2220-EC12-8C37-67B30DD02E9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18A687-B336-47B9-0629-A8EB68B3F4E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392B629-6FD4-B384-F8E3-56093906746D}"/>
              </a:ext>
            </a:extLst>
          </p:cNvPr>
          <p:cNvSpPr>
            <a:spLocks noGrp="1"/>
          </p:cNvSpPr>
          <p:nvPr>
            <p:ph type="dt" sz="half" idx="10"/>
          </p:nvPr>
        </p:nvSpPr>
        <p:spPr/>
        <p:txBody>
          <a:bodyPr/>
          <a:lstStyle/>
          <a:p>
            <a:fld id="{C191E5CE-D9D5-44BC-94B2-AF6626B4E889}" type="datetimeFigureOut">
              <a:rPr lang="en-US" smtClean="0"/>
              <a:t>2/10/2026</a:t>
            </a:fld>
            <a:endParaRPr lang="en-US"/>
          </a:p>
        </p:txBody>
      </p:sp>
      <p:sp>
        <p:nvSpPr>
          <p:cNvPr id="5" name="Footer Placeholder 4">
            <a:extLst>
              <a:ext uri="{FF2B5EF4-FFF2-40B4-BE49-F238E27FC236}">
                <a16:creationId xmlns:a16="http://schemas.microsoft.com/office/drawing/2014/main" id="{D2BAF3B2-F150-C114-989C-97D5C9C9BC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B22DA3-1F5C-51D1-C142-5C048352FEA5}"/>
              </a:ext>
            </a:extLst>
          </p:cNvPr>
          <p:cNvSpPr>
            <a:spLocks noGrp="1"/>
          </p:cNvSpPr>
          <p:nvPr>
            <p:ph type="sldNum" sz="quarter" idx="12"/>
          </p:nvPr>
        </p:nvSpPr>
        <p:spPr/>
        <p:txBody>
          <a:bodyPr/>
          <a:lstStyle/>
          <a:p>
            <a:fld id="{50A19F77-8ED2-48AD-B9D6-CE87FB456FCC}" type="slidenum">
              <a:rPr lang="en-US" smtClean="0"/>
              <a:t>‹#›</a:t>
            </a:fld>
            <a:endParaRPr lang="en-US"/>
          </a:p>
        </p:txBody>
      </p:sp>
    </p:spTree>
    <p:extLst>
      <p:ext uri="{BB962C8B-B14F-4D97-AF65-F5344CB8AC3E}">
        <p14:creationId xmlns:p14="http://schemas.microsoft.com/office/powerpoint/2010/main" val="352993138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3_Title Only">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823DB3A-52AD-5804-E6F5-4DE010B8448A}"/>
              </a:ext>
            </a:extLst>
          </p:cNvPr>
          <p:cNvPicPr>
            <a:picLocks noChangeAspect="1"/>
          </p:cNvPicPr>
          <p:nvPr userDrawn="1"/>
        </p:nvPicPr>
        <p:blipFill rotWithShape="1">
          <a:blip r:embed="rId3" cstate="screen">
            <a:alphaModFix amt="46000"/>
            <a:extLst>
              <a:ext uri="{28A0092B-C50C-407E-A947-70E740481C1C}">
                <a14:useLocalDpi xmlns:a14="http://schemas.microsoft.com/office/drawing/2010/main"/>
              </a:ext>
            </a:extLst>
          </a:blip>
          <a:srcRect l="10595" t="987" r="10595"/>
          <a:stretch/>
        </p:blipFill>
        <p:spPr>
          <a:xfrm>
            <a:off x="0" y="0"/>
            <a:ext cx="12192000"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2979734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4543817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134243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1129543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4532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311441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260208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17894" y="0"/>
            <a:ext cx="12209894" cy="6868066"/>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6" name="Graphic 25">
            <a:extLst>
              <a:ext uri="{FF2B5EF4-FFF2-40B4-BE49-F238E27FC236}">
                <a16:creationId xmlns:a16="http://schemas.microsoft.com/office/drawing/2014/main" id="{D68EE504-0061-C86F-7C4A-E4787ED6DEB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1040" y="713232"/>
            <a:ext cx="1337566" cy="705394"/>
          </a:xfrm>
          <a:prstGeom prst="rect">
            <a:avLst/>
          </a:pr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F8EC1A4-C990-1806-D162-5E0CA8201959}"/>
              </a:ext>
            </a:extLst>
          </p:cNvPr>
          <p:cNvSpPr>
            <a:spLocks noGrp="1"/>
          </p:cNvSpPr>
          <p:nvPr>
            <p:ph type="title"/>
          </p:nvPr>
        </p:nvSpPr>
        <p:spPr>
          <a:xfrm>
            <a:off x="591451" y="2511166"/>
            <a:ext cx="5504550"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65ED941-89EA-A7B1-0F7E-AB2C3A360992}"/>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5985455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ckground 7">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15B616D5-ACB3-F40B-E303-B79FE7D1C934}"/>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56370C7-A3D5-E477-12B1-A448861CBE35}"/>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406447557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75664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3262990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053554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907129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3645120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8442182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32203522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52046"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1500" y="292100"/>
            <a:ext cx="11052046"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659474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yout 1">
    <p:bg>
      <p:bgPr>
        <a:solidFill>
          <a:srgbClr val="FFF9F3"/>
        </a:soli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036C5E3-1C9B-8F43-9E7C-7124F0477707}"/>
              </a:ext>
              <a:ext uri="{C183D7F6-B498-43B3-948B-1728B52AA6E4}">
                <adec:decorative xmlns:adec="http://schemas.microsoft.com/office/drawing/2017/decorative" val="1"/>
              </a:ext>
            </a:extLst>
          </p:cNvPr>
          <p:cNvSpPr>
            <a:spLocks/>
          </p:cNvSpPr>
          <p:nvPr userDrawn="1"/>
        </p:nvSpPr>
        <p:spPr bwMode="auto">
          <a:xfrm>
            <a:off x="573126" y="1100097"/>
            <a:ext cx="11035281" cy="5451037"/>
          </a:xfrm>
          <a:prstGeom prst="roundRect">
            <a:avLst>
              <a:gd name="adj" fmla="val 3603"/>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000000"/>
              </a:solidFill>
              <a:latin typeface="Segoe UI"/>
              <a:cs typeface="Segoe UI" pitchFamily="34" charset="0"/>
            </a:endParaRPr>
          </a:p>
        </p:txBody>
      </p:sp>
      <p:pic>
        <p:nvPicPr>
          <p:cNvPr id="5" name="Picture 4">
            <a:extLst>
              <a:ext uri="{FF2B5EF4-FFF2-40B4-BE49-F238E27FC236}">
                <a16:creationId xmlns:a16="http://schemas.microsoft.com/office/drawing/2014/main" id="{3DF811F8-4A6F-396F-1DD4-FA9EBCA07340}"/>
              </a:ext>
              <a:ext uri="{C183D7F6-B498-43B3-948B-1728B52AA6E4}">
                <adec:decorative xmlns:adec="http://schemas.microsoft.com/office/drawing/2017/decorative" val="1"/>
              </a:ext>
            </a:extLst>
          </p:cNvPr>
          <p:cNvPicPr>
            <a:picLocks/>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p:spPr>
      </p:pic>
      <p:sp>
        <p:nvSpPr>
          <p:cNvPr id="6" name="Freeform: Shape 5">
            <a:extLst>
              <a:ext uri="{FF2B5EF4-FFF2-40B4-BE49-F238E27FC236}">
                <a16:creationId xmlns:a16="http://schemas.microsoft.com/office/drawing/2014/main" id="{DB940884-550E-6BD2-C8DB-ED9A07667067}"/>
              </a:ext>
            </a:extLst>
          </p:cNvPr>
          <p:cNvSpPr>
            <a:spLocks/>
          </p:cNvSpPr>
          <p:nvPr userDrawn="1"/>
        </p:nvSpPr>
        <p:spPr>
          <a:xfrm>
            <a:off x="2"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Sans Display"/>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marL="0" algn="l" defTabSz="932742" rtl="0" eaLnBrk="1" latinLnBrk="0" hangingPunct="1">
              <a:lnSpc>
                <a:spcPct val="100000"/>
              </a:lnSpc>
              <a:spcBef>
                <a:spcPct val="0"/>
              </a:spcBef>
              <a:spcAft>
                <a:spcPts val="600"/>
              </a:spcAft>
              <a:buNone/>
              <a:defRPr lang="en-US" sz="3600" b="0" kern="1200" cap="none" spc="0" baseline="0" dirty="0">
                <a:ln w="3175">
                  <a:noFill/>
                </a:ln>
                <a:gradFill>
                  <a:gsLst>
                    <a:gs pos="2874">
                      <a:schemeClr val="accent1"/>
                    </a:gs>
                    <a:gs pos="71000">
                      <a:schemeClr val="accent4"/>
                    </a:gs>
                    <a:gs pos="100000">
                      <a:schemeClr val="accent2"/>
                    </a:gs>
                  </a:gsLst>
                  <a:lin ang="0" scaled="1"/>
                </a:gradFill>
                <a:effectLst/>
                <a:latin typeface="+mj-lt"/>
                <a:ea typeface="+mj-ea"/>
                <a:cs typeface="+mj-cs"/>
              </a:defRPr>
            </a:lvl1pPr>
          </a:lstStyle>
          <a:p>
            <a:r>
              <a:rPr lang="en-US"/>
              <a:t>Click to edit Master title style</a:t>
            </a:r>
          </a:p>
        </p:txBody>
      </p:sp>
      <p:sp>
        <p:nvSpPr>
          <p:cNvPr id="8" name="Graphic 34_1">
            <a:extLst>
              <a:ext uri="{FF2B5EF4-FFF2-40B4-BE49-F238E27FC236}">
                <a16:creationId xmlns:a16="http://schemas.microsoft.com/office/drawing/2014/main" id="{E448A26F-C0C9-DB36-2CFE-F7B47B2FAA77}"/>
              </a:ext>
            </a:extLst>
          </p:cNvPr>
          <p:cNvSpPr>
            <a:spLocks/>
          </p:cNvSpPr>
          <p:nvPr userDrawn="1"/>
        </p:nvSpPr>
        <p:spPr>
          <a:xfrm>
            <a:off x="1" y="1358900"/>
            <a:ext cx="12191998"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9" name="Rectangle: Rounded Corners 8">
            <a:extLst>
              <a:ext uri="{FF2B5EF4-FFF2-40B4-BE49-F238E27FC236}">
                <a16:creationId xmlns:a16="http://schemas.microsoft.com/office/drawing/2014/main" id="{431A5C14-682E-DB09-57E9-1C6BC1949611}"/>
              </a:ext>
            </a:extLst>
          </p:cNvPr>
          <p:cNvSpPr>
            <a:spLocks/>
          </p:cNvSpPr>
          <p:nvPr userDrawn="1"/>
        </p:nvSpPr>
        <p:spPr bwMode="auto">
          <a:xfrm>
            <a:off x="6894513" y="1562102"/>
            <a:ext cx="4541795" cy="4838697"/>
          </a:xfrm>
          <a:prstGeom prst="roundRect">
            <a:avLst>
              <a:gd name="adj" fmla="val 2471"/>
            </a:avLst>
          </a:prstGeom>
          <a:solidFill>
            <a:schemeClr val="accent3">
              <a:lumMod val="20000"/>
              <a:lumOff val="80000"/>
              <a:alpha val="50000"/>
            </a:schemeClr>
          </a:solidFill>
          <a:ln w="635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91440" tIns="45720" rIns="91440" bIns="45720" rtlCol="0" anchor="ctr" anchorCtr="0">
            <a:noAutofit/>
          </a:bodyPr>
          <a:lstStyle/>
          <a:p>
            <a:pPr marL="228600" marR="0" lvl="0" indent="-228600" algn="ctr" defTabSz="914367" fontAlgn="auto">
              <a:lnSpc>
                <a:spcPct val="100000"/>
              </a:lnSpc>
              <a:spcBef>
                <a:spcPts val="0"/>
              </a:spcBef>
              <a:spcAft>
                <a:spcPts val="200"/>
              </a:spcAft>
              <a:buClrTx/>
              <a:buSzTx/>
              <a:buFont typeface="Wingdings" panose="05000000000000000000" pitchFamily="2" charset="2"/>
              <a:buNone/>
              <a:tabLst/>
            </a:pPr>
            <a:endParaRPr kumimoji="0" lang="en-US" sz="2800" b="0" i="0" u="none" strike="noStrike" cap="none" spc="0" normalizeH="0" baseline="0">
              <a:ln>
                <a:noFill/>
              </a:ln>
              <a:solidFill>
                <a:schemeClr val="tx1"/>
              </a:solidFill>
              <a:effectLst/>
              <a:uLnTx/>
              <a:uFillTx/>
            </a:endParaRPr>
          </a:p>
        </p:txBody>
      </p:sp>
      <p:sp>
        <p:nvSpPr>
          <p:cNvPr id="29" name="Text Placeholder 2">
            <a:extLst>
              <a:ext uri="{FF2B5EF4-FFF2-40B4-BE49-F238E27FC236}">
                <a16:creationId xmlns:a16="http://schemas.microsoft.com/office/drawing/2014/main" id="{202B27A8-F8FC-857E-538F-6BFD7749E765}"/>
              </a:ext>
            </a:extLst>
          </p:cNvPr>
          <p:cNvSpPr>
            <a:spLocks noGrp="1"/>
          </p:cNvSpPr>
          <p:nvPr>
            <p:ph type="body" sz="quarter" idx="13" hasCustomPrompt="1"/>
          </p:nvPr>
        </p:nvSpPr>
        <p:spPr>
          <a:xfrm>
            <a:off x="755691" y="1660199"/>
            <a:ext cx="5921333" cy="659155"/>
          </a:xfrm>
        </p:spPr>
        <p:txBody>
          <a:bodyPr/>
          <a:lstStyle>
            <a:lvl1pPr marL="285750" indent="-285750" algn="l" defTabSz="914400" rtl="0" eaLnBrk="1" latinLnBrk="0" hangingPunct="1">
              <a:buFont typeface="Arial" panose="020B0604020202020204" pitchFamily="34" charset="0"/>
              <a:buChar char="•"/>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a:p>
            <a:pPr marL="0" marR="0" lvl="0" indent="0" algn="l" defTabSz="914367" rtl="0" eaLnBrk="1" fontAlgn="base" latinLnBrk="0" hangingPunct="1">
              <a:lnSpc>
                <a:spcPct val="100000"/>
              </a:lnSpc>
              <a:spcBef>
                <a:spcPts val="1000"/>
              </a:spcBef>
              <a:spcAft>
                <a:spcPts val="300"/>
              </a:spcAft>
              <a:buClrTx/>
              <a:buSzTx/>
              <a:buFontTx/>
              <a:buNone/>
              <a:tabLst/>
              <a:defRPr/>
            </a:pPr>
            <a:endParaRPr lang="en-US"/>
          </a:p>
        </p:txBody>
      </p:sp>
      <p:sp>
        <p:nvSpPr>
          <p:cNvPr id="30" name="Text Placeholder 2">
            <a:extLst>
              <a:ext uri="{FF2B5EF4-FFF2-40B4-BE49-F238E27FC236}">
                <a16:creationId xmlns:a16="http://schemas.microsoft.com/office/drawing/2014/main" id="{29A0E38D-0002-F6AA-D26F-06CF4A87C496}"/>
              </a:ext>
            </a:extLst>
          </p:cNvPr>
          <p:cNvSpPr>
            <a:spLocks noGrp="1"/>
          </p:cNvSpPr>
          <p:nvPr>
            <p:ph type="body" sz="quarter" idx="22" hasCustomPrompt="1"/>
          </p:nvPr>
        </p:nvSpPr>
        <p:spPr>
          <a:xfrm>
            <a:off x="755692" y="2120078"/>
            <a:ext cx="5921333" cy="215444"/>
          </a:xfrm>
        </p:spPr>
        <p:txBody>
          <a:bodyPr vert="horz" wrap="square" lIns="0" tIns="0" rIns="0" bIns="0" rtlCol="0">
            <a:noAutofit/>
          </a:bodyPr>
          <a:lstStyle>
            <a:lvl1pPr marL="0" indent="0">
              <a:buNone/>
              <a:defRPr lang="en-US" sz="1400" dirty="0"/>
            </a:lvl1pPr>
          </a:lstStyle>
          <a:p>
            <a:pPr marL="228600" lvl="0" indent="-228600">
              <a:buSzPct val="100000"/>
            </a:pPr>
            <a:r>
              <a:rPr lang="en-US"/>
              <a:t>Click to edit add text</a:t>
            </a:r>
          </a:p>
        </p:txBody>
      </p:sp>
      <p:sp>
        <p:nvSpPr>
          <p:cNvPr id="35" name="Text Placeholder 2">
            <a:extLst>
              <a:ext uri="{FF2B5EF4-FFF2-40B4-BE49-F238E27FC236}">
                <a16:creationId xmlns:a16="http://schemas.microsoft.com/office/drawing/2014/main" id="{F1027F2E-E6B7-4834-92E3-E7AC2135920B}"/>
              </a:ext>
            </a:extLst>
          </p:cNvPr>
          <p:cNvSpPr>
            <a:spLocks noGrp="1"/>
          </p:cNvSpPr>
          <p:nvPr>
            <p:ph type="body" sz="quarter" idx="24" hasCustomPrompt="1"/>
          </p:nvPr>
        </p:nvSpPr>
        <p:spPr>
          <a:xfrm>
            <a:off x="755691" y="2840023"/>
            <a:ext cx="5921333" cy="246221"/>
          </a:xfrm>
        </p:spPr>
        <p:txBody>
          <a:bodyPr/>
          <a:lstStyle>
            <a:lvl1pPr marL="0" indent="0" algn="l" defTabSz="914400" rtl="0" eaLnBrk="1" latinLnBrk="0" hangingPunct="1">
              <a:buNone/>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p:txBody>
      </p:sp>
      <p:sp>
        <p:nvSpPr>
          <p:cNvPr id="28" name="Text Placeholder 2">
            <a:extLst>
              <a:ext uri="{FF2B5EF4-FFF2-40B4-BE49-F238E27FC236}">
                <a16:creationId xmlns:a16="http://schemas.microsoft.com/office/drawing/2014/main" id="{DD9D3198-9AA0-5F80-DA12-149E3ECC6310}"/>
              </a:ext>
            </a:extLst>
          </p:cNvPr>
          <p:cNvSpPr>
            <a:spLocks noGrp="1"/>
          </p:cNvSpPr>
          <p:nvPr>
            <p:ph type="body" sz="quarter" idx="18" hasCustomPrompt="1"/>
          </p:nvPr>
        </p:nvSpPr>
        <p:spPr>
          <a:xfrm>
            <a:off x="755692" y="3299903"/>
            <a:ext cx="5921333" cy="646331"/>
          </a:xfrm>
        </p:spPr>
        <p:txBody>
          <a:bodyPr vert="horz" wrap="square" lIns="0" tIns="0" rIns="0" bIns="0" rtlCol="0">
            <a:noAutofit/>
          </a:bodyPr>
          <a:lstStyle>
            <a:lvl1pPr marL="0" indent="0">
              <a:buFont typeface="Arial" panose="020B0604020202020204" pitchFamily="34" charset="0"/>
              <a:buNone/>
              <a:defRPr lang="en-US" sz="1400" dirty="0"/>
            </a:lvl1pPr>
          </a:lstStyle>
          <a:p>
            <a:pPr marL="342900" lvl="0" indent="-342900">
              <a:buSzPct val="100000"/>
            </a:pPr>
            <a:r>
              <a:rPr lang="en-US"/>
              <a:t>Click to edit add text</a:t>
            </a:r>
          </a:p>
        </p:txBody>
      </p:sp>
      <p:sp>
        <p:nvSpPr>
          <p:cNvPr id="36" name="Text Placeholder 2">
            <a:extLst>
              <a:ext uri="{FF2B5EF4-FFF2-40B4-BE49-F238E27FC236}">
                <a16:creationId xmlns:a16="http://schemas.microsoft.com/office/drawing/2014/main" id="{03C5DC12-665A-86E5-C070-8C5F426DC93C}"/>
              </a:ext>
            </a:extLst>
          </p:cNvPr>
          <p:cNvSpPr>
            <a:spLocks noGrp="1"/>
          </p:cNvSpPr>
          <p:nvPr>
            <p:ph type="body" sz="quarter" idx="25" hasCustomPrompt="1"/>
          </p:nvPr>
        </p:nvSpPr>
        <p:spPr>
          <a:xfrm>
            <a:off x="755692" y="4450734"/>
            <a:ext cx="5921333" cy="246221"/>
          </a:xfrm>
        </p:spPr>
        <p:txBody>
          <a:bodyPr/>
          <a:lstStyle>
            <a:lvl1pPr marL="0" indent="0" algn="l" defTabSz="914400" rtl="0" eaLnBrk="1" latinLnBrk="0" hangingPunct="1">
              <a:buNone/>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p:txBody>
      </p:sp>
      <p:sp>
        <p:nvSpPr>
          <p:cNvPr id="32" name="Text Placeholder 31">
            <a:extLst>
              <a:ext uri="{FF2B5EF4-FFF2-40B4-BE49-F238E27FC236}">
                <a16:creationId xmlns:a16="http://schemas.microsoft.com/office/drawing/2014/main" id="{9D75FB69-4FEE-302B-4B45-772074E5F006}"/>
              </a:ext>
            </a:extLst>
          </p:cNvPr>
          <p:cNvSpPr>
            <a:spLocks noGrp="1"/>
          </p:cNvSpPr>
          <p:nvPr>
            <p:ph type="body" sz="quarter" idx="23"/>
          </p:nvPr>
        </p:nvSpPr>
        <p:spPr>
          <a:xfrm>
            <a:off x="755692" y="4910613"/>
            <a:ext cx="5921333" cy="1437317"/>
          </a:xfrm>
        </p:spPr>
        <p:txBody>
          <a:bodyPr>
            <a:noAutofit/>
          </a:bodyPr>
          <a:lstStyle>
            <a:lvl1pPr marL="195263" indent="-195263">
              <a:spcBef>
                <a:spcPts val="0"/>
              </a:spcBef>
              <a:spcAft>
                <a:spcPts val="600"/>
              </a:spcAft>
              <a:buSzPct val="100000"/>
              <a:buFont typeface="Arial" panose="020B0604020202020204" pitchFamily="34" charset="0"/>
              <a:buChar char="•"/>
              <a:defRPr sz="1400">
                <a:solidFill>
                  <a:schemeClr val="tx1"/>
                </a:solidFill>
              </a:defRPr>
            </a:lvl1pPr>
          </a:lstStyle>
          <a:p>
            <a:pPr lvl="0"/>
            <a:endParaRPr lang="en-US"/>
          </a:p>
        </p:txBody>
      </p:sp>
      <p:sp>
        <p:nvSpPr>
          <p:cNvPr id="7" name="Text Placeholder 6">
            <a:extLst>
              <a:ext uri="{FF2B5EF4-FFF2-40B4-BE49-F238E27FC236}">
                <a16:creationId xmlns:a16="http://schemas.microsoft.com/office/drawing/2014/main" id="{CD39A1C0-83B2-42B8-D6BA-B9E170E9B633}"/>
              </a:ext>
            </a:extLst>
          </p:cNvPr>
          <p:cNvSpPr>
            <a:spLocks noGrp="1"/>
          </p:cNvSpPr>
          <p:nvPr>
            <p:ph type="body" sz="quarter" idx="26"/>
          </p:nvPr>
        </p:nvSpPr>
        <p:spPr>
          <a:xfrm>
            <a:off x="2395536" y="2779200"/>
            <a:ext cx="3163888" cy="580159"/>
          </a:xfrm>
        </p:spPr>
        <p:txBody>
          <a:bodyPr/>
          <a:lstStyle>
            <a:lvl1pPr>
              <a:defRPr kumimoji="0" lang="en-US" sz="1600" b="0" i="0" u="none" strike="noStrike" kern="1200" cap="none" spc="0" normalizeH="0" baseline="0" dirty="0" smtClean="0">
                <a:ln>
                  <a:noFill/>
                </a:ln>
                <a:solidFill>
                  <a:schemeClr val="accent2"/>
                </a:solidFill>
                <a:effectLst/>
                <a:uLnTx/>
                <a:uFillTx/>
                <a:latin typeface="+mj-lt"/>
                <a:ea typeface="+mn-ea"/>
                <a:cs typeface="+mn-cs"/>
              </a:defRPr>
            </a:lvl1pPr>
            <a:lvl2pPr marL="0" indent="0">
              <a:defRPr/>
            </a:lvl2pPr>
            <a:lvl3pPr marL="0" indent="0">
              <a:defRPr/>
            </a:lvl3pPr>
            <a:lvl4pPr marL="0" indent="0">
              <a:defRPr/>
            </a:lvl4pPr>
            <a:lvl5pPr marL="0" indent="0">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Master text styles</a:t>
            </a:r>
          </a:p>
          <a:p>
            <a:pPr marL="228600" marR="0" lvl="0" indent="-228600" algn="l" defTabSz="932742" rtl="0" eaLnBrk="1" fontAlgn="auto" latinLnBrk="0" hangingPunct="1">
              <a:lnSpc>
                <a:spcPct val="100000"/>
              </a:lnSpc>
              <a:spcBef>
                <a:spcPct val="20000"/>
              </a:spcBef>
              <a:spcAft>
                <a:spcPts val="0"/>
              </a:spcAft>
              <a:buClrTx/>
              <a:buSzPct val="100000"/>
              <a:tabLst/>
            </a:pPr>
            <a:r>
              <a:rPr lang="en-US"/>
              <a:t>Second level</a:t>
            </a:r>
          </a:p>
        </p:txBody>
      </p:sp>
    </p:spTree>
    <p:extLst>
      <p:ext uri="{BB962C8B-B14F-4D97-AF65-F5344CB8AC3E}">
        <p14:creationId xmlns:p14="http://schemas.microsoft.com/office/powerpoint/2010/main" val="3233785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68">
          <p15:clr>
            <a:srgbClr val="A4A3A4"/>
          </p15:clr>
        </p15:guide>
        <p15:guide id="17" pos="3936">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1200">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2696542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ckground 7 Blank">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3830540591"/>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11572366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9623213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5218797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email">
              <a:extLst>
                <a:ext uri="{28A0092B-C50C-407E-A947-70E740481C1C}">
                  <a14:useLocalDpi xmlns:a14="http://schemas.microsoft.com/office/drawing/2010/main"/>
                </a:ext>
              </a:extLst>
            </a:blip>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130792823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3"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p:nvPicPr>
        <p:blipFill>
          <a:blip r:embed="rId4"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97932259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Square Photo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p:nvPicPr>
        <p:blipFill>
          <a:blip r:embed="rId3" cstate="email">
            <a:extLst>
              <a:ext uri="{BEBA8EAE-BF5A-486C-A8C5-ECC9F3942E4B}">
                <a14:imgProps xmlns:a14="http://schemas.microsoft.com/office/drawing/2010/main">
                  <a14:imgLayer r:embed="rId4">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p:nvPicPr>
        <p:blipFill rotWithShape="1">
          <a:blip r:embed="rId5"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6"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553641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275055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19863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Square Photo ">
    <p:bg>
      <p:bgPr>
        <a:solidFill>
          <a:srgbClr val="E8E6DF"/>
        </a:solidFill>
        <a:effectLst/>
      </p:bgPr>
    </p:bg>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023117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247045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avy Background">
    <p:bg>
      <p:bgPr>
        <a:solidFill>
          <a:srgbClr val="151E47"/>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498412154"/>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9657976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66494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255898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511547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7789012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382239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699289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8589635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44962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428823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pic>
        <p:nvPicPr>
          <p:cNvPr id="11" name="Picture 10" descr="A blue background with a light&#10;&#10;AI-generated content may be incorrect.">
            <a:extLst>
              <a:ext uri="{FF2B5EF4-FFF2-40B4-BE49-F238E27FC236}">
                <a16:creationId xmlns:a16="http://schemas.microsoft.com/office/drawing/2014/main" id="{3FC72557-3C59-DB05-F117-34400904D0D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pic>
        <p:nvPicPr>
          <p:cNvPr id="6" name="Picture 5">
            <a:extLst>
              <a:ext uri="{FF2B5EF4-FFF2-40B4-BE49-F238E27FC236}">
                <a16:creationId xmlns:a16="http://schemas.microsoft.com/office/drawing/2014/main" id="{B9EE9B54-C910-AF4F-330A-965CE1B959D5}"/>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0" i="0" spc="0" baseline="0">
                <a:solidFill>
                  <a:schemeClr val="tx1"/>
                </a:solidFill>
                <a:latin typeface="+mn-lt"/>
                <a:cs typeface="Segoe UI" panose="020B0502040204020203" pitchFamily="34" charset="0"/>
              </a:defRPr>
            </a:lvl1pPr>
          </a:lstStyle>
          <a:p>
            <a:pPr lvl="0"/>
            <a:r>
              <a:rPr lang="en-US"/>
              <a:t>Company or position</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4060953"/>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1" i="0" spc="0" baseline="0">
                <a:solidFill>
                  <a:schemeClr val="tx1"/>
                </a:solidFill>
                <a:latin typeface="+mn-lt"/>
                <a:cs typeface="Segoe UI Semibold" panose="020B0502040204020203" pitchFamily="34" charset="0"/>
              </a:defRPr>
            </a:lvl1pPr>
          </a:lstStyle>
          <a:p>
            <a:pPr lvl="0"/>
            <a:r>
              <a:rPr lang="en-US"/>
              <a:t>Name</a:t>
            </a:r>
          </a:p>
        </p:txBody>
      </p:sp>
      <p:pic>
        <p:nvPicPr>
          <p:cNvPr id="7" name="Picture 6" descr="Quotation mark">
            <a:extLst>
              <a:ext uri="{FF2B5EF4-FFF2-40B4-BE49-F238E27FC236}">
                <a16:creationId xmlns:a16="http://schemas.microsoft.com/office/drawing/2014/main" id="{EABB847D-C857-0388-8E19-D6724CB4046B}"/>
              </a:ext>
            </a:extLst>
          </p:cNvPr>
          <p:cNvPicPr>
            <a:picLocks noChangeAspect="1"/>
          </p:cNvPicPr>
          <p:nvPr userDrawn="1"/>
        </p:nvPicPr>
        <p:blipFill>
          <a:blip r:embed="rId4"/>
          <a:stretch>
            <a:fillRect/>
          </a:stretch>
        </p:blipFill>
        <p:spPr>
          <a:xfrm>
            <a:off x="584200" y="1490472"/>
            <a:ext cx="2226687" cy="1938528"/>
          </a:xfrm>
          <a:prstGeom prst="rect">
            <a:avLst/>
          </a:prstGeom>
          <a:noFill/>
        </p:spPr>
      </p:pic>
      <p:sp>
        <p:nvSpPr>
          <p:cNvPr id="3" name="Title 1">
            <a:extLst>
              <a:ext uri="{FF2B5EF4-FFF2-40B4-BE49-F238E27FC236}">
                <a16:creationId xmlns:a16="http://schemas.microsoft.com/office/drawing/2014/main" id="{C62AA90A-06F1-29E3-2ABB-61028BFA1A77}"/>
              </a:ext>
            </a:extLst>
          </p:cNvPr>
          <p:cNvSpPr>
            <a:spLocks noGrp="1"/>
          </p:cNvSpPr>
          <p:nvPr>
            <p:ph type="title"/>
          </p:nvPr>
        </p:nvSpPr>
        <p:spPr>
          <a:xfrm>
            <a:off x="3582416" y="3088260"/>
            <a:ext cx="8025384" cy="498598"/>
          </a:xfrm>
          <a:prstGeom prst="rect">
            <a:avLst/>
          </a:prstGeom>
        </p:spPr>
        <p:txBody>
          <a:bodyPr lIns="0" rIns="0"/>
          <a:lstStyle>
            <a:lvl1pPr marL="0" algn="l" defTabSz="457200" rtl="0" eaLnBrk="1" latinLnBrk="0" hangingPunct="1">
              <a:lnSpc>
                <a:spcPct val="90000"/>
              </a:lnSpc>
              <a:spcBef>
                <a:spcPts val="0"/>
              </a:spcBef>
              <a:buNone/>
              <a:defRPr lang="en-US" sz="3600" b="0" kern="1200" cap="none" spc="0" baseline="0" dirty="0">
                <a:ln>
                  <a:noFill/>
                </a:ln>
                <a:gradFill flip="none" rotWithShape="1">
                  <a:gsLst>
                    <a:gs pos="0">
                      <a:srgbClr val="94D8FE"/>
                    </a:gs>
                    <a:gs pos="100000">
                      <a:prstClr val="white"/>
                    </a:gs>
                  </a:gsLst>
                  <a:lin ang="162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684784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63868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1660032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024298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77727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747206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5849893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884308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194632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658891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70510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170BB12D-8CE0-A385-EFC8-00809E995063}"/>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5841A6FB-2885-3BFF-70D4-A220E7814E50}"/>
              </a:ext>
            </a:extLst>
          </p:cNvPr>
          <p:cNvSpPr>
            <a:spLocks noGrp="1"/>
          </p:cNvSpPr>
          <p:nvPr>
            <p:ph type="title"/>
          </p:nvPr>
        </p:nvSpPr>
        <p:spPr>
          <a:xfrm>
            <a:off x="588263" y="2090220"/>
            <a:ext cx="5624968" cy="1588127"/>
          </a:xfrm>
          <a:prstGeom prst="rect">
            <a:avLst/>
          </a:prstGeom>
        </p:spPr>
        <p:txBody>
          <a:bodyPr wrap="square" lIns="0" tIns="45720" rIns="0" bIns="45720">
            <a:spAutoFit/>
          </a:bodyPr>
          <a:lstStyle>
            <a:lvl1pPr>
              <a:defRPr lang="en-US" sz="5400" spc="0" baseline="0">
                <a:ln>
                  <a:noFill/>
                </a:ln>
                <a:gradFill flip="none" rotWithShape="1">
                  <a:gsLst>
                    <a:gs pos="0">
                      <a:srgbClr val="94D8FE"/>
                    </a:gs>
                    <a:gs pos="100000">
                      <a:prstClr val="white"/>
                    </a:gs>
                  </a:gsLst>
                  <a:lin ang="16200000" scaled="1"/>
                  <a:tileRect/>
                </a:gradFill>
              </a:defRPr>
            </a:lvl1pPr>
          </a:lstStyle>
          <a:p>
            <a:pPr marL="0" lvl="0" defTabSz="457200">
              <a:lnSpc>
                <a:spcPct val="90000"/>
              </a:lnSpc>
              <a:spcBef>
                <a:spcPts val="0"/>
              </a:spcBef>
            </a:pPr>
            <a:r>
              <a:rPr lang="en-US"/>
              <a:t>Click to edit Master title style</a:t>
            </a:r>
          </a:p>
        </p:txBody>
      </p:sp>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4200" y="4253049"/>
            <a:ext cx="11018520" cy="1138773"/>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1668988"/>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p:nvPicPr>
        <p:blipFill>
          <a:blip r:embed="rId3"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14004093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Demo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14083269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7094425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8256144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24795992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85902457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25725941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3398880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920353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764963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4" name="Rectangle: Rounded Corners 3">
            <a:extLst>
              <a:ext uri="{FF2B5EF4-FFF2-40B4-BE49-F238E27FC236}">
                <a16:creationId xmlns:a16="http://schemas.microsoft.com/office/drawing/2014/main" id="{D0E162CF-D51E-042E-52CB-B4C7AD85FF93}"/>
              </a:ext>
            </a:extLst>
          </p:cNvPr>
          <p:cNvSpPr/>
          <p:nvPr userDrawn="1"/>
        </p:nvSpPr>
        <p:spPr bwMode="auto">
          <a:xfrm rot="16200000" flipH="1">
            <a:off x="3202634" y="-2045346"/>
            <a:ext cx="5786733" cy="11049002"/>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1182813" y="940284"/>
            <a:ext cx="10098100" cy="498598"/>
          </a:xfrm>
          <a:prstGeom prst="rect">
            <a:avLst/>
          </a:prstGeom>
        </p:spPr>
        <p:txBody>
          <a:bodyPr lIns="0" rIns="0"/>
          <a:lstStyle>
            <a:lvl1pPr>
              <a:defRPr spc="0" baseline="0">
                <a:solidFill>
                  <a:schemeClr val="bg1"/>
                </a:solidFill>
              </a:defRPr>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1182813" y="1741480"/>
            <a:ext cx="10098100" cy="1612749"/>
          </a:xfrm>
          <a:prstGeom prst="rect">
            <a:avLst/>
          </a:prstGeom>
        </p:spPr>
        <p:txBody>
          <a:bodyPr vert="horz" wrap="square" lIns="0" tIns="0" rIns="0" bIns="0" rtlCol="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3253690"/>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863396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54476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03124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84987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3146864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268579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p:nvPicPr>
        <p:blipFill>
          <a:blip r:embed="rId3">
            <a:lum bright="10000"/>
            <a:extLst>
              <a:ext uri="{96DAC541-7B7A-43D3-8B79-37D633B846F1}">
                <asvg:svgBlip xmlns:asvg="http://schemas.microsoft.com/office/drawing/2016/SVG/main" r:embed="rId4"/>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9566947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0997294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41750376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9312657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840B3E2-2543-6A21-CBC3-324EA6159EDA}"/>
              </a:ext>
            </a:extLst>
          </p:cNvPr>
          <p:cNvSpPr/>
          <p:nvPr userDrawn="1"/>
        </p:nvSpPr>
        <p:spPr bwMode="auto">
          <a:xfrm>
            <a:off x="3048" y="0"/>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5" name="Picture 4" descr="A blurry image of a blue and orange sky&#10;&#10;AI-generated content may be incorrect.">
            <a:extLst>
              <a:ext uri="{FF2B5EF4-FFF2-40B4-BE49-F238E27FC236}">
                <a16:creationId xmlns:a16="http://schemas.microsoft.com/office/drawing/2014/main" id="{7ECCAC18-2F4F-C147-45FB-166E499C5522}"/>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3621432" y="1"/>
            <a:ext cx="8567520" cy="6857999"/>
          </a:xfrm>
          <a:prstGeom prst="rect">
            <a:avLst/>
          </a:prstGeom>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4253948" y="2117026"/>
            <a:ext cx="7348772" cy="1465016"/>
          </a:xfrm>
          <a:prstGeom prst="rect">
            <a:avLst/>
          </a:prstGeom>
        </p:spPr>
        <p:txBody>
          <a:bodyPr vert="horz" wrap="square" lIns="0" tIns="0" rIns="0" bIns="0" rtlCol="0">
            <a:spAutoFit/>
          </a:bodyPr>
          <a:lstStyle>
            <a:lvl1pPr marL="0" indent="0">
              <a:buFontTx/>
              <a:buNone/>
              <a:defRPr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2117026"/>
            <a:ext cx="2373598"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837082189"/>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2260414509"/>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3663289390"/>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1117590016"/>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053594"/>
            <a:ext cx="4482124" cy="215444"/>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y</a:t>
            </a:r>
          </a:p>
          <a:p>
            <a:pPr defTabSz="932290" eaLnBrk="0" hangingPunct="0"/>
            <a:r>
              <a:rPr lang="en-US" sz="700" err="1">
                <a:solidFill>
                  <a:schemeClr val="tx1"/>
                </a:solidFill>
                <a:cs typeface="Segoe Sans Display" pitchFamily="2" charset="0"/>
              </a:rPr>
              <a:t>poration</a:t>
            </a:r>
            <a:r>
              <a:rPr lang="en-US" sz="700">
                <a:solidFill>
                  <a:schemeClr val="tx1"/>
                </a:solidFill>
                <a:cs typeface="Segoe Sans Display" pitchFamily="2" charset="0"/>
              </a:rPr>
              <a:t>.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2780331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124107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01807-A01F-7A47-BFA2-2E7AC8AAB47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A694D91-35B0-C3B9-5DF9-0C3EB8787E8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47653BF-D0E2-A0AF-4CE4-D45FE589A10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F2FA651-C015-5F00-30EE-824D2102F8CC}"/>
              </a:ext>
            </a:extLst>
          </p:cNvPr>
          <p:cNvSpPr>
            <a:spLocks noGrp="1"/>
          </p:cNvSpPr>
          <p:nvPr>
            <p:ph type="dt" sz="half" idx="10"/>
          </p:nvPr>
        </p:nvSpPr>
        <p:spPr/>
        <p:txBody>
          <a:bodyPr/>
          <a:lstStyle/>
          <a:p>
            <a:fld id="{3B6663D2-96AB-4D67-A758-A4133BC145A4}" type="datetimeFigureOut">
              <a:rPr lang="en-US" smtClean="0"/>
              <a:t>2/10/2026</a:t>
            </a:fld>
            <a:endParaRPr lang="en-US"/>
          </a:p>
        </p:txBody>
      </p:sp>
      <p:sp>
        <p:nvSpPr>
          <p:cNvPr id="6" name="Footer Placeholder 5">
            <a:extLst>
              <a:ext uri="{FF2B5EF4-FFF2-40B4-BE49-F238E27FC236}">
                <a16:creationId xmlns:a16="http://schemas.microsoft.com/office/drawing/2014/main" id="{EADABDC3-4792-08E9-FD25-4141050F84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F6E73E0-FD66-0C32-6575-A446B18FE660}"/>
              </a:ext>
            </a:extLst>
          </p:cNvPr>
          <p:cNvSpPr>
            <a:spLocks noGrp="1"/>
          </p:cNvSpPr>
          <p:nvPr>
            <p:ph type="sldNum" sz="quarter" idx="12"/>
          </p:nvPr>
        </p:nvSpPr>
        <p:spPr/>
        <p:txBody>
          <a:bodyPr/>
          <a:lstStyle/>
          <a:p>
            <a:fld id="{26BB5BD5-DE12-4756-912C-604E0D4DA645}" type="slidenum">
              <a:rPr lang="en-US" smtClean="0"/>
              <a:t>‹#›</a:t>
            </a:fld>
            <a:endParaRPr lang="en-US"/>
          </a:p>
        </p:txBody>
      </p:sp>
    </p:spTree>
    <p:extLst>
      <p:ext uri="{BB962C8B-B14F-4D97-AF65-F5344CB8AC3E}">
        <p14:creationId xmlns:p14="http://schemas.microsoft.com/office/powerpoint/2010/main" val="3918036034"/>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7947534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059739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2850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4209530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89DEF3-0942-1417-41F0-756470802144}"/>
              </a:ext>
            </a:extLst>
          </p:cNvPr>
          <p:cNvSpPr/>
          <p:nvPr userDrawn="1"/>
        </p:nvSpPr>
        <p:spPr bwMode="auto">
          <a:xfrm>
            <a:off x="3048" y="0"/>
            <a:ext cx="12188952" cy="6858000"/>
          </a:xfrm>
          <a:prstGeom prst="rect">
            <a:avLst/>
          </a:prstGeom>
          <a:solidFill>
            <a:srgbClr val="151E47"/>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9DDE651D-7217-BBE7-49BC-45969F3319F3}"/>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flipH="1" flipV="1">
            <a:off x="6096000" y="4492"/>
            <a:ext cx="6095994"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9279"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79" y="1140036"/>
            <a:ext cx="4589008" cy="1297925"/>
          </a:xfrm>
          <a:prstGeom prst="rect">
            <a:avLst/>
          </a:prstGeom>
        </p:spPr>
        <p:txBody>
          <a:bodyPr lIns="0" rIns="0"/>
          <a:lstStyle>
            <a:lvl1pPr>
              <a:defRPr spc="0" baseline="0"/>
            </a:lvl1pPr>
          </a:lstStyle>
          <a:p>
            <a:r>
              <a:rPr lang="en-US"/>
              <a:t>Click to edit Master title style</a:t>
            </a:r>
          </a:p>
        </p:txBody>
      </p:sp>
      <p:sp>
        <p:nvSpPr>
          <p:cNvPr id="7" name="Text Placeholder 3">
            <a:extLst>
              <a:ext uri="{FF2B5EF4-FFF2-40B4-BE49-F238E27FC236}">
                <a16:creationId xmlns:a16="http://schemas.microsoft.com/office/drawing/2014/main" id="{8C2EA7BC-13E3-34AE-5CA1-6EACB20A3A70}"/>
              </a:ext>
            </a:extLst>
          </p:cNvPr>
          <p:cNvSpPr>
            <a:spLocks noGrp="1"/>
          </p:cNvSpPr>
          <p:nvPr>
            <p:ph idx="10"/>
          </p:nvPr>
        </p:nvSpPr>
        <p:spPr>
          <a:xfrm>
            <a:off x="7031492"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9FC8DB7-4630-1E38-B757-DD8B179A530D}"/>
              </a:ext>
            </a:extLst>
          </p:cNvPr>
          <p:cNvSpPr>
            <a:spLocks noGrp="1"/>
          </p:cNvSpPr>
          <p:nvPr>
            <p:ph idx="11" hasCustomPrompt="1"/>
          </p:nvPr>
        </p:nvSpPr>
        <p:spPr>
          <a:xfrm>
            <a:off x="7031492" y="1140036"/>
            <a:ext cx="4589008" cy="1107996"/>
          </a:xfrm>
          <a:prstGeom prst="rect">
            <a:avLst/>
          </a:prstGeom>
        </p:spPr>
        <p:txBody>
          <a:bodyPr vert="horz" wrap="square" lIns="0" tIns="0" rIns="0" bIns="0" rtlCol="0">
            <a:spAutoFit/>
          </a:bodyPr>
          <a:lstStyle>
            <a:lvl1pPr marL="0" indent="0" algn="l" defTabSz="932742" rtl="0" eaLnBrk="1" latinLnBrk="0" hangingPunct="1">
              <a:lnSpc>
                <a:spcPct val="100000"/>
              </a:lnSpc>
              <a:spcBef>
                <a:spcPct val="0"/>
              </a:spcBef>
              <a:buFontTx/>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itle style</a:t>
            </a:r>
          </a:p>
        </p:txBody>
      </p:sp>
    </p:spTree>
    <p:extLst>
      <p:ext uri="{BB962C8B-B14F-4D97-AF65-F5344CB8AC3E}">
        <p14:creationId xmlns:p14="http://schemas.microsoft.com/office/powerpoint/2010/main" val="264570937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9023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5874953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864803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66511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0891953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5774626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597158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3890022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5729717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8563748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86725FD6-88E3-D175-3BB1-C08805073FE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532D0726-123A-C3BC-D902-F43835E657A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4" name="Title 1">
            <a:extLst>
              <a:ext uri="{FF2B5EF4-FFF2-40B4-BE49-F238E27FC236}">
                <a16:creationId xmlns:a16="http://schemas.microsoft.com/office/drawing/2014/main" id="{DEE10654-E662-486A-91E4-A0B519907B3A}"/>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4458403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430213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043136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6614339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24116739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7137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Custom Layout">
    <p:bg>
      <p:bgPr>
        <a:gradFill flip="none" rotWithShape="1">
          <a:gsLst>
            <a:gs pos="0">
              <a:schemeClr val="accent2">
                <a:lumMod val="20000"/>
                <a:lumOff val="80000"/>
                <a:alpha val="50000"/>
              </a:schemeClr>
            </a:gs>
            <a:gs pos="92000">
              <a:schemeClr val="accent1">
                <a:lumMod val="20000"/>
                <a:lumOff val="80000"/>
              </a:schemeClr>
            </a:gs>
          </a:gsLst>
          <a:lin ang="18900000" scaled="1"/>
          <a:tileRect/>
        </a:gra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D90CDFB-16E7-DFC1-4CCD-89791F65D460}"/>
              </a:ext>
              <a:ext uri="{C183D7F6-B498-43B3-948B-1728B52AA6E4}">
                <adec:decorative xmlns:adec="http://schemas.microsoft.com/office/drawing/2017/decorative" val="1"/>
              </a:ext>
            </a:extLst>
          </p:cNvPr>
          <p:cNvGrpSpPr/>
          <p:nvPr userDrawn="1"/>
        </p:nvGrpSpPr>
        <p:grpSpPr>
          <a:xfrm>
            <a:off x="-1" y="-1"/>
            <a:ext cx="12192001" cy="6980663"/>
            <a:chOff x="-1" y="-1"/>
            <a:chExt cx="12192001" cy="6980663"/>
          </a:xfrm>
        </p:grpSpPr>
        <p:pic>
          <p:nvPicPr>
            <p:cNvPr id="4" name="Picture 3" descr="A picture containing white, design, black and white, art&#10;&#10;Description automatically generated">
              <a:extLst>
                <a:ext uri="{FF2B5EF4-FFF2-40B4-BE49-F238E27FC236}">
                  <a16:creationId xmlns:a16="http://schemas.microsoft.com/office/drawing/2014/main" id="{A6403808-3EE8-C7C4-EA8C-609573961EDE}"/>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5C7B8481-6211-E6D7-E8FA-07BB65764CAB}"/>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1"/>
              <a:ext cx="12192001" cy="6980663"/>
            </a:xfrm>
            <a:prstGeom prst="rect">
              <a:avLst/>
            </a:prstGeom>
          </p:spPr>
        </p:pic>
      </p:grpSp>
      <p:sp>
        <p:nvSpPr>
          <p:cNvPr id="2" name="Title 1">
            <a:extLst>
              <a:ext uri="{FF2B5EF4-FFF2-40B4-BE49-F238E27FC236}">
                <a16:creationId xmlns:a16="http://schemas.microsoft.com/office/drawing/2014/main" id="{EDCB96C2-457B-3EBD-8FED-8BB354035EA2}"/>
              </a:ext>
            </a:extLst>
          </p:cNvPr>
          <p:cNvSpPr>
            <a:spLocks noGrp="1"/>
          </p:cNvSpPr>
          <p:nvPr>
            <p:ph type="title"/>
          </p:nvPr>
        </p:nvSpPr>
        <p:spPr>
          <a:xfrm>
            <a:off x="588263" y="458788"/>
            <a:ext cx="11018520" cy="553998"/>
          </a:xfrm>
        </p:spPr>
        <p:txBody>
          <a:bodyPr/>
          <a:lstStyle/>
          <a:p>
            <a:r>
              <a:rPr lang="en-US"/>
              <a:t>Click to edit Master title style</a:t>
            </a:r>
            <a:endParaRPr lang="en-IN"/>
          </a:p>
        </p:txBody>
      </p:sp>
    </p:spTree>
    <p:extLst>
      <p:ext uri="{BB962C8B-B14F-4D97-AF65-F5344CB8AC3E}">
        <p14:creationId xmlns:p14="http://schemas.microsoft.com/office/powerpoint/2010/main" val="1522377588"/>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52046" cy="492443"/>
          </a:xfrm>
        </p:spPr>
        <p:txBody>
          <a:bodyPr/>
          <a:lstStyle>
            <a:lvl1pPr algn="l" defTabSz="932742" rtl="0" eaLnBrk="1" latinLnBrk="0" hangingPunct="1">
              <a:lnSpc>
                <a:spcPct val="100000"/>
              </a:lnSpc>
              <a:spcBef>
                <a:spcPct val="0"/>
              </a:spcBef>
              <a:buNone/>
              <a:defRPr lang="en-US" sz="3200" b="0" kern="1200" cap="none" spc="-50" baseline="0" dirty="0">
                <a:ln w="3175">
                  <a:noFill/>
                </a:ln>
                <a:gradFill>
                  <a:gsLst>
                    <a:gs pos="2874">
                      <a:schemeClr val="accent1"/>
                    </a:gs>
                    <a:gs pos="71000">
                      <a:schemeClr val="accent4"/>
                    </a:gs>
                    <a:gs pos="100000">
                      <a:schemeClr val="accent2"/>
                    </a:gs>
                  </a:gsLst>
                  <a:lin ang="0" scaled="1"/>
                </a:gradFill>
                <a:effectLst/>
                <a:latin typeface="+mj-lt"/>
                <a:ea typeface="+mj-ea"/>
                <a:cs typeface="+mj-cs"/>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1500" y="292100"/>
            <a:ext cx="11052046"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3600284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Content slid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8679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535469"/>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35534584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column bullet">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EC0129C9-611E-40C7-935F-FE79CCB43F1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0AF402B5-027B-5EC2-96FF-0F2D2940C8EC}"/>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itle 1">
            <a:extLst>
              <a:ext uri="{FF2B5EF4-FFF2-40B4-BE49-F238E27FC236}">
                <a16:creationId xmlns:a16="http://schemas.microsoft.com/office/drawing/2014/main" id="{E069B642-F814-0105-94A5-568EB275A72B}"/>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1270301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B53FBF24-EE52-9152-2D40-87550FF4CBF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209893" cy="6858000"/>
          </a:xfrm>
          <a:prstGeom prst="rect">
            <a:avLst/>
          </a:prstGeom>
        </p:spPr>
      </p:pic>
      <p:pic>
        <p:nvPicPr>
          <p:cNvPr id="6" name="Picture 5" descr="A close up of a corner of a paper&#10;&#10;AI-generated content may be incorrect.">
            <a:extLst>
              <a:ext uri="{FF2B5EF4-FFF2-40B4-BE49-F238E27FC236}">
                <a16:creationId xmlns:a16="http://schemas.microsoft.com/office/drawing/2014/main" id="{58082223-228D-0D73-1BE9-2EF2BFACD893}"/>
              </a:ext>
            </a:extLst>
          </p:cNvPr>
          <p:cNvPicPr>
            <a:picLocks noChangeAspect="1"/>
          </p:cNvPicPr>
          <p:nvPr userDrawn="1"/>
        </p:nvPicPr>
        <p:blipFill>
          <a:blip r:embed="rId3" cstate="email">
            <a:alphaModFix amt="85000"/>
            <a:extLst>
              <a:ext uri="{BEBA8EAE-BF5A-486C-A8C5-ECC9F3942E4B}">
                <a14:imgProps xmlns:a14="http://schemas.microsoft.com/office/drawing/2010/main">
                  <a14:imgLayer r:embed="rId4">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59835" t="-3489" r="308" b="3489"/>
          <a:stretch>
            <a:fillRect/>
          </a:stretch>
        </p:blipFill>
        <p:spPr>
          <a:xfrm rot="5400000" flipV="1">
            <a:off x="5793471" y="281511"/>
            <a:ext cx="6730538" cy="6125480"/>
          </a:xfrm>
          <a:prstGeom prst="rect">
            <a:avLst/>
          </a:prstGeom>
        </p:spPr>
      </p:pic>
      <p:pic>
        <p:nvPicPr>
          <p:cNvPr id="9" name="Graphic 8">
            <a:extLst>
              <a:ext uri="{FF2B5EF4-FFF2-40B4-BE49-F238E27FC236}">
                <a16:creationId xmlns:a16="http://schemas.microsoft.com/office/drawing/2014/main" id="{2D81F35F-51EF-1A05-D21F-30E9EB908F3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1040" y="713232"/>
            <a:ext cx="1337566" cy="705394"/>
          </a:xfrm>
          <a:prstGeom prst="rect">
            <a:avLst/>
          </a:prstGeom>
        </p:spPr>
      </p:pic>
      <p:pic>
        <p:nvPicPr>
          <p:cNvPr id="13" name="Picture 12">
            <a:extLst>
              <a:ext uri="{FF2B5EF4-FFF2-40B4-BE49-F238E27FC236}">
                <a16:creationId xmlns:a16="http://schemas.microsoft.com/office/drawing/2014/main" id="{5349DB46-2E1F-33DC-CBA7-D279F98549A8}"/>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B0CEF29F-AD69-0E43-342A-9B87F2F60C02}"/>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B3CE10E-3DEF-3797-28AD-A45FD0739AA4}"/>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75631565"/>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7894" y="0"/>
            <a:ext cx="12209894" cy="6868066"/>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6" name="Graphic 25">
            <a:extLst>
              <a:ext uri="{FF2B5EF4-FFF2-40B4-BE49-F238E27FC236}">
                <a16:creationId xmlns:a16="http://schemas.microsoft.com/office/drawing/2014/main" id="{D68EE504-0061-C86F-7C4A-E4787ED6DEB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1040" y="713232"/>
            <a:ext cx="1337566" cy="705394"/>
          </a:xfrm>
          <a:prstGeom prst="rect">
            <a:avLst/>
          </a:pr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F8EC1A4-C990-1806-D162-5E0CA8201959}"/>
              </a:ext>
            </a:extLst>
          </p:cNvPr>
          <p:cNvSpPr>
            <a:spLocks noGrp="1"/>
          </p:cNvSpPr>
          <p:nvPr>
            <p:ph type="title"/>
          </p:nvPr>
        </p:nvSpPr>
        <p:spPr>
          <a:xfrm>
            <a:off x="591451" y="2511166"/>
            <a:ext cx="5504550"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65ED941-89EA-A7B1-0F7E-AB2C3A360992}"/>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78499015"/>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lide title 3">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email">
            <a:extLst>
              <a:ext uri="{28A0092B-C50C-407E-A947-70E740481C1C}">
                <a14:useLocalDpi xmlns:a14="http://schemas.microsoft.com/office/drawing/2010/main"/>
              </a:ext>
            </a:extLst>
          </a:blip>
          <a:srcRect l="-537"/>
          <a:stretch>
            <a:fillRect/>
          </a:stretch>
        </p:blipFill>
        <p:spPr>
          <a:xfrm>
            <a:off x="5488599" y="-1"/>
            <a:ext cx="6721295" cy="6704117"/>
          </a:xfrm>
          <a:prstGeom prst="rect">
            <a:avLst/>
          </a:prstGeom>
        </p:spPr>
      </p:pic>
      <p:pic>
        <p:nvPicPr>
          <p:cNvPr id="9" name="Graphic 8">
            <a:extLst>
              <a:ext uri="{FF2B5EF4-FFF2-40B4-BE49-F238E27FC236}">
                <a16:creationId xmlns:a16="http://schemas.microsoft.com/office/drawing/2014/main" id="{E56B8725-F274-0386-69F7-43D4973C88FB}"/>
              </a:ext>
            </a:extLst>
          </p:cNvPr>
          <p:cNvPicPr>
            <a:picLocks noChangeAspect="1"/>
          </p:cNvPicPr>
          <p:nvPr userDrawn="1"/>
        </p:nvPicPr>
        <p:blipFill>
          <a:blip r:embed="rId4">
            <a:extLst>
              <a:ext uri="{96DAC541-7B7A-43D3-8B79-37D633B846F1}">
                <asvg:svgBlip xmlns:asvg="http://schemas.microsoft.com/office/drawing/2016/SVG/main" r:embed="rId5"/>
              </a:ext>
            </a:extLst>
          </a:blip>
          <a:srcRect l="42711"/>
          <a:stretch>
            <a:fillRect/>
          </a:stretch>
        </p:blipFill>
        <p:spPr>
          <a:xfrm>
            <a:off x="553107" y="645732"/>
            <a:ext cx="1187697" cy="787800"/>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90DDCB4A-090E-DB77-E702-EFFDB3D32280}"/>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8599F99-D574-5D55-8723-03233D2B17BF}"/>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10160373"/>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18" name="Graphic 17">
            <a:extLst>
              <a:ext uri="{FF2B5EF4-FFF2-40B4-BE49-F238E27FC236}">
                <a16:creationId xmlns:a16="http://schemas.microsoft.com/office/drawing/2014/main" id="{A34BDEDB-DBBC-A920-0DAA-C092A8054208}"/>
              </a:ext>
            </a:extLst>
          </p:cNvPr>
          <p:cNvPicPr>
            <a:picLocks noChangeAspect="1"/>
          </p:cNvPicPr>
          <p:nvPr userDrawn="1"/>
        </p:nvPicPr>
        <p:blipFill>
          <a:blip r:embed="rId7">
            <a:extLst>
              <a:ext uri="{96DAC541-7B7A-43D3-8B79-37D633B846F1}">
                <asvg:svgBlip xmlns:asvg="http://schemas.microsoft.com/office/drawing/2016/SVG/main" r:embed="rId8"/>
              </a:ext>
            </a:extLst>
          </a:blip>
          <a:srcRect l="42711"/>
          <a:stretch>
            <a:fillRect/>
          </a:stretch>
        </p:blipFill>
        <p:spPr>
          <a:xfrm>
            <a:off x="553107" y="645732"/>
            <a:ext cx="1187697" cy="787800"/>
          </a:xfrm>
          <a:prstGeom prst="rect">
            <a:avLst/>
          </a:pr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9"/>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3C2A488F-B855-8BA1-7EAB-FAFD6264E835}"/>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DC3852C-4431-C777-7E3A-08951A007D72}"/>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989517984"/>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1">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841804CA-5B33-245C-AE53-73C33CB23EE3}"/>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98421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cstate="email">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307047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3">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2" name="Picture 1" descr="A close up of a corner of a paper&#10;&#10;AI-generated content may be incorrect.">
            <a:extLst>
              <a:ext uri="{FF2B5EF4-FFF2-40B4-BE49-F238E27FC236}">
                <a16:creationId xmlns:a16="http://schemas.microsoft.com/office/drawing/2014/main" id="{9D1D243A-BEC8-31C0-957B-7041D1ECEAB7}"/>
              </a:ext>
            </a:extLst>
          </p:cNvPr>
          <p:cNvPicPr>
            <a:picLocks noChangeAspect="1"/>
          </p:cNvPicPr>
          <p:nvPr userDrawn="1"/>
        </p:nvPicPr>
        <p:blipFill>
          <a:blip r:embed="rId4" cstate="email">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39669" t="-3489" r="308" b="5012"/>
          <a:stretch>
            <a:fillRect/>
          </a:stretch>
        </p:blipFill>
        <p:spPr>
          <a:xfrm rot="10800000" flipH="1" flipV="1">
            <a:off x="5931363" y="3132150"/>
            <a:ext cx="6260637" cy="3725849"/>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0" name="Title Placeholder 1">
            <a:extLst>
              <a:ext uri="{FF2B5EF4-FFF2-40B4-BE49-F238E27FC236}">
                <a16:creationId xmlns:a16="http://schemas.microsoft.com/office/drawing/2014/main" id="{A88E3D19-2226-DDC2-A8D5-813993AE86C9}"/>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363270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4">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7894" y="0"/>
            <a:ext cx="12209894" cy="6868066"/>
          </a:xfrm>
          <a:prstGeom prst="rect">
            <a:avLst/>
          </a:prstGeom>
        </p:spPr>
      </p:pic>
      <p:pic>
        <p:nvPicPr>
          <p:cNvPr id="11" name="Picture 10" descr="A blue and orange background&#10;&#10;AI-generated content may be incorrect.">
            <a:extLst>
              <a:ext uri="{FF2B5EF4-FFF2-40B4-BE49-F238E27FC236}">
                <a16:creationId xmlns:a16="http://schemas.microsoft.com/office/drawing/2014/main" id="{051DD8BC-6E15-4478-EACE-6ADFF16CF9E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6858000"/>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0F261CA3-A777-DE33-D141-CA5CC5633FDA}"/>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859453027"/>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5">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email">
            <a:extLst>
              <a:ext uri="{28A0092B-C50C-407E-A947-70E740481C1C}">
                <a14:useLocalDpi xmlns:a14="http://schemas.microsoft.com/office/drawing/2010/main"/>
              </a:ext>
            </a:extLst>
          </a:blip>
          <a:srcRect l="-537"/>
          <a:stretch>
            <a:fillRect/>
          </a:stretch>
        </p:blipFill>
        <p:spPr>
          <a:xfrm>
            <a:off x="5488599" y="-1"/>
            <a:ext cx="6721295" cy="6704117"/>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8291BFD-F619-0250-71BD-ED5F5475E9F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73916682"/>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6">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5" name="Title Placeholder 1">
            <a:extLst>
              <a:ext uri="{FF2B5EF4-FFF2-40B4-BE49-F238E27FC236}">
                <a16:creationId xmlns:a16="http://schemas.microsoft.com/office/drawing/2014/main" id="{ABB3877C-3695-9A63-E3CF-23A2DD86137C}"/>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4923956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title 3">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537"/>
          <a:stretch>
            <a:fillRect/>
          </a:stretch>
        </p:blipFill>
        <p:spPr>
          <a:xfrm>
            <a:off x="5488599" y="-1"/>
            <a:ext cx="6721295" cy="6704117"/>
          </a:xfrm>
          <a:prstGeom prst="rect">
            <a:avLst/>
          </a:prstGeom>
        </p:spPr>
      </p:pic>
      <p:pic>
        <p:nvPicPr>
          <p:cNvPr id="9" name="Graphic 8">
            <a:extLst>
              <a:ext uri="{FF2B5EF4-FFF2-40B4-BE49-F238E27FC236}">
                <a16:creationId xmlns:a16="http://schemas.microsoft.com/office/drawing/2014/main" id="{E56B8725-F274-0386-69F7-43D4973C88FB}"/>
              </a:ext>
            </a:extLst>
          </p:cNvPr>
          <p:cNvPicPr>
            <a:picLocks noChangeAspect="1"/>
          </p:cNvPicPr>
          <p:nvPr userDrawn="1"/>
        </p:nvPicPr>
        <p:blipFill>
          <a:blip r:embed="rId4">
            <a:extLst>
              <a:ext uri="{96DAC541-7B7A-43D3-8B79-37D633B846F1}">
                <asvg:svgBlip xmlns:asvg="http://schemas.microsoft.com/office/drawing/2016/SVG/main" r:embed="rId5"/>
              </a:ext>
            </a:extLst>
          </a:blip>
          <a:srcRect l="42711"/>
          <a:stretch>
            <a:fillRect/>
          </a:stretch>
        </p:blipFill>
        <p:spPr>
          <a:xfrm>
            <a:off x="553107" y="645732"/>
            <a:ext cx="1187697" cy="787800"/>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90DDCB4A-090E-DB77-E702-EFFDB3D32280}"/>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8599F99-D574-5D55-8723-03233D2B17BF}"/>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314936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84830D14-0F50-91A0-8E6A-E336C41030D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6"/>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618146"/>
            <a:ext cx="5367528"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6" name="Picture 5">
            <a:extLst>
              <a:ext uri="{FF2B5EF4-FFF2-40B4-BE49-F238E27FC236}">
                <a16:creationId xmlns:a16="http://schemas.microsoft.com/office/drawing/2014/main" id="{EA9B12E0-2F4A-3379-ADB3-EBE82CFC317D}"/>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3" name="Title 1">
            <a:extLst>
              <a:ext uri="{FF2B5EF4-FFF2-40B4-BE49-F238E27FC236}">
                <a16:creationId xmlns:a16="http://schemas.microsoft.com/office/drawing/2014/main" id="{74A51CF8-7460-331F-A702-675E514AAA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8568238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4" name="Picture 3" descr="A close up of a corner of a paper&#10;&#10;AI-generated content may be incorrect.">
            <a:extLst>
              <a:ext uri="{FF2B5EF4-FFF2-40B4-BE49-F238E27FC236}">
                <a16:creationId xmlns:a16="http://schemas.microsoft.com/office/drawing/2014/main" id="{738AF8BF-88B4-941B-796C-002169F5D814}"/>
              </a:ext>
            </a:extLst>
          </p:cNvPr>
          <p:cNvPicPr>
            <a:picLocks noChangeAspect="1"/>
          </p:cNvPicPr>
          <p:nvPr userDrawn="1"/>
        </p:nvPicPr>
        <p:blipFill>
          <a:blip r:embed="rId4" cstate="email">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40746" t="4251" r="284" b="4637"/>
          <a:stretch>
            <a:fillRect/>
          </a:stretch>
        </p:blipFill>
        <p:spPr>
          <a:xfrm rot="10800000" flipH="1" flipV="1">
            <a:off x="-4" y="4289179"/>
            <a:ext cx="4267201" cy="2391535"/>
          </a:xfrm>
          <a:prstGeom prst="rect">
            <a:avLst/>
          </a:pr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hasCustomPrompt="1"/>
          </p:nvPr>
        </p:nvSpPr>
        <p:spPr>
          <a:xfrm>
            <a:off x="5178287"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
        <p:nvSpPr>
          <p:cNvPr id="5" name="Text Placeholder 3">
            <a:extLst>
              <a:ext uri="{FF2B5EF4-FFF2-40B4-BE49-F238E27FC236}">
                <a16:creationId xmlns:a16="http://schemas.microsoft.com/office/drawing/2014/main" id="{481F9AB0-2AFF-1686-C6D2-FA4E95E9CF7A}"/>
              </a:ext>
            </a:extLst>
          </p:cNvPr>
          <p:cNvSpPr>
            <a:spLocks noGrp="1"/>
          </p:cNvSpPr>
          <p:nvPr>
            <p:ph idx="10" hasCustomPrompt="1"/>
          </p:nvPr>
        </p:nvSpPr>
        <p:spPr>
          <a:xfrm>
            <a:off x="8873985"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0" name="Text Placeholder 3">
            <a:extLst>
              <a:ext uri="{FF2B5EF4-FFF2-40B4-BE49-F238E27FC236}">
                <a16:creationId xmlns:a16="http://schemas.microsoft.com/office/drawing/2014/main" id="{E521278D-83E6-60F0-DE85-9BBB167AD000}"/>
              </a:ext>
            </a:extLst>
          </p:cNvPr>
          <p:cNvSpPr>
            <a:spLocks noGrp="1"/>
          </p:cNvSpPr>
          <p:nvPr>
            <p:ph idx="11" hasCustomPrompt="1"/>
          </p:nvPr>
        </p:nvSpPr>
        <p:spPr>
          <a:xfrm>
            <a:off x="5178287"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1" name="Text Placeholder 3">
            <a:extLst>
              <a:ext uri="{FF2B5EF4-FFF2-40B4-BE49-F238E27FC236}">
                <a16:creationId xmlns:a16="http://schemas.microsoft.com/office/drawing/2014/main" id="{A21CEE09-B3B0-47A7-6B86-65FF85C6967C}"/>
              </a:ext>
            </a:extLst>
          </p:cNvPr>
          <p:cNvSpPr>
            <a:spLocks noGrp="1"/>
          </p:cNvSpPr>
          <p:nvPr>
            <p:ph idx="12" hasCustomPrompt="1"/>
          </p:nvPr>
        </p:nvSpPr>
        <p:spPr>
          <a:xfrm>
            <a:off x="8873985"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4" name="Text Placeholder 3">
            <a:extLst>
              <a:ext uri="{FF2B5EF4-FFF2-40B4-BE49-F238E27FC236}">
                <a16:creationId xmlns:a16="http://schemas.microsoft.com/office/drawing/2014/main" id="{45337E61-848B-2D2F-C9C0-746F07AA0467}"/>
              </a:ext>
            </a:extLst>
          </p:cNvPr>
          <p:cNvSpPr>
            <a:spLocks noGrp="1"/>
          </p:cNvSpPr>
          <p:nvPr>
            <p:ph idx="13" hasCustomPrompt="1"/>
          </p:nvPr>
        </p:nvSpPr>
        <p:spPr>
          <a:xfrm>
            <a:off x="5178287"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5" name="Text Placeholder 3">
            <a:extLst>
              <a:ext uri="{FF2B5EF4-FFF2-40B4-BE49-F238E27FC236}">
                <a16:creationId xmlns:a16="http://schemas.microsoft.com/office/drawing/2014/main" id="{C23AA298-3C87-59E0-54D9-D70EB4EF262F}"/>
              </a:ext>
            </a:extLst>
          </p:cNvPr>
          <p:cNvSpPr>
            <a:spLocks noGrp="1"/>
          </p:cNvSpPr>
          <p:nvPr>
            <p:ph idx="14" hasCustomPrompt="1"/>
          </p:nvPr>
        </p:nvSpPr>
        <p:spPr>
          <a:xfrm>
            <a:off x="8873985"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Tree>
    <p:extLst>
      <p:ext uri="{BB962C8B-B14F-4D97-AF65-F5344CB8AC3E}">
        <p14:creationId xmlns:p14="http://schemas.microsoft.com/office/powerpoint/2010/main" val="4139090189"/>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7" name="Picture 6" descr="A colorful curved object on a black background&#10;&#10;AI-generated content may be incorrect.">
            <a:extLst>
              <a:ext uri="{FF2B5EF4-FFF2-40B4-BE49-F238E27FC236}">
                <a16:creationId xmlns:a16="http://schemas.microsoft.com/office/drawing/2014/main" id="{0B19AD7D-AD70-629E-3C43-4550DB340BB4}"/>
              </a:ext>
            </a:extLst>
          </p:cNvPr>
          <p:cNvPicPr>
            <a:picLocks noChangeAspect="1"/>
          </p:cNvPicPr>
          <p:nvPr userDrawn="1"/>
        </p:nvPicPr>
        <p:blipFill>
          <a:blip r:embed="rId4" cstate="email">
            <a:extLst>
              <a:ext uri="{28A0092B-C50C-407E-A947-70E740481C1C}">
                <a14:useLocalDpi xmlns:a14="http://schemas.microsoft.com/office/drawing/2010/main"/>
              </a:ext>
            </a:extLst>
          </a:blip>
          <a:srcRect r="-43958"/>
          <a:stretch>
            <a:fillRect/>
          </a:stretch>
        </p:blipFill>
        <p:spPr>
          <a:xfrm rot="14957738">
            <a:off x="-1612069" y="511985"/>
            <a:ext cx="7143866" cy="6393705"/>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8" name="Text Placeholder 3">
            <a:extLst>
              <a:ext uri="{FF2B5EF4-FFF2-40B4-BE49-F238E27FC236}">
                <a16:creationId xmlns:a16="http://schemas.microsoft.com/office/drawing/2014/main" id="{1237AE35-A655-4E3E-2695-F11A2D8F4871}"/>
              </a:ext>
            </a:extLst>
          </p:cNvPr>
          <p:cNvSpPr>
            <a:spLocks noGrp="1"/>
          </p:cNvSpPr>
          <p:nvPr>
            <p:ph idx="1"/>
          </p:nvPr>
        </p:nvSpPr>
        <p:spPr>
          <a:xfrm>
            <a:off x="6091332" y="1441655"/>
            <a:ext cx="5511388" cy="2499146"/>
          </a:xfrm>
          <a:prstGeom prst="rect">
            <a:avLst/>
          </a:prstGeom>
        </p:spPr>
        <p:txBody>
          <a:bodyPr vert="horz" wrap="square" lIns="0" tIns="0" rIns="0" bIns="0" rtlCol="0">
            <a:spAutoFit/>
          </a:bodyPr>
          <a:lstStyle>
            <a:lvl1pPr>
              <a:defRPr sz="2800">
                <a:solidFill>
                  <a:schemeClr val="bg1"/>
                </a:solidFill>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2EDA46B1-A4F7-91DB-14EA-5ACDCE48E9BA}"/>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Tree>
    <p:extLst>
      <p:ext uri="{BB962C8B-B14F-4D97-AF65-F5344CB8AC3E}">
        <p14:creationId xmlns:p14="http://schemas.microsoft.com/office/powerpoint/2010/main" val="288244039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178287" y="605657"/>
            <a:ext cx="6442213" cy="1465016"/>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605657"/>
            <a:ext cx="2482166"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684244287"/>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ackground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872584"/>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ackground 2">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81C1390B-DA6C-0C43-6516-B4F79B35830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1"/>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2D2FB8B6-DDDF-697C-B70D-3ADE6D7DB1E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281373739"/>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ackground 3">
    <p:spTree>
      <p:nvGrpSpPr>
        <p:cNvPr id="1" name=""/>
        <p:cNvGrpSpPr/>
        <p:nvPr/>
      </p:nvGrpSpPr>
      <p:grpSpPr>
        <a:xfrm>
          <a:off x="0" y="0"/>
          <a:ext cx="0" cy="0"/>
          <a:chOff x="0" y="0"/>
          <a:chExt cx="0" cy="0"/>
        </a:xfrm>
      </p:grpSpPr>
      <p:pic>
        <p:nvPicPr>
          <p:cNvPr id="3" name="Picture 2" descr="A blue and red background&#10;&#10;AI-generated content may be incorrect.">
            <a:extLst>
              <a:ext uri="{FF2B5EF4-FFF2-40B4-BE49-F238E27FC236}">
                <a16:creationId xmlns:a16="http://schemas.microsoft.com/office/drawing/2014/main" id="{BBFC8868-BCF8-2EF4-AE9B-8641F358F3F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17832389-BBB4-D415-2E01-214D01BA99EF}"/>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930540842"/>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ackground 4">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E3AEC7EF-E1D3-2298-1DBE-67672CD44B5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1"/>
            <a:ext cx="12201333"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90CC1B2A-918B-0FDA-2DDE-31F074644669}"/>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685377008"/>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ackground 5">
    <p:spTree>
      <p:nvGrpSpPr>
        <p:cNvPr id="1" name=""/>
        <p:cNvGrpSpPr/>
        <p:nvPr/>
      </p:nvGrpSpPr>
      <p:grpSpPr>
        <a:xfrm>
          <a:off x="0" y="0"/>
          <a:ext cx="0" cy="0"/>
          <a:chOff x="0" y="0"/>
          <a:chExt cx="0" cy="0"/>
        </a:xfrm>
      </p:grpSpPr>
      <p:pic>
        <p:nvPicPr>
          <p:cNvPr id="2" name="Picture 1" descr="A blue and black background&#10;&#10;AI-generated content may be incorrect.">
            <a:extLst>
              <a:ext uri="{FF2B5EF4-FFF2-40B4-BE49-F238E27FC236}">
                <a16:creationId xmlns:a16="http://schemas.microsoft.com/office/drawing/2014/main" id="{01333BD5-0115-B424-BB58-BBB0B87C1CE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 y="0"/>
            <a:ext cx="12201331"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itle 1">
            <a:extLst>
              <a:ext uri="{FF2B5EF4-FFF2-40B4-BE49-F238E27FC236}">
                <a16:creationId xmlns:a16="http://schemas.microsoft.com/office/drawing/2014/main" id="{847134EB-8BAD-722F-C9AD-CF4EF682FF56}"/>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17010509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ackground 6">
    <p:spTree>
      <p:nvGrpSpPr>
        <p:cNvPr id="1" name=""/>
        <p:cNvGrpSpPr/>
        <p:nvPr/>
      </p:nvGrpSpPr>
      <p:grpSpPr>
        <a:xfrm>
          <a:off x="0" y="0"/>
          <a:ext cx="0" cy="0"/>
          <a:chOff x="0" y="0"/>
          <a:chExt cx="0" cy="0"/>
        </a:xfrm>
      </p:grpSpPr>
      <p:pic>
        <p:nvPicPr>
          <p:cNvPr id="3" name="Picture 2" descr="A blue background with a light&#10;&#10;AI-generated content may be incorrect.">
            <a:extLst>
              <a:ext uri="{FF2B5EF4-FFF2-40B4-BE49-F238E27FC236}">
                <a16:creationId xmlns:a16="http://schemas.microsoft.com/office/drawing/2014/main" id="{58CC931A-0D2A-512C-EAB0-14D8857A356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32F7015F-B3C8-994E-AF5D-DEDEF171EB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89527501"/>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ackground 7">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15B616D5-ACB3-F40B-E303-B79FE7D1C934}"/>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56370C7-A3D5-E477-12B1-A448861CBE35}"/>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20274819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CB772E2F-77B4-7D2D-FBA0-B04CAA0DD52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5"/>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618145"/>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618145"/>
            <a:ext cx="3474720" cy="3474720"/>
          </a:xfrm>
          <a:prstGeom prst="rect">
            <a:avLst/>
          </a:prstGeom>
          <a:blipFill>
            <a:blip r:embed="rId5"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C6B2DF11-B020-17DD-ECE5-E997AF073F0A}"/>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pic>
        <p:nvPicPr>
          <p:cNvPr id="6" name="Picture 5">
            <a:extLst>
              <a:ext uri="{FF2B5EF4-FFF2-40B4-BE49-F238E27FC236}">
                <a16:creationId xmlns:a16="http://schemas.microsoft.com/office/drawing/2014/main" id="{D91CBE31-E5B4-E569-7834-1EB2C63206A3}"/>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2313571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ackground 7 Blank">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4000700442"/>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Navy Background">
    <p:bg>
      <p:bgPr>
        <a:solidFill>
          <a:srgbClr val="151E47"/>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369711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pic>
        <p:nvPicPr>
          <p:cNvPr id="11" name="Picture 10" descr="A blue background with a light&#10;&#10;AI-generated content may be incorrect.">
            <a:extLst>
              <a:ext uri="{FF2B5EF4-FFF2-40B4-BE49-F238E27FC236}">
                <a16:creationId xmlns:a16="http://schemas.microsoft.com/office/drawing/2014/main" id="{3FC72557-3C59-DB05-F117-34400904D0D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pic>
        <p:nvPicPr>
          <p:cNvPr id="6" name="Picture 5">
            <a:extLst>
              <a:ext uri="{FF2B5EF4-FFF2-40B4-BE49-F238E27FC236}">
                <a16:creationId xmlns:a16="http://schemas.microsoft.com/office/drawing/2014/main" id="{B9EE9B54-C910-AF4F-330A-965CE1B959D5}"/>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0" i="0" spc="0" baseline="0">
                <a:solidFill>
                  <a:schemeClr val="tx1"/>
                </a:solidFill>
                <a:latin typeface="+mn-lt"/>
                <a:cs typeface="Segoe UI" panose="020B0502040204020203" pitchFamily="34" charset="0"/>
              </a:defRPr>
            </a:lvl1pPr>
          </a:lstStyle>
          <a:p>
            <a:pPr lvl="0"/>
            <a:r>
              <a:rPr lang="en-US"/>
              <a:t>Company or position</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4060953"/>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1" i="0" spc="0" baseline="0">
                <a:solidFill>
                  <a:schemeClr val="tx1"/>
                </a:solidFill>
                <a:latin typeface="+mn-lt"/>
                <a:cs typeface="Segoe UI Semibold" panose="020B0502040204020203" pitchFamily="34" charset="0"/>
              </a:defRPr>
            </a:lvl1pPr>
          </a:lstStyle>
          <a:p>
            <a:pPr lvl="0"/>
            <a:r>
              <a:rPr lang="en-US"/>
              <a:t>Name</a:t>
            </a:r>
          </a:p>
        </p:txBody>
      </p:sp>
      <p:pic>
        <p:nvPicPr>
          <p:cNvPr id="7" name="Picture 6" descr="Quotation mark">
            <a:extLst>
              <a:ext uri="{FF2B5EF4-FFF2-40B4-BE49-F238E27FC236}">
                <a16:creationId xmlns:a16="http://schemas.microsoft.com/office/drawing/2014/main" id="{EABB847D-C857-0388-8E19-D6724CB4046B}"/>
              </a:ext>
            </a:extLst>
          </p:cNvPr>
          <p:cNvPicPr>
            <a:picLocks noChangeAspect="1"/>
          </p:cNvPicPr>
          <p:nvPr userDrawn="1"/>
        </p:nvPicPr>
        <p:blipFill>
          <a:blip r:embed="rId4"/>
          <a:stretch>
            <a:fillRect/>
          </a:stretch>
        </p:blipFill>
        <p:spPr>
          <a:xfrm>
            <a:off x="584200" y="1490472"/>
            <a:ext cx="2226687" cy="1938528"/>
          </a:xfrm>
          <a:prstGeom prst="rect">
            <a:avLst/>
          </a:prstGeom>
          <a:noFill/>
        </p:spPr>
      </p:pic>
      <p:sp>
        <p:nvSpPr>
          <p:cNvPr id="3" name="Title 1">
            <a:extLst>
              <a:ext uri="{FF2B5EF4-FFF2-40B4-BE49-F238E27FC236}">
                <a16:creationId xmlns:a16="http://schemas.microsoft.com/office/drawing/2014/main" id="{C62AA90A-06F1-29E3-2ABB-61028BFA1A77}"/>
              </a:ext>
            </a:extLst>
          </p:cNvPr>
          <p:cNvSpPr>
            <a:spLocks noGrp="1"/>
          </p:cNvSpPr>
          <p:nvPr>
            <p:ph type="title"/>
          </p:nvPr>
        </p:nvSpPr>
        <p:spPr>
          <a:xfrm>
            <a:off x="3582416" y="3088260"/>
            <a:ext cx="8025384" cy="498598"/>
          </a:xfrm>
          <a:prstGeom prst="rect">
            <a:avLst/>
          </a:prstGeom>
        </p:spPr>
        <p:txBody>
          <a:bodyPr lIns="0" rIns="0"/>
          <a:lstStyle>
            <a:lvl1pPr marL="0" algn="l" defTabSz="457200" rtl="0" eaLnBrk="1" latinLnBrk="0" hangingPunct="1">
              <a:lnSpc>
                <a:spcPct val="90000"/>
              </a:lnSpc>
              <a:spcBef>
                <a:spcPts val="0"/>
              </a:spcBef>
              <a:buNone/>
              <a:defRPr lang="en-US" sz="3600" b="0" kern="1200" cap="none" spc="0" baseline="0" dirty="0">
                <a:ln>
                  <a:noFill/>
                </a:ln>
                <a:gradFill flip="none" rotWithShape="1">
                  <a:gsLst>
                    <a:gs pos="0">
                      <a:srgbClr val="94D8FE"/>
                    </a:gs>
                    <a:gs pos="100000">
                      <a:prstClr val="white"/>
                    </a:gs>
                  </a:gsLst>
                  <a:lin ang="162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976439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170BB12D-8CE0-A385-EFC8-00809E995063}"/>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5841A6FB-2885-3BFF-70D4-A220E7814E50}"/>
              </a:ext>
            </a:extLst>
          </p:cNvPr>
          <p:cNvSpPr>
            <a:spLocks noGrp="1"/>
          </p:cNvSpPr>
          <p:nvPr>
            <p:ph type="title"/>
          </p:nvPr>
        </p:nvSpPr>
        <p:spPr>
          <a:xfrm>
            <a:off x="588263" y="2090220"/>
            <a:ext cx="5624968" cy="1588127"/>
          </a:xfrm>
          <a:prstGeom prst="rect">
            <a:avLst/>
          </a:prstGeom>
        </p:spPr>
        <p:txBody>
          <a:bodyPr wrap="square" lIns="0" tIns="45720" rIns="0" bIns="45720">
            <a:spAutoFit/>
          </a:bodyPr>
          <a:lstStyle>
            <a:lvl1pPr>
              <a:defRPr lang="en-US" sz="5400" spc="0" baseline="0">
                <a:ln>
                  <a:noFill/>
                </a:ln>
                <a:gradFill flip="none" rotWithShape="1">
                  <a:gsLst>
                    <a:gs pos="0">
                      <a:srgbClr val="94D8FE"/>
                    </a:gs>
                    <a:gs pos="100000">
                      <a:prstClr val="white"/>
                    </a:gs>
                  </a:gsLst>
                  <a:lin ang="16200000" scaled="1"/>
                  <a:tileRect/>
                </a:gradFill>
              </a:defRPr>
            </a:lvl1pPr>
          </a:lstStyle>
          <a:p>
            <a:pPr marL="0" lvl="0" defTabSz="457200">
              <a:lnSpc>
                <a:spcPct val="90000"/>
              </a:lnSpc>
              <a:spcBef>
                <a:spcPts val="0"/>
              </a:spcBef>
            </a:pPr>
            <a:r>
              <a:rPr lang="en-US"/>
              <a:t>Click to edit Master title style</a:t>
            </a:r>
          </a:p>
        </p:txBody>
      </p:sp>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4200" y="4253049"/>
            <a:ext cx="11018520" cy="1138773"/>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2378230"/>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4" name="Rectangle: Rounded Corners 3">
            <a:extLst>
              <a:ext uri="{FF2B5EF4-FFF2-40B4-BE49-F238E27FC236}">
                <a16:creationId xmlns:a16="http://schemas.microsoft.com/office/drawing/2014/main" id="{D0E162CF-D51E-042E-52CB-B4C7AD85FF93}"/>
              </a:ext>
            </a:extLst>
          </p:cNvPr>
          <p:cNvSpPr/>
          <p:nvPr userDrawn="1"/>
        </p:nvSpPr>
        <p:spPr bwMode="auto">
          <a:xfrm rot="16200000" flipH="1">
            <a:off x="3202634" y="-2045346"/>
            <a:ext cx="5786733" cy="11049002"/>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1182813" y="940284"/>
            <a:ext cx="10098100" cy="498598"/>
          </a:xfrm>
          <a:prstGeom prst="rect">
            <a:avLst/>
          </a:prstGeom>
        </p:spPr>
        <p:txBody>
          <a:bodyPr lIns="0" rIns="0"/>
          <a:lstStyle>
            <a:lvl1pPr>
              <a:defRPr spc="0" baseline="0">
                <a:solidFill>
                  <a:schemeClr val="bg1"/>
                </a:solidFill>
              </a:defRPr>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1182813" y="1741480"/>
            <a:ext cx="10098100" cy="1612749"/>
          </a:xfrm>
          <a:prstGeom prst="rect">
            <a:avLst/>
          </a:prstGeom>
        </p:spPr>
        <p:txBody>
          <a:bodyPr vert="horz" wrap="square" lIns="0" tIns="0" rIns="0" bIns="0" rtlCol="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82044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Layout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840B3E2-2543-6A21-CBC3-324EA6159EDA}"/>
              </a:ext>
            </a:extLst>
          </p:cNvPr>
          <p:cNvSpPr/>
          <p:nvPr userDrawn="1"/>
        </p:nvSpPr>
        <p:spPr bwMode="auto">
          <a:xfrm>
            <a:off x="3048" y="0"/>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5" name="Picture 4" descr="A blurry image of a blue and orange sky&#10;&#10;AI-generated content may be incorrect.">
            <a:extLst>
              <a:ext uri="{FF2B5EF4-FFF2-40B4-BE49-F238E27FC236}">
                <a16:creationId xmlns:a16="http://schemas.microsoft.com/office/drawing/2014/main" id="{7ECCAC18-2F4F-C147-45FB-166E499C5522}"/>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a:xfrm rot="10800000" flipV="1">
            <a:off x="3621432" y="1"/>
            <a:ext cx="8567520" cy="6857999"/>
          </a:xfrm>
          <a:prstGeom prst="rect">
            <a:avLst/>
          </a:prstGeom>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4253948" y="2117026"/>
            <a:ext cx="7348772" cy="1465016"/>
          </a:xfrm>
          <a:prstGeom prst="rect">
            <a:avLst/>
          </a:prstGeom>
        </p:spPr>
        <p:txBody>
          <a:bodyPr vert="horz" wrap="square" lIns="0" tIns="0" rIns="0" bIns="0" rtlCol="0">
            <a:spAutoFit/>
          </a:bodyPr>
          <a:lstStyle>
            <a:lvl1pPr marL="0" indent="0">
              <a:buFontTx/>
              <a:buNone/>
              <a:defRPr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2117026"/>
            <a:ext cx="2373598"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070497606"/>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Layout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89DEF3-0942-1417-41F0-756470802144}"/>
              </a:ext>
            </a:extLst>
          </p:cNvPr>
          <p:cNvSpPr/>
          <p:nvPr userDrawn="1"/>
        </p:nvSpPr>
        <p:spPr bwMode="auto">
          <a:xfrm>
            <a:off x="3048" y="0"/>
            <a:ext cx="12188952" cy="6858000"/>
          </a:xfrm>
          <a:prstGeom prst="rect">
            <a:avLst/>
          </a:prstGeom>
          <a:solidFill>
            <a:srgbClr val="151E47"/>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9DDE651D-7217-BBE7-49BC-45969F3319F3}"/>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t="-247"/>
          <a:stretch>
            <a:fillRect/>
          </a:stretch>
        </p:blipFill>
        <p:spPr>
          <a:xfrm flipH="1" flipV="1">
            <a:off x="6096000" y="4492"/>
            <a:ext cx="6095994"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9279"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79" y="1140036"/>
            <a:ext cx="4589008" cy="1297925"/>
          </a:xfrm>
          <a:prstGeom prst="rect">
            <a:avLst/>
          </a:prstGeom>
        </p:spPr>
        <p:txBody>
          <a:bodyPr lIns="0" rIns="0"/>
          <a:lstStyle>
            <a:lvl1pPr>
              <a:defRPr spc="0" baseline="0"/>
            </a:lvl1pPr>
          </a:lstStyle>
          <a:p>
            <a:r>
              <a:rPr lang="en-US"/>
              <a:t>Click to edit Master title style</a:t>
            </a:r>
          </a:p>
        </p:txBody>
      </p:sp>
      <p:sp>
        <p:nvSpPr>
          <p:cNvPr id="7" name="Text Placeholder 3">
            <a:extLst>
              <a:ext uri="{FF2B5EF4-FFF2-40B4-BE49-F238E27FC236}">
                <a16:creationId xmlns:a16="http://schemas.microsoft.com/office/drawing/2014/main" id="{8C2EA7BC-13E3-34AE-5CA1-6EACB20A3A70}"/>
              </a:ext>
            </a:extLst>
          </p:cNvPr>
          <p:cNvSpPr>
            <a:spLocks noGrp="1"/>
          </p:cNvSpPr>
          <p:nvPr>
            <p:ph idx="10"/>
          </p:nvPr>
        </p:nvSpPr>
        <p:spPr>
          <a:xfrm>
            <a:off x="7031492"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9FC8DB7-4630-1E38-B757-DD8B179A530D}"/>
              </a:ext>
            </a:extLst>
          </p:cNvPr>
          <p:cNvSpPr>
            <a:spLocks noGrp="1"/>
          </p:cNvSpPr>
          <p:nvPr>
            <p:ph idx="11" hasCustomPrompt="1"/>
          </p:nvPr>
        </p:nvSpPr>
        <p:spPr>
          <a:xfrm>
            <a:off x="7031492" y="1140036"/>
            <a:ext cx="4589008" cy="1107996"/>
          </a:xfrm>
          <a:prstGeom prst="rect">
            <a:avLst/>
          </a:prstGeom>
        </p:spPr>
        <p:txBody>
          <a:bodyPr vert="horz" wrap="square" lIns="0" tIns="0" rIns="0" bIns="0" rtlCol="0">
            <a:spAutoFit/>
          </a:bodyPr>
          <a:lstStyle>
            <a:lvl1pPr marL="0" indent="0" algn="l" defTabSz="932742" rtl="0" eaLnBrk="1" latinLnBrk="0" hangingPunct="1">
              <a:lnSpc>
                <a:spcPct val="100000"/>
              </a:lnSpc>
              <a:spcBef>
                <a:spcPct val="0"/>
              </a:spcBef>
              <a:buFontTx/>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itle style</a:t>
            </a:r>
          </a:p>
        </p:txBody>
      </p:sp>
    </p:spTree>
    <p:extLst>
      <p:ext uri="{BB962C8B-B14F-4D97-AF65-F5344CB8AC3E}">
        <p14:creationId xmlns:p14="http://schemas.microsoft.com/office/powerpoint/2010/main" val="32596472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86725FD6-88E3-D175-3BB1-C08805073FE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532D0726-123A-C3BC-D902-F43835E657A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4" name="Title 1">
            <a:extLst>
              <a:ext uri="{FF2B5EF4-FFF2-40B4-BE49-F238E27FC236}">
                <a16:creationId xmlns:a16="http://schemas.microsoft.com/office/drawing/2014/main" id="{DEE10654-E662-486A-91E4-A0B519907B3A}"/>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1371134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Four column bullet">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EC0129C9-611E-40C7-935F-FE79CCB43F1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0AF402B5-027B-5EC2-96FF-0F2D2940C8EC}"/>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itle 1">
            <a:extLst>
              <a:ext uri="{FF2B5EF4-FFF2-40B4-BE49-F238E27FC236}">
                <a16:creationId xmlns:a16="http://schemas.microsoft.com/office/drawing/2014/main" id="{E069B642-F814-0105-94A5-568EB275A72B}"/>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6689318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84830D14-0F50-91A0-8E6A-E336C41030D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6"/>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618146"/>
            <a:ext cx="5367528"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6" name="Picture 5">
            <a:extLst>
              <a:ext uri="{FF2B5EF4-FFF2-40B4-BE49-F238E27FC236}">
                <a16:creationId xmlns:a16="http://schemas.microsoft.com/office/drawing/2014/main" id="{EA9B12E0-2F4A-3379-ADB3-EBE82CFC317D}"/>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3" name="Title 1">
            <a:extLst>
              <a:ext uri="{FF2B5EF4-FFF2-40B4-BE49-F238E27FC236}">
                <a16:creationId xmlns:a16="http://schemas.microsoft.com/office/drawing/2014/main" id="{74A51CF8-7460-331F-A702-675E514AAA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0470543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A30EF81F-2C86-F935-8EF6-F64F7E255C36}"/>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bg1"/>
                </a:solidFill>
                <a:latin typeface="+mn-lt"/>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solidFill>
                  <a:schemeClr val="bg1"/>
                </a:solidFill>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Picture 8">
            <a:extLst>
              <a:ext uri="{FF2B5EF4-FFF2-40B4-BE49-F238E27FC236}">
                <a16:creationId xmlns:a16="http://schemas.microsoft.com/office/drawing/2014/main" id="{52D052A6-D7A7-1A83-F3DB-CB85339C32AA}"/>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cxnSp>
        <p:nvCxnSpPr>
          <p:cNvPr id="12" name="Straight Connector 11">
            <a:extLst>
              <a:ext uri="{FF2B5EF4-FFF2-40B4-BE49-F238E27FC236}">
                <a16:creationId xmlns:a16="http://schemas.microsoft.com/office/drawing/2014/main" id="{A07110ED-B1D6-28CC-E2DD-7818577AFE6B}"/>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6CD54E-4D0E-5619-759C-8BCEADCCBCF9}"/>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59043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CB772E2F-77B4-7D2D-FBA0-B04CAA0DD52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5"/>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618145"/>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618145"/>
            <a:ext cx="3474720" cy="3474720"/>
          </a:xfrm>
          <a:prstGeom prst="rect">
            <a:avLst/>
          </a:prstGeom>
          <a:blipFill>
            <a:blip r:embed="rId5"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C6B2DF11-B020-17DD-ECE5-E997AF073F0A}"/>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pic>
        <p:nvPicPr>
          <p:cNvPr id="6" name="Picture 5">
            <a:extLst>
              <a:ext uri="{FF2B5EF4-FFF2-40B4-BE49-F238E27FC236}">
                <a16:creationId xmlns:a16="http://schemas.microsoft.com/office/drawing/2014/main" id="{D91CBE31-E5B4-E569-7834-1EB2C63206A3}"/>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282530012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A30EF81F-2C86-F935-8EF6-F64F7E255C36}"/>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bg1"/>
                </a:solidFill>
                <a:latin typeface="+mn-lt"/>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solidFill>
                  <a:schemeClr val="bg1"/>
                </a:solidFill>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Picture 8">
            <a:extLst>
              <a:ext uri="{FF2B5EF4-FFF2-40B4-BE49-F238E27FC236}">
                <a16:creationId xmlns:a16="http://schemas.microsoft.com/office/drawing/2014/main" id="{52D052A6-D7A7-1A83-F3DB-CB85339C32AA}"/>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cxnSp>
        <p:nvCxnSpPr>
          <p:cNvPr id="12" name="Straight Connector 11">
            <a:extLst>
              <a:ext uri="{FF2B5EF4-FFF2-40B4-BE49-F238E27FC236}">
                <a16:creationId xmlns:a16="http://schemas.microsoft.com/office/drawing/2014/main" id="{A07110ED-B1D6-28CC-E2DD-7818577AFE6B}"/>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6CD54E-4D0E-5619-759C-8BCEADCCBCF9}"/>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1817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cstate="email">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3" name="TextBox 2">
            <a:extLst>
              <a:ext uri="{FF2B5EF4-FFF2-40B4-BE49-F238E27FC236}">
                <a16:creationId xmlns:a16="http://schemas.microsoft.com/office/drawing/2014/main" id="{0F2B7703-B80B-4610-1A72-01F0C5AC4D49}"/>
              </a:ext>
            </a:extLst>
          </p:cNvPr>
          <p:cNvSpPr txBox="1"/>
          <p:nvPr userDrawn="1"/>
        </p:nvSpPr>
        <p:spPr>
          <a:xfrm>
            <a:off x="583953" y="2139416"/>
            <a:ext cx="7331228" cy="2579168"/>
          </a:xfrm>
          <a:prstGeom prst="rect">
            <a:avLst/>
          </a:prstGeom>
          <a:noFill/>
          <a:ln>
            <a:noFill/>
            <a:prstDash/>
          </a:ln>
          <a:effectLst/>
        </p:spPr>
        <p:txBody>
          <a:bodyPr wrap="square" lIns="0" rIns="0">
            <a:spAutoFit/>
          </a:bodyPr>
          <a:lstStyle/>
          <a:p>
            <a:pPr>
              <a:lnSpc>
                <a:spcPct val="80000"/>
              </a:lnSpc>
              <a:spcAft>
                <a:spcPts val="600"/>
              </a:spcAft>
            </a:pP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Thank</a:t>
            </a:r>
            <a:b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b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      you!</a:t>
            </a:r>
          </a:p>
        </p:txBody>
      </p:sp>
    </p:spTree>
    <p:extLst>
      <p:ext uri="{BB962C8B-B14F-4D97-AF65-F5344CB8AC3E}">
        <p14:creationId xmlns:p14="http://schemas.microsoft.com/office/powerpoint/2010/main" val="13369768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ontent slide 1 - ligh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8E53CB7-242F-DE31-5043-E20246F1EB33}"/>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
        <p:nvSpPr>
          <p:cNvPr id="19" name="Title 1">
            <a:extLst>
              <a:ext uri="{FF2B5EF4-FFF2-40B4-BE49-F238E27FC236}">
                <a16:creationId xmlns:a16="http://schemas.microsoft.com/office/drawing/2014/main" id="{72535865-A229-5507-A2C7-11ECB16F392F}"/>
              </a:ext>
            </a:extLst>
          </p:cNvPr>
          <p:cNvSpPr>
            <a:spLocks noGrp="1"/>
          </p:cNvSpPr>
          <p:nvPr>
            <p:ph type="title"/>
          </p:nvPr>
        </p:nvSpPr>
        <p:spPr>
          <a:xfrm>
            <a:off x="588263" y="485481"/>
            <a:ext cx="11018520" cy="498598"/>
          </a:xfrm>
          <a:prstGeom prst="rect">
            <a:avLst/>
          </a:prstGeom>
        </p:spPr>
        <p:txBody>
          <a:bodyPr lIns="0" rIns="0"/>
          <a:lstStyle>
            <a:lvl1pPr>
              <a:defRPr spc="0" baseline="0">
                <a:solidFill>
                  <a:srgbClr val="151E47"/>
                </a:solidFill>
                <a:latin typeface="Segoe Sans Display Semibold" pitchFamily="2" charset="0"/>
                <a:cs typeface="Segoe Sans Display Semibold" pitchFamily="2" charset="0"/>
              </a:defRPr>
            </a:lvl1pPr>
          </a:lstStyle>
          <a:p>
            <a:r>
              <a:rPr lang="en-US"/>
              <a:t>Click to edit Master title style</a:t>
            </a:r>
          </a:p>
        </p:txBody>
      </p:sp>
      <p:sp>
        <p:nvSpPr>
          <p:cNvPr id="21" name="Text Placeholder 3">
            <a:extLst>
              <a:ext uri="{FF2B5EF4-FFF2-40B4-BE49-F238E27FC236}">
                <a16:creationId xmlns:a16="http://schemas.microsoft.com/office/drawing/2014/main" id="{C221563D-9D7D-59D4-15F5-691342AAF2A4}"/>
              </a:ext>
            </a:extLst>
          </p:cNvPr>
          <p:cNvSpPr>
            <a:spLocks noGrp="1"/>
          </p:cNvSpPr>
          <p:nvPr>
            <p:ph idx="1"/>
          </p:nvPr>
        </p:nvSpPr>
        <p:spPr>
          <a:xfrm>
            <a:off x="584200" y="1435503"/>
            <a:ext cx="11018520" cy="1428083"/>
          </a:xfrm>
          <a:prstGeom prst="rect">
            <a:avLst/>
          </a:prstGeom>
        </p:spPr>
        <p:txBody>
          <a:bodyPr vert="horz" wrap="square" lIns="0" tIns="0" rIns="0" bIns="0" rtlCol="0">
            <a:spAutoFit/>
          </a:bodyPr>
          <a:lstStyle>
            <a:lvl1pPr>
              <a:defRPr sz="1600">
                <a:solidFill>
                  <a:srgbClr val="151E47"/>
                </a:solidFill>
              </a:defRPr>
            </a:lvl1pPr>
            <a:lvl2pPr>
              <a:defRPr sz="1600">
                <a:solidFill>
                  <a:srgbClr val="151E47"/>
                </a:solidFill>
              </a:defRPr>
            </a:lvl2pPr>
            <a:lvl3pPr>
              <a:defRPr sz="1600">
                <a:solidFill>
                  <a:srgbClr val="151E47"/>
                </a:solidFill>
              </a:defRPr>
            </a:lvl3pPr>
            <a:lvl4pPr>
              <a:defRPr sz="1600">
                <a:solidFill>
                  <a:srgbClr val="151E47"/>
                </a:solidFill>
              </a:defRPr>
            </a:lvl4pPr>
            <a:lvl5pPr>
              <a:defRPr sz="1600">
                <a:solidFill>
                  <a:srgbClr val="151E4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451659"/>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ntent slide 2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9C099-894E-0D88-9D9C-CE47048BD8A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40972163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 light">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C100DC9-F079-8524-5830-3A36378B22B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29310541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Four column bullet - light">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D947218-CB56-374F-5584-04BA67C1703D}"/>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3204725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wo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86B7CA03-C864-862E-0B28-6FF509BF2D0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15793118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hree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0ECD512D-523B-6987-EBE4-CD6774F2456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91570509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itle and text side by side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tx1"/>
                </a:solidFill>
                <a:latin typeface="Segoe Sans Display "/>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10" name="Straight Connector 9">
            <a:extLst>
              <a:ext uri="{FF2B5EF4-FFF2-40B4-BE49-F238E27FC236}">
                <a16:creationId xmlns:a16="http://schemas.microsoft.com/office/drawing/2014/main" id="{4B7175DD-9188-BAB1-B7F0-9EEC45E7818C}"/>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65809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3" name="TextBox 2">
            <a:extLst>
              <a:ext uri="{FF2B5EF4-FFF2-40B4-BE49-F238E27FC236}">
                <a16:creationId xmlns:a16="http://schemas.microsoft.com/office/drawing/2014/main" id="{0F2B7703-B80B-4610-1A72-01F0C5AC4D49}"/>
              </a:ext>
            </a:extLst>
          </p:cNvPr>
          <p:cNvSpPr txBox="1"/>
          <p:nvPr userDrawn="1"/>
        </p:nvSpPr>
        <p:spPr>
          <a:xfrm>
            <a:off x="583953" y="2139416"/>
            <a:ext cx="7331228" cy="2579168"/>
          </a:xfrm>
          <a:prstGeom prst="rect">
            <a:avLst/>
          </a:prstGeom>
          <a:noFill/>
          <a:ln>
            <a:noFill/>
            <a:prstDash/>
          </a:ln>
          <a:effectLst/>
        </p:spPr>
        <p:txBody>
          <a:bodyPr wrap="square" lIns="0" rIns="0">
            <a:spAutoFit/>
          </a:bodyPr>
          <a:lstStyle/>
          <a:p>
            <a:pPr>
              <a:lnSpc>
                <a:spcPct val="80000"/>
              </a:lnSpc>
              <a:spcAft>
                <a:spcPts val="600"/>
              </a:spcAft>
            </a:pP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Thank</a:t>
            </a:r>
            <a:b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b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      you!</a:t>
            </a:r>
          </a:p>
        </p:txBody>
      </p:sp>
    </p:spTree>
    <p:extLst>
      <p:ext uri="{BB962C8B-B14F-4D97-AF65-F5344CB8AC3E}">
        <p14:creationId xmlns:p14="http://schemas.microsoft.com/office/powerpoint/2010/main" val="273454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1 - ligh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8E53CB7-242F-DE31-5043-E20246F1EB33}"/>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
        <p:nvSpPr>
          <p:cNvPr id="19" name="Title 1">
            <a:extLst>
              <a:ext uri="{FF2B5EF4-FFF2-40B4-BE49-F238E27FC236}">
                <a16:creationId xmlns:a16="http://schemas.microsoft.com/office/drawing/2014/main" id="{72535865-A229-5507-A2C7-11ECB16F392F}"/>
              </a:ext>
            </a:extLst>
          </p:cNvPr>
          <p:cNvSpPr>
            <a:spLocks noGrp="1"/>
          </p:cNvSpPr>
          <p:nvPr>
            <p:ph type="title"/>
          </p:nvPr>
        </p:nvSpPr>
        <p:spPr>
          <a:xfrm>
            <a:off x="588263" y="485481"/>
            <a:ext cx="11018520" cy="498598"/>
          </a:xfrm>
          <a:prstGeom prst="rect">
            <a:avLst/>
          </a:prstGeom>
        </p:spPr>
        <p:txBody>
          <a:bodyPr lIns="0" rIns="0"/>
          <a:lstStyle>
            <a:lvl1pPr>
              <a:defRPr spc="0" baseline="0">
                <a:solidFill>
                  <a:srgbClr val="151E47"/>
                </a:solidFill>
                <a:latin typeface="Segoe Sans Display Semibold" pitchFamily="2" charset="0"/>
                <a:cs typeface="Segoe Sans Display Semibold" pitchFamily="2" charset="0"/>
              </a:defRPr>
            </a:lvl1pPr>
          </a:lstStyle>
          <a:p>
            <a:r>
              <a:rPr lang="en-US"/>
              <a:t>Click to edit Master title style</a:t>
            </a:r>
          </a:p>
        </p:txBody>
      </p:sp>
      <p:sp>
        <p:nvSpPr>
          <p:cNvPr id="21" name="Text Placeholder 3">
            <a:extLst>
              <a:ext uri="{FF2B5EF4-FFF2-40B4-BE49-F238E27FC236}">
                <a16:creationId xmlns:a16="http://schemas.microsoft.com/office/drawing/2014/main" id="{C221563D-9D7D-59D4-15F5-691342AAF2A4}"/>
              </a:ext>
            </a:extLst>
          </p:cNvPr>
          <p:cNvSpPr>
            <a:spLocks noGrp="1"/>
          </p:cNvSpPr>
          <p:nvPr>
            <p:ph idx="1"/>
          </p:nvPr>
        </p:nvSpPr>
        <p:spPr>
          <a:xfrm>
            <a:off x="584200" y="1435503"/>
            <a:ext cx="11018520" cy="1428083"/>
          </a:xfrm>
          <a:prstGeom prst="rect">
            <a:avLst/>
          </a:prstGeom>
        </p:spPr>
        <p:txBody>
          <a:bodyPr vert="horz" wrap="square" lIns="0" tIns="0" rIns="0" bIns="0" rtlCol="0">
            <a:spAutoFit/>
          </a:bodyPr>
          <a:lstStyle>
            <a:lvl1pPr>
              <a:defRPr sz="1600">
                <a:solidFill>
                  <a:srgbClr val="151E47"/>
                </a:solidFill>
              </a:defRPr>
            </a:lvl1pPr>
            <a:lvl2pPr>
              <a:defRPr sz="1600">
                <a:solidFill>
                  <a:srgbClr val="151E47"/>
                </a:solidFill>
              </a:defRPr>
            </a:lvl2pPr>
            <a:lvl3pPr>
              <a:defRPr sz="1600">
                <a:solidFill>
                  <a:srgbClr val="151E47"/>
                </a:solidFill>
              </a:defRPr>
            </a:lvl3pPr>
            <a:lvl4pPr>
              <a:defRPr sz="1600">
                <a:solidFill>
                  <a:srgbClr val="151E47"/>
                </a:solidFill>
              </a:defRPr>
            </a:lvl4pPr>
            <a:lvl5pPr>
              <a:defRPr sz="1600">
                <a:solidFill>
                  <a:srgbClr val="151E4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10102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2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9C099-894E-0D88-9D9C-CE47048BD8A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4281626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 light">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C100DC9-F079-8524-5830-3A36378B22B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6762421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column bullet - light">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D947218-CB56-374F-5584-04BA67C1703D}"/>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0452656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86B7CA03-C864-862E-0B28-6FF509BF2D0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6319485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0ECD512D-523B-6987-EBE4-CD6774F2456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97676906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18" name="Graphic 17">
            <a:extLst>
              <a:ext uri="{FF2B5EF4-FFF2-40B4-BE49-F238E27FC236}">
                <a16:creationId xmlns:a16="http://schemas.microsoft.com/office/drawing/2014/main" id="{A34BDEDB-DBBC-A920-0DAA-C092A8054208}"/>
              </a:ext>
            </a:extLst>
          </p:cNvPr>
          <p:cNvPicPr>
            <a:picLocks noChangeAspect="1"/>
          </p:cNvPicPr>
          <p:nvPr userDrawn="1"/>
        </p:nvPicPr>
        <p:blipFill>
          <a:blip r:embed="rId7">
            <a:extLst>
              <a:ext uri="{96DAC541-7B7A-43D3-8B79-37D633B846F1}">
                <asvg:svgBlip xmlns:asvg="http://schemas.microsoft.com/office/drawing/2016/SVG/main" r:embed="rId8"/>
              </a:ext>
            </a:extLst>
          </a:blip>
          <a:srcRect l="42711"/>
          <a:stretch>
            <a:fillRect/>
          </a:stretch>
        </p:blipFill>
        <p:spPr>
          <a:xfrm>
            <a:off x="553107" y="645732"/>
            <a:ext cx="1187697" cy="787800"/>
          </a:xfrm>
          <a:prstGeom prst="rect">
            <a:avLst/>
          </a:pr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9"/>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3C2A488F-B855-8BA1-7EAB-FAFD6264E835}"/>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DC3852C-4431-C777-7E3A-08951A007D72}"/>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27778110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text side by side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tx1"/>
                </a:solidFill>
                <a:latin typeface="Segoe Sans Display "/>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10" name="Straight Connector 9">
            <a:extLst>
              <a:ext uri="{FF2B5EF4-FFF2-40B4-BE49-F238E27FC236}">
                <a16:creationId xmlns:a16="http://schemas.microsoft.com/office/drawing/2014/main" id="{4B7175DD-9188-BAB1-B7F0-9EEC45E7818C}"/>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2173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221C4E-BBCB-C499-AD1C-971FBC595AF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6B0A2AA-8A12-72D0-DF65-7636E96E37AC}"/>
              </a:ext>
            </a:extLst>
          </p:cNvPr>
          <p:cNvSpPr>
            <a:spLocks noGrp="1"/>
          </p:cNvSpPr>
          <p:nvPr>
            <p:ph type="dt" sz="half" idx="10"/>
          </p:nvPr>
        </p:nvSpPr>
        <p:spPr/>
        <p:txBody>
          <a:bodyPr/>
          <a:lstStyle/>
          <a:p>
            <a:fld id="{D5E52CCD-87A0-48DA-A1F0-73DFE2A08BB6}" type="datetimeFigureOut">
              <a:rPr lang="en-US" smtClean="0"/>
              <a:t>2/10/2026</a:t>
            </a:fld>
            <a:endParaRPr lang="en-US"/>
          </a:p>
        </p:txBody>
      </p:sp>
      <p:sp>
        <p:nvSpPr>
          <p:cNvPr id="4" name="Footer Placeholder 3">
            <a:extLst>
              <a:ext uri="{FF2B5EF4-FFF2-40B4-BE49-F238E27FC236}">
                <a16:creationId xmlns:a16="http://schemas.microsoft.com/office/drawing/2014/main" id="{41B7489B-64B1-701D-95C7-9F684E2AC40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4DD210C-9856-22DE-4769-841CEABB2CDB}"/>
              </a:ext>
            </a:extLst>
          </p:cNvPr>
          <p:cNvSpPr>
            <a:spLocks noGrp="1"/>
          </p:cNvSpPr>
          <p:nvPr>
            <p:ph type="sldNum" sz="quarter" idx="12"/>
          </p:nvPr>
        </p:nvSpPr>
        <p:spPr/>
        <p:txBody>
          <a:bodyPr/>
          <a:lstStyle/>
          <a:p>
            <a:fld id="{C4346CB8-9CA0-4607-8B35-425E708881BF}" type="slidenum">
              <a:rPr lang="en-US" smtClean="0"/>
              <a:t>‹#›</a:t>
            </a:fld>
            <a:endParaRPr lang="en-US"/>
          </a:p>
        </p:txBody>
      </p:sp>
    </p:spTree>
    <p:extLst>
      <p:ext uri="{BB962C8B-B14F-4D97-AF65-F5344CB8AC3E}">
        <p14:creationId xmlns:p14="http://schemas.microsoft.com/office/powerpoint/2010/main" val="31483886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4092842"/>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0997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userDrawn="1"/>
        </p:nvGrpSpPr>
        <p:grpSpPr>
          <a:xfrm>
            <a:off x="0" y="0"/>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r:embed="rId2">
                <a:alphaModFix amt="10000"/>
                <a:extLst>
                  <a:ext uri="{96DAC541-7B7A-43D3-8B79-37D633B846F1}">
                    <asvg:svgBlip xmlns:asvg="http://schemas.microsoft.com/office/drawing/2016/SVG/main" r:embed="rId3"/>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61665"/>
          </a:xfrm>
        </p:spPr>
        <p:txBody>
          <a:bodyPr vert="horz" wrap="square" lIns="0" tIns="0" rIns="0" bIns="0" rtlCol="0" anchor="t">
            <a:spAutoFit/>
          </a:bodyPr>
          <a:lstStyle>
            <a:lvl1pPr>
              <a:defRPr lang="en-US" sz="3000" dirty="0">
                <a:gradFill flip="none" rotWithShape="1">
                  <a:gsLst>
                    <a:gs pos="0">
                      <a:srgbClr val="FF5C39"/>
                    </a:gs>
                    <a:gs pos="25000">
                      <a:srgbClr val="F4364C"/>
                    </a:gs>
                    <a:gs pos="75000">
                      <a:srgbClr val="0078D4"/>
                    </a:gs>
                    <a:gs pos="50000">
                      <a:srgbClr val="C03BC4"/>
                    </a:gs>
                    <a:gs pos="100000">
                      <a:srgbClr val="14938C"/>
                    </a:gs>
                  </a:gsLst>
                  <a:lin ang="0" scaled="1"/>
                  <a:tileRect/>
                </a:gradFill>
              </a:defRPr>
            </a:lvl1pPr>
          </a:lstStyle>
          <a:p>
            <a:pPr marL="0" lvl="0"/>
            <a:endParaRPr lang="en-US"/>
          </a:p>
        </p:txBody>
      </p:sp>
      <p:sp>
        <p:nvSpPr>
          <p:cNvPr id="3" name="Footer Placeholder 4">
            <a:extLst>
              <a:ext uri="{FF2B5EF4-FFF2-40B4-BE49-F238E27FC236}">
                <a16:creationId xmlns:a16="http://schemas.microsoft.com/office/drawing/2014/main" id="{C8B1B4F8-04B3-79C3-FF88-DB6DFA1461B6}"/>
              </a:ext>
            </a:extLst>
          </p:cNvPr>
          <p:cNvSpPr>
            <a:spLocks noGrp="1"/>
          </p:cNvSpPr>
          <p:nvPr>
            <p:ph type="ftr" sz="quarter" idx="3"/>
          </p:nvPr>
        </p:nvSpPr>
        <p:spPr>
          <a:xfrm>
            <a:off x="4038600" y="6578957"/>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IN"/>
              <a:t>Microsoft Confidential–Internal Only</a:t>
            </a:r>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1221878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 Square Photo 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1"/>
            <a:ext cx="6892925" cy="430887"/>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5" y="457200"/>
            <a:ext cx="4416425" cy="1107996"/>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4" y="1436689"/>
            <a:ext cx="3470275" cy="2043636"/>
          </a:xfrm>
        </p:spPr>
        <p:txBody>
          <a:bodyPr/>
          <a:lstStyle>
            <a:lvl1pPr marL="0" indent="0">
              <a:buFontTx/>
              <a:buNone/>
              <a:defRPr/>
            </a:lvl1pPr>
            <a:lvl2pPr marL="228594" indent="0">
              <a:buFontTx/>
              <a:buNone/>
              <a:defRPr/>
            </a:lvl2pPr>
            <a:lvl3pPr marL="457189" indent="0">
              <a:buFontTx/>
              <a:buNone/>
              <a:defRPr/>
            </a:lvl3pPr>
            <a:lvl4pPr marL="661971" indent="0">
              <a:buFontTx/>
              <a:buNone/>
              <a:defRPr/>
            </a:lvl4pPr>
            <a:lvl5pPr marL="8556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84122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3">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E5D06C1-503A-D707-5B09-8C96159A7A62}"/>
              </a:ext>
            </a:extLst>
          </p:cNvPr>
          <p:cNvSpPr>
            <a:spLocks noGrp="1"/>
          </p:cNvSpPr>
          <p:nvPr>
            <p:ph type="dt" sz="half" idx="10"/>
          </p:nvPr>
        </p:nvSpPr>
        <p:spPr/>
        <p:txBody>
          <a:bodyPr/>
          <a:lstStyle/>
          <a:p>
            <a:fld id="{D5E52CCD-87A0-48DA-A1F0-73DFE2A08BB6}" type="datetimeFigureOut">
              <a:rPr lang="en-US" smtClean="0"/>
              <a:t>2/10/2026</a:t>
            </a:fld>
            <a:endParaRPr lang="en-US"/>
          </a:p>
        </p:txBody>
      </p:sp>
      <p:sp>
        <p:nvSpPr>
          <p:cNvPr id="3" name="Footer Placeholder 2">
            <a:extLst>
              <a:ext uri="{FF2B5EF4-FFF2-40B4-BE49-F238E27FC236}">
                <a16:creationId xmlns:a16="http://schemas.microsoft.com/office/drawing/2014/main" id="{56B9E856-AFCC-B88E-4C7F-CA4B610430B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B833C97-8DE9-B93A-8011-FD6E08861E69}"/>
              </a:ext>
            </a:extLst>
          </p:cNvPr>
          <p:cNvSpPr>
            <a:spLocks noGrp="1"/>
          </p:cNvSpPr>
          <p:nvPr>
            <p:ph type="sldNum" sz="quarter" idx="12"/>
          </p:nvPr>
        </p:nvSpPr>
        <p:spPr/>
        <p:txBody>
          <a:bodyPr/>
          <a:lstStyle/>
          <a:p>
            <a:fld id="{C4346CB8-9CA0-4607-8B35-425E708881BF}" type="slidenum">
              <a:rPr lang="en-US" smtClean="0"/>
              <a:t>‹#›</a:t>
            </a:fld>
            <a:endParaRPr lang="en-US"/>
          </a:p>
        </p:txBody>
      </p:sp>
    </p:spTree>
    <p:extLst>
      <p:ext uri="{BB962C8B-B14F-4D97-AF65-F5344CB8AC3E}">
        <p14:creationId xmlns:p14="http://schemas.microsoft.com/office/powerpoint/2010/main" val="36329476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6" name="Title 6">
            <a:extLst>
              <a:ext uri="{FF2B5EF4-FFF2-40B4-BE49-F238E27FC236}">
                <a16:creationId xmlns:a16="http://schemas.microsoft.com/office/drawing/2014/main" id="{0990486E-CB2B-FF34-8E7C-59E21B287A7D}"/>
              </a:ext>
            </a:extLst>
          </p:cNvPr>
          <p:cNvSpPr>
            <a:spLocks noGrp="1"/>
          </p:cNvSpPr>
          <p:nvPr>
            <p:ph type="title"/>
          </p:nvPr>
        </p:nvSpPr>
        <p:spPr>
          <a:xfrm>
            <a:off x="588263" y="494585"/>
            <a:ext cx="11018520" cy="430887"/>
          </a:xfrm>
        </p:spPr>
        <p:txBody>
          <a:bodyPr anchor="t" anchorCtr="0"/>
          <a:lstStyle>
            <a:lvl1pPr algn="l" defTabSz="932742" rtl="0" eaLnBrk="1" latinLnBrk="0" hangingPunct="1">
              <a:lnSpc>
                <a:spcPct val="100000"/>
              </a:lnSpc>
              <a:spcBef>
                <a:spcPct val="0"/>
              </a:spcBef>
              <a:buNone/>
              <a:defRPr lang="en-US" sz="2800" b="0" kern="1200" cap="none" spc="0" baseline="0" dirty="0">
                <a:ln w="3175">
                  <a:noFill/>
                </a:ln>
                <a:solidFill>
                  <a:schemeClr val="accent1">
                    <a:lumMod val="75000"/>
                  </a:schemeClr>
                </a:solidFill>
                <a:effectLst/>
                <a:latin typeface="+mj-lt"/>
                <a:ea typeface="+mn-ea"/>
                <a:cs typeface="Segoe UI Semibold" panose="020B0702040204020203" pitchFamily="34" charset="0"/>
              </a:defRPr>
            </a:lvl1pPr>
          </a:lstStyle>
          <a:p>
            <a:r>
              <a:rPr lang="en-US"/>
              <a:t>Click to edit Master title style</a:t>
            </a:r>
          </a:p>
        </p:txBody>
      </p:sp>
      <p:sp>
        <p:nvSpPr>
          <p:cNvPr id="17" name="Text Placeholder 2">
            <a:extLst>
              <a:ext uri="{FF2B5EF4-FFF2-40B4-BE49-F238E27FC236}">
                <a16:creationId xmlns:a16="http://schemas.microsoft.com/office/drawing/2014/main" id="{5C64DD84-9924-77B4-808F-02B81603CB6B}"/>
              </a:ext>
            </a:extLst>
          </p:cNvPr>
          <p:cNvSpPr>
            <a:spLocks noGrp="1"/>
          </p:cNvSpPr>
          <p:nvPr>
            <p:ph type="body" sz="quarter" idx="11"/>
          </p:nvPr>
        </p:nvSpPr>
        <p:spPr>
          <a:xfrm>
            <a:off x="584518" y="1039270"/>
            <a:ext cx="11018520" cy="276999"/>
          </a:xfrm>
        </p:spPr>
        <p:txBody>
          <a:bodyPr/>
          <a:lstStyle>
            <a:lvl1pPr marL="0" indent="0">
              <a:buNone/>
              <a:defRPr sz="1800">
                <a:latin typeface="+mj-lt"/>
              </a:defRPr>
            </a:lvl1pPr>
          </a:lstStyle>
          <a:p>
            <a:pPr lvl="0"/>
            <a:r>
              <a:rPr lang="en-US"/>
              <a:t>Click to edit Master text styles</a:t>
            </a:r>
          </a:p>
        </p:txBody>
      </p:sp>
    </p:spTree>
    <p:extLst>
      <p:ext uri="{BB962C8B-B14F-4D97-AF65-F5344CB8AC3E}">
        <p14:creationId xmlns:p14="http://schemas.microsoft.com/office/powerpoint/2010/main" val="526616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36">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Title 6">
            <a:extLst>
              <a:ext uri="{FF2B5EF4-FFF2-40B4-BE49-F238E27FC236}">
                <a16:creationId xmlns:a16="http://schemas.microsoft.com/office/drawing/2014/main" id="{51C9B6F3-E735-840E-3BE2-D2B3CC818C47}"/>
              </a:ext>
            </a:extLst>
          </p:cNvPr>
          <p:cNvSpPr>
            <a:spLocks noGrp="1"/>
          </p:cNvSpPr>
          <p:nvPr>
            <p:ph type="title"/>
          </p:nvPr>
        </p:nvSpPr>
        <p:spPr>
          <a:xfrm>
            <a:off x="588263" y="580311"/>
            <a:ext cx="11018520" cy="430887"/>
          </a:xfrm>
        </p:spPr>
        <p:txBody>
          <a:bodyPr anchor="t" anchorCtr="0"/>
          <a:lstStyle/>
          <a:p>
            <a:r>
              <a:rPr lang="en-US"/>
              <a:t>Click to edit Master title style</a:t>
            </a:r>
          </a:p>
        </p:txBody>
      </p:sp>
      <p:sp>
        <p:nvSpPr>
          <p:cNvPr id="6" name="Text Placeholder 2">
            <a:extLst>
              <a:ext uri="{FF2B5EF4-FFF2-40B4-BE49-F238E27FC236}">
                <a16:creationId xmlns:a16="http://schemas.microsoft.com/office/drawing/2014/main" id="{DC5275CD-9BC7-D5C8-CFA6-C95A6628B7BE}"/>
              </a:ext>
            </a:extLst>
          </p:cNvPr>
          <p:cNvSpPr>
            <a:spLocks noGrp="1"/>
          </p:cNvSpPr>
          <p:nvPr>
            <p:ph type="body" sz="quarter" idx="11"/>
          </p:nvPr>
        </p:nvSpPr>
        <p:spPr>
          <a:xfrm>
            <a:off x="584518" y="1039270"/>
            <a:ext cx="11018520"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1911835100"/>
      </p:ext>
    </p:extLst>
  </p:cSld>
  <p:clrMapOvr>
    <a:masterClrMapping/>
  </p:clrMapOvr>
  <p:transition>
    <p:fade/>
  </p:transition>
  <p:hf hdr="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4460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1">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841804CA-5B33-245C-AE53-73C33CB23EE3}"/>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790108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CS TDM Intro">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FC6D84C9-F0D0-2E7D-2082-0E0EAA97BC32}"/>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Rectangle: Single Corner Rounded 6">
            <a:extLst>
              <a:ext uri="{FF2B5EF4-FFF2-40B4-BE49-F238E27FC236}">
                <a16:creationId xmlns:a16="http://schemas.microsoft.com/office/drawing/2014/main" id="{14C1DEFF-1CC8-4FA3-1BA4-C46D4165E041}"/>
              </a:ext>
            </a:extLst>
          </p:cNvPr>
          <p:cNvSpPr/>
          <p:nvPr userDrawn="1"/>
        </p:nvSpPr>
        <p:spPr>
          <a:xfrm rot="10800000">
            <a:off x="6925824" y="-3432"/>
            <a:ext cx="5266175" cy="6864864"/>
          </a:xfrm>
          <a:prstGeom prst="round1Rect">
            <a:avLst>
              <a:gd name="adj" fmla="val 30051"/>
            </a:avLst>
          </a:prstGeom>
          <a:solidFill>
            <a:schemeClr val="bg2">
              <a:lumMod val="75000"/>
            </a:schemeClr>
          </a:solidFill>
          <a:ln w="13730" cap="flat">
            <a:noFill/>
            <a:prstDash val="solid"/>
            <a:miter/>
          </a:ln>
          <a:effectLst>
            <a:outerShdw blurRad="990600" dist="38100" algn="l" rotWithShape="0">
              <a:prstClr val="black">
                <a:alpha val="14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1EE70375-B879-2E04-7DE9-267858168E40}"/>
              </a:ext>
            </a:extLst>
          </p:cNvPr>
          <p:cNvGrpSpPr/>
          <p:nvPr userDrawn="1"/>
        </p:nvGrpSpPr>
        <p:grpSpPr>
          <a:xfrm>
            <a:off x="9687834" y="5133271"/>
            <a:ext cx="2504165" cy="1728160"/>
            <a:chOff x="9687834" y="5133271"/>
            <a:chExt cx="2504165" cy="1728160"/>
          </a:xfrm>
        </p:grpSpPr>
        <p:sp>
          <p:nvSpPr>
            <p:cNvPr id="11" name="Rectangle: Single Corner Rounded 10">
              <a:extLst>
                <a:ext uri="{FF2B5EF4-FFF2-40B4-BE49-F238E27FC236}">
                  <a16:creationId xmlns:a16="http://schemas.microsoft.com/office/drawing/2014/main" id="{3E49D4A0-C4CF-0AA5-5EB4-3D4E52E194CA}"/>
                </a:ext>
              </a:extLst>
            </p:cNvPr>
            <p:cNvSpPr/>
            <p:nvPr/>
          </p:nvSpPr>
          <p:spPr>
            <a:xfrm flipH="1">
              <a:off x="9687834" y="5517291"/>
              <a:ext cx="2120144" cy="1344140"/>
            </a:xfrm>
            <a:prstGeom prst="round1Rect">
              <a:avLst>
                <a:gd name="adj" fmla="val 50000"/>
              </a:avLst>
            </a:pr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5">
              <a:extLst>
                <a:ext uri="{FF2B5EF4-FFF2-40B4-BE49-F238E27FC236}">
                  <a16:creationId xmlns:a16="http://schemas.microsoft.com/office/drawing/2014/main" id="{21736647-7677-95A4-E03E-CFB1CE5ED12C}"/>
                </a:ext>
              </a:extLst>
            </p:cNvPr>
            <p:cNvSpPr/>
            <p:nvPr/>
          </p:nvSpPr>
          <p:spPr>
            <a:xfrm>
              <a:off x="11807979" y="5133271"/>
              <a:ext cx="384020" cy="384020"/>
            </a:xfrm>
            <a:custGeom>
              <a:avLst/>
              <a:gdLst>
                <a:gd name="connsiteX0" fmla="*/ 0 w 384020"/>
                <a:gd name="connsiteY0" fmla="*/ 0 h 384020"/>
                <a:gd name="connsiteX1" fmla="*/ 384021 w 384020"/>
                <a:gd name="connsiteY1" fmla="*/ 0 h 384020"/>
                <a:gd name="connsiteX2" fmla="*/ 384021 w 384020"/>
                <a:gd name="connsiteY2" fmla="*/ 384021 h 384020"/>
                <a:gd name="connsiteX3" fmla="*/ 0 w 384020"/>
                <a:gd name="connsiteY3" fmla="*/ 384021 h 384020"/>
              </a:gdLst>
              <a:ahLst/>
              <a:cxnLst>
                <a:cxn ang="0">
                  <a:pos x="connsiteX0" y="connsiteY0"/>
                </a:cxn>
                <a:cxn ang="0">
                  <a:pos x="connsiteX1" y="connsiteY1"/>
                </a:cxn>
                <a:cxn ang="0">
                  <a:pos x="connsiteX2" y="connsiteY2"/>
                </a:cxn>
                <a:cxn ang="0">
                  <a:pos x="connsiteX3" y="connsiteY3"/>
                </a:cxn>
              </a:cxnLst>
              <a:rect l="l" t="t" r="r" b="b"/>
              <a:pathLst>
                <a:path w="384020" h="384020">
                  <a:moveTo>
                    <a:pt x="0" y="0"/>
                  </a:moveTo>
                  <a:lnTo>
                    <a:pt x="384021" y="0"/>
                  </a:lnTo>
                  <a:lnTo>
                    <a:pt x="384021" y="384021"/>
                  </a:lnTo>
                  <a:lnTo>
                    <a:pt x="0" y="384021"/>
                  </a:lnTo>
                  <a:close/>
                </a:path>
              </a:pathLst>
            </a:cu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746C5367-4BDF-E244-6A42-C9CC3CDE3E7B}"/>
              </a:ext>
            </a:extLst>
          </p:cNvPr>
          <p:cNvGrpSpPr/>
          <p:nvPr userDrawn="1"/>
        </p:nvGrpSpPr>
        <p:grpSpPr>
          <a:xfrm>
            <a:off x="7795920" y="4037990"/>
            <a:ext cx="1891914" cy="1010359"/>
            <a:chOff x="604894" y="4447838"/>
            <a:chExt cx="1891914" cy="1010359"/>
          </a:xfrm>
        </p:grpSpPr>
        <p:sp>
          <p:nvSpPr>
            <p:cNvPr id="14" name="Freeform: Shape 33">
              <a:extLst>
                <a:ext uri="{FF2B5EF4-FFF2-40B4-BE49-F238E27FC236}">
                  <a16:creationId xmlns:a16="http://schemas.microsoft.com/office/drawing/2014/main" id="{E0E3D134-EDDE-C309-761E-7A2931AE5650}"/>
                </a:ext>
              </a:extLst>
            </p:cNvPr>
            <p:cNvSpPr/>
            <p:nvPr/>
          </p:nvSpPr>
          <p:spPr>
            <a:xfrm>
              <a:off x="604894"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34">
              <a:extLst>
                <a:ext uri="{FF2B5EF4-FFF2-40B4-BE49-F238E27FC236}">
                  <a16:creationId xmlns:a16="http://schemas.microsoft.com/office/drawing/2014/main" id="{6A47CC7F-4C9B-37F9-2F89-CCB0E67569F9}"/>
                </a:ext>
              </a:extLst>
            </p:cNvPr>
            <p:cNvSpPr/>
            <p:nvPr/>
          </p:nvSpPr>
          <p:spPr>
            <a:xfrm>
              <a:off x="1045792"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35">
              <a:extLst>
                <a:ext uri="{FF2B5EF4-FFF2-40B4-BE49-F238E27FC236}">
                  <a16:creationId xmlns:a16="http://schemas.microsoft.com/office/drawing/2014/main" id="{ACF1B38E-BE08-FFF5-436A-950B19B40061}"/>
                </a:ext>
              </a:extLst>
            </p:cNvPr>
            <p:cNvSpPr/>
            <p:nvPr/>
          </p:nvSpPr>
          <p:spPr>
            <a:xfrm>
              <a:off x="1486689"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36">
              <a:extLst>
                <a:ext uri="{FF2B5EF4-FFF2-40B4-BE49-F238E27FC236}">
                  <a16:creationId xmlns:a16="http://schemas.microsoft.com/office/drawing/2014/main" id="{ABFC80D3-D60A-0429-7B77-A24B5C3DFA51}"/>
                </a:ext>
              </a:extLst>
            </p:cNvPr>
            <p:cNvSpPr/>
            <p:nvPr/>
          </p:nvSpPr>
          <p:spPr>
            <a:xfrm>
              <a:off x="1927822" y="4447838"/>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39">
              <a:extLst>
                <a:ext uri="{FF2B5EF4-FFF2-40B4-BE49-F238E27FC236}">
                  <a16:creationId xmlns:a16="http://schemas.microsoft.com/office/drawing/2014/main" id="{E7099C2F-C30D-0008-8482-90E4D75B82B0}"/>
                </a:ext>
              </a:extLst>
            </p:cNvPr>
            <p:cNvSpPr/>
            <p:nvPr/>
          </p:nvSpPr>
          <p:spPr>
            <a:xfrm>
              <a:off x="2368484"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40">
              <a:extLst>
                <a:ext uri="{FF2B5EF4-FFF2-40B4-BE49-F238E27FC236}">
                  <a16:creationId xmlns:a16="http://schemas.microsoft.com/office/drawing/2014/main" id="{68B94521-C619-90B6-F6E8-DFDC6F0BF984}"/>
                </a:ext>
              </a:extLst>
            </p:cNvPr>
            <p:cNvSpPr/>
            <p:nvPr/>
          </p:nvSpPr>
          <p:spPr>
            <a:xfrm>
              <a:off x="604894"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42">
              <a:extLst>
                <a:ext uri="{FF2B5EF4-FFF2-40B4-BE49-F238E27FC236}">
                  <a16:creationId xmlns:a16="http://schemas.microsoft.com/office/drawing/2014/main" id="{74DFA832-4B4A-BA2C-2D5C-9745C6C0B317}"/>
                </a:ext>
              </a:extLst>
            </p:cNvPr>
            <p:cNvSpPr/>
            <p:nvPr/>
          </p:nvSpPr>
          <p:spPr>
            <a:xfrm>
              <a:off x="1045792"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43">
              <a:extLst>
                <a:ext uri="{FF2B5EF4-FFF2-40B4-BE49-F238E27FC236}">
                  <a16:creationId xmlns:a16="http://schemas.microsoft.com/office/drawing/2014/main" id="{2DF856A0-94CB-B9FD-C649-F20AF5300CED}"/>
                </a:ext>
              </a:extLst>
            </p:cNvPr>
            <p:cNvSpPr/>
            <p:nvPr/>
          </p:nvSpPr>
          <p:spPr>
            <a:xfrm>
              <a:off x="1486689"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44">
              <a:extLst>
                <a:ext uri="{FF2B5EF4-FFF2-40B4-BE49-F238E27FC236}">
                  <a16:creationId xmlns:a16="http://schemas.microsoft.com/office/drawing/2014/main" id="{DE06AA07-F3BC-B873-A606-C2BD8A9F47AE}"/>
                </a:ext>
              </a:extLst>
            </p:cNvPr>
            <p:cNvSpPr/>
            <p:nvPr/>
          </p:nvSpPr>
          <p:spPr>
            <a:xfrm>
              <a:off x="1927822" y="4888972"/>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45">
              <a:extLst>
                <a:ext uri="{FF2B5EF4-FFF2-40B4-BE49-F238E27FC236}">
                  <a16:creationId xmlns:a16="http://schemas.microsoft.com/office/drawing/2014/main" id="{1456EC0B-C7F1-3E39-DA0A-FF7791984511}"/>
                </a:ext>
              </a:extLst>
            </p:cNvPr>
            <p:cNvSpPr/>
            <p:nvPr/>
          </p:nvSpPr>
          <p:spPr>
            <a:xfrm>
              <a:off x="2368484"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46">
              <a:extLst>
                <a:ext uri="{FF2B5EF4-FFF2-40B4-BE49-F238E27FC236}">
                  <a16:creationId xmlns:a16="http://schemas.microsoft.com/office/drawing/2014/main" id="{1B4DC2E8-3BE0-89E9-13BF-80A2FF208436}"/>
                </a:ext>
              </a:extLst>
            </p:cNvPr>
            <p:cNvSpPr/>
            <p:nvPr/>
          </p:nvSpPr>
          <p:spPr>
            <a:xfrm>
              <a:off x="604894"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47">
              <a:extLst>
                <a:ext uri="{FF2B5EF4-FFF2-40B4-BE49-F238E27FC236}">
                  <a16:creationId xmlns:a16="http://schemas.microsoft.com/office/drawing/2014/main" id="{C15642AC-59F9-C462-7258-FB00902E3114}"/>
                </a:ext>
              </a:extLst>
            </p:cNvPr>
            <p:cNvSpPr/>
            <p:nvPr/>
          </p:nvSpPr>
          <p:spPr>
            <a:xfrm>
              <a:off x="1045792"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48">
              <a:extLst>
                <a:ext uri="{FF2B5EF4-FFF2-40B4-BE49-F238E27FC236}">
                  <a16:creationId xmlns:a16="http://schemas.microsoft.com/office/drawing/2014/main" id="{B21A83EB-4AA9-A21D-52D4-D024CCDB9964}"/>
                </a:ext>
              </a:extLst>
            </p:cNvPr>
            <p:cNvSpPr/>
            <p:nvPr/>
          </p:nvSpPr>
          <p:spPr>
            <a:xfrm>
              <a:off x="1486689"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49">
              <a:extLst>
                <a:ext uri="{FF2B5EF4-FFF2-40B4-BE49-F238E27FC236}">
                  <a16:creationId xmlns:a16="http://schemas.microsoft.com/office/drawing/2014/main" id="{176D7FDF-1F8E-DA92-6B2B-A040AA076321}"/>
                </a:ext>
              </a:extLst>
            </p:cNvPr>
            <p:cNvSpPr/>
            <p:nvPr/>
          </p:nvSpPr>
          <p:spPr>
            <a:xfrm>
              <a:off x="1927822" y="5329869"/>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50">
              <a:extLst>
                <a:ext uri="{FF2B5EF4-FFF2-40B4-BE49-F238E27FC236}">
                  <a16:creationId xmlns:a16="http://schemas.microsoft.com/office/drawing/2014/main" id="{2EEA353D-9DEE-DDFF-8CFD-DAE53A86B0DB}"/>
                </a:ext>
              </a:extLst>
            </p:cNvPr>
            <p:cNvSpPr/>
            <p:nvPr/>
          </p:nvSpPr>
          <p:spPr>
            <a:xfrm>
              <a:off x="2368484"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9" name="Rectangle: Single Corner Rounded 28">
            <a:extLst>
              <a:ext uri="{FF2B5EF4-FFF2-40B4-BE49-F238E27FC236}">
                <a16:creationId xmlns:a16="http://schemas.microsoft.com/office/drawing/2014/main" id="{CD78616E-69AD-9AA7-2097-9EB3C37621F4}"/>
              </a:ext>
            </a:extLst>
          </p:cNvPr>
          <p:cNvSpPr/>
          <p:nvPr userDrawn="1"/>
        </p:nvSpPr>
        <p:spPr>
          <a:xfrm rot="10800000" flipH="1">
            <a:off x="6925823" y="-3435"/>
            <a:ext cx="4882152" cy="2318265"/>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Single Corner Rounded 29">
            <a:extLst>
              <a:ext uri="{FF2B5EF4-FFF2-40B4-BE49-F238E27FC236}">
                <a16:creationId xmlns:a16="http://schemas.microsoft.com/office/drawing/2014/main" id="{1089C2C6-EA1F-2659-9060-91E6A380A8AC}"/>
              </a:ext>
            </a:extLst>
          </p:cNvPr>
          <p:cNvSpPr/>
          <p:nvPr userDrawn="1"/>
        </p:nvSpPr>
        <p:spPr>
          <a:xfrm rot="10800000" flipH="1">
            <a:off x="1" y="1959429"/>
            <a:ext cx="293688" cy="3652320"/>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4" name="Picture 3" descr="A logo on a black background&#10;&#10;AI-generated content may be incorrect.">
            <a:extLst>
              <a:ext uri="{FF2B5EF4-FFF2-40B4-BE49-F238E27FC236}">
                <a16:creationId xmlns:a16="http://schemas.microsoft.com/office/drawing/2014/main" id="{7557D464-9A1C-8C5A-9F8D-5D9E452212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4025" y="451050"/>
            <a:ext cx="1901958" cy="852471"/>
          </a:xfrm>
          <a:prstGeom prst="rect">
            <a:avLst/>
          </a:prstGeom>
        </p:spPr>
      </p:pic>
    </p:spTree>
    <p:extLst>
      <p:ext uri="{BB962C8B-B14F-4D97-AF65-F5344CB8AC3E}">
        <p14:creationId xmlns:p14="http://schemas.microsoft.com/office/powerpoint/2010/main" val="2788936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CS BDM Intro">
    <p:bg>
      <p:bgPr>
        <a:solidFill>
          <a:schemeClr val="bg1"/>
        </a:solidFill>
        <a:effectLst/>
      </p:bgPr>
    </p:bg>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DDCD056A-10C4-2885-BB1F-734FC10D464C}"/>
              </a:ext>
            </a:extLst>
          </p:cNvPr>
          <p:cNvSpPr/>
          <p:nvPr/>
        </p:nvSpPr>
        <p:spPr>
          <a:xfrm>
            <a:off x="7919518" y="1729547"/>
            <a:ext cx="5156975" cy="5134490"/>
          </a:xfrm>
          <a:custGeom>
            <a:avLst/>
            <a:gdLst>
              <a:gd name="connsiteX0" fmla="*/ 5156975 w 5156975"/>
              <a:gd name="connsiteY0" fmla="*/ 785571 h 5134490"/>
              <a:gd name="connsiteX1" fmla="*/ 5156975 w 5156975"/>
              <a:gd name="connsiteY1" fmla="*/ 5134491 h 5134490"/>
              <a:gd name="connsiteX2" fmla="*/ 763069 w 5156975"/>
              <a:gd name="connsiteY2" fmla="*/ 5134491 h 5134490"/>
              <a:gd name="connsiteX3" fmla="*/ 160654 w 5156975"/>
              <a:gd name="connsiteY3" fmla="*/ 4532074 h 5134490"/>
              <a:gd name="connsiteX4" fmla="*/ 160654 w 5156975"/>
              <a:gd name="connsiteY4" fmla="*/ 3756253 h 5134490"/>
              <a:gd name="connsiteX5" fmla="*/ 853071 w 5156975"/>
              <a:gd name="connsiteY5" fmla="*/ 3063984 h 5134490"/>
              <a:gd name="connsiteX6" fmla="*/ 3434334 w 5156975"/>
              <a:gd name="connsiteY6" fmla="*/ 482563 h 5134490"/>
              <a:gd name="connsiteX7" fmla="*/ 3756241 w 5156975"/>
              <a:gd name="connsiteY7" fmla="*/ 160654 h 5134490"/>
              <a:gd name="connsiteX8" fmla="*/ 4532061 w 5156975"/>
              <a:gd name="connsiteY8" fmla="*/ 160654 h 5134490"/>
              <a:gd name="connsiteX9" fmla="*/ 5156975 w 5156975"/>
              <a:gd name="connsiteY9" fmla="*/ 785571 h 513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56975" h="5134490">
                <a:moveTo>
                  <a:pt x="5156975" y="785571"/>
                </a:moveTo>
                <a:lnTo>
                  <a:pt x="5156975" y="5134491"/>
                </a:lnTo>
                <a:lnTo>
                  <a:pt x="763069" y="5134491"/>
                </a:lnTo>
                <a:lnTo>
                  <a:pt x="160654" y="4532074"/>
                </a:lnTo>
                <a:cubicBezTo>
                  <a:pt x="-53551" y="4317868"/>
                  <a:pt x="-53551" y="3970609"/>
                  <a:pt x="160654" y="3756253"/>
                </a:cubicBezTo>
                <a:lnTo>
                  <a:pt x="853071" y="3063984"/>
                </a:lnTo>
                <a:lnTo>
                  <a:pt x="3434334" y="482563"/>
                </a:lnTo>
                <a:lnTo>
                  <a:pt x="3756241" y="160654"/>
                </a:lnTo>
                <a:cubicBezTo>
                  <a:pt x="3970447" y="-53551"/>
                  <a:pt x="4317855" y="-53551"/>
                  <a:pt x="4532061" y="160654"/>
                </a:cubicBezTo>
                <a:lnTo>
                  <a:pt x="5156975" y="785571"/>
                </a:lnTo>
                <a:close/>
              </a:path>
            </a:pathLst>
          </a:custGeom>
          <a:gradFill>
            <a:gsLst>
              <a:gs pos="0">
                <a:schemeClr val="bg2"/>
              </a:gs>
              <a:gs pos="77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2" name="Freeform: Shape 21">
            <a:extLst>
              <a:ext uri="{FF2B5EF4-FFF2-40B4-BE49-F238E27FC236}">
                <a16:creationId xmlns:a16="http://schemas.microsoft.com/office/drawing/2014/main" id="{B4ECF24F-0F5D-BC6B-5106-48717805B5CB}"/>
              </a:ext>
            </a:extLst>
          </p:cNvPr>
          <p:cNvSpPr/>
          <p:nvPr/>
        </p:nvSpPr>
        <p:spPr>
          <a:xfrm>
            <a:off x="9141748" y="0"/>
            <a:ext cx="3934745" cy="2430216"/>
          </a:xfrm>
          <a:custGeom>
            <a:avLst/>
            <a:gdLst>
              <a:gd name="connsiteX0" fmla="*/ 3934746 w 3934745"/>
              <a:gd name="connsiteY0" fmla="*/ 0 h 2430216"/>
              <a:gd name="connsiteX1" fmla="*/ 3934746 w 3934745"/>
              <a:gd name="connsiteY1" fmla="*/ 1380188 h 2430216"/>
              <a:gd name="connsiteX2" fmla="*/ 3367282 w 3934745"/>
              <a:gd name="connsiteY2" fmla="*/ 1947653 h 2430216"/>
              <a:gd name="connsiteX3" fmla="*/ 3045375 w 3934745"/>
              <a:gd name="connsiteY3" fmla="*/ 2269562 h 2430216"/>
              <a:gd name="connsiteX4" fmla="*/ 2269555 w 3934745"/>
              <a:gd name="connsiteY4" fmla="*/ 2269562 h 2430216"/>
              <a:gd name="connsiteX5" fmla="*/ 0 w 3934745"/>
              <a:gd name="connsiteY5" fmla="*/ 0 h 2430216"/>
              <a:gd name="connsiteX6" fmla="*/ 3934746 w 3934745"/>
              <a:gd name="connsiteY6" fmla="*/ 0 h 243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745" h="2430216">
                <a:moveTo>
                  <a:pt x="3934746" y="0"/>
                </a:moveTo>
                <a:lnTo>
                  <a:pt x="3934746" y="1380188"/>
                </a:lnTo>
                <a:lnTo>
                  <a:pt x="3367282" y="1947653"/>
                </a:lnTo>
                <a:lnTo>
                  <a:pt x="3045375" y="2269562"/>
                </a:lnTo>
                <a:cubicBezTo>
                  <a:pt x="2831169" y="2483768"/>
                  <a:pt x="2483761" y="2483768"/>
                  <a:pt x="2269555" y="2269562"/>
                </a:cubicBezTo>
                <a:lnTo>
                  <a:pt x="0" y="0"/>
                </a:lnTo>
                <a:lnTo>
                  <a:pt x="3934746" y="0"/>
                </a:lnTo>
                <a:close/>
              </a:path>
            </a:pathLst>
          </a:custGeom>
          <a:gradFill flip="none" rotWithShape="1">
            <a:gsLst>
              <a:gs pos="0">
                <a:schemeClr val="bg2">
                  <a:lumMod val="60000"/>
                  <a:lumOff val="40000"/>
                </a:schemeClr>
              </a:gs>
              <a:gs pos="73000">
                <a:schemeClr val="bg2">
                  <a:lumMod val="75000"/>
                </a:schemeClr>
              </a:gs>
            </a:gsLst>
            <a:lin ang="7200000" scaled="0"/>
            <a:tileRect/>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19" name="Freeform: Shape 18">
            <a:extLst>
              <a:ext uri="{FF2B5EF4-FFF2-40B4-BE49-F238E27FC236}">
                <a16:creationId xmlns:a16="http://schemas.microsoft.com/office/drawing/2014/main" id="{B47F08FA-B8F4-7F32-9F9A-80F689D50F87}"/>
              </a:ext>
            </a:extLst>
          </p:cNvPr>
          <p:cNvSpPr/>
          <p:nvPr/>
        </p:nvSpPr>
        <p:spPr>
          <a:xfrm>
            <a:off x="5184576" y="0"/>
            <a:ext cx="2360607" cy="1442814"/>
          </a:xfrm>
          <a:custGeom>
            <a:avLst/>
            <a:gdLst>
              <a:gd name="connsiteX0" fmla="*/ 2254180 w 2360607"/>
              <a:gd name="connsiteY0" fmla="*/ 519614 h 1442814"/>
              <a:gd name="connsiteX1" fmla="*/ 1437410 w 2360607"/>
              <a:gd name="connsiteY1" fmla="*/ 1336387 h 1442814"/>
              <a:gd name="connsiteX2" fmla="*/ 923198 w 2360607"/>
              <a:gd name="connsiteY2" fmla="*/ 1336387 h 1442814"/>
              <a:gd name="connsiteX3" fmla="*/ 106428 w 2360607"/>
              <a:gd name="connsiteY3" fmla="*/ 519614 h 1442814"/>
              <a:gd name="connsiteX4" fmla="*/ 106428 w 2360607"/>
              <a:gd name="connsiteY4" fmla="*/ 5550 h 1442814"/>
              <a:gd name="connsiteX5" fmla="*/ 111978 w 2360607"/>
              <a:gd name="connsiteY5" fmla="*/ 0 h 1442814"/>
              <a:gd name="connsiteX6" fmla="*/ 2248630 w 2360607"/>
              <a:gd name="connsiteY6" fmla="*/ 0 h 1442814"/>
              <a:gd name="connsiteX7" fmla="*/ 2254180 w 2360607"/>
              <a:gd name="connsiteY7" fmla="*/ 5550 h 1442814"/>
              <a:gd name="connsiteX8" fmla="*/ 2254180 w 2360607"/>
              <a:gd name="connsiteY8" fmla="*/ 519614 h 144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0607" h="1442814">
                <a:moveTo>
                  <a:pt x="2254180" y="519614"/>
                </a:moveTo>
                <a:lnTo>
                  <a:pt x="1437410" y="1336387"/>
                </a:lnTo>
                <a:cubicBezTo>
                  <a:pt x="1295357" y="1478291"/>
                  <a:pt x="1065251" y="1478291"/>
                  <a:pt x="923198" y="1336387"/>
                </a:cubicBezTo>
                <a:lnTo>
                  <a:pt x="106428" y="519614"/>
                </a:lnTo>
                <a:cubicBezTo>
                  <a:pt x="-35476" y="377560"/>
                  <a:pt x="-35476" y="147454"/>
                  <a:pt x="106428" y="5550"/>
                </a:cubicBezTo>
                <a:lnTo>
                  <a:pt x="111978" y="0"/>
                </a:lnTo>
                <a:lnTo>
                  <a:pt x="2248630" y="0"/>
                </a:lnTo>
                <a:lnTo>
                  <a:pt x="2254180" y="5550"/>
                </a:lnTo>
                <a:cubicBezTo>
                  <a:pt x="2396083" y="147454"/>
                  <a:pt x="2396083" y="377560"/>
                  <a:pt x="2254180" y="519614"/>
                </a:cubicBezTo>
                <a:close/>
              </a:path>
            </a:pathLst>
          </a:custGeom>
          <a:gradFill>
            <a:gsLst>
              <a:gs pos="8000">
                <a:schemeClr val="bg2">
                  <a:lumMod val="60000"/>
                  <a:lumOff val="40000"/>
                </a:schemeClr>
              </a:gs>
              <a:gs pos="100000">
                <a:schemeClr val="bg2">
                  <a:lumMod val="75000"/>
                </a:schemeClr>
              </a:gs>
            </a:gsLst>
            <a:lin ang="18939382" scaled="1"/>
          </a:gradFill>
          <a:ln w="13581"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BF66CDED-93F7-4B57-BDB9-33C706A83F5E}"/>
              </a:ext>
            </a:extLst>
          </p:cNvPr>
          <p:cNvSpPr/>
          <p:nvPr/>
        </p:nvSpPr>
        <p:spPr>
          <a:xfrm rot="2700000">
            <a:off x="6791395" y="1394362"/>
            <a:ext cx="2688966" cy="2688974"/>
          </a:xfrm>
          <a:custGeom>
            <a:avLst/>
            <a:gdLst>
              <a:gd name="connsiteX0" fmla="*/ 2214955 w 2688966"/>
              <a:gd name="connsiteY0" fmla="*/ 0 h 2688974"/>
              <a:gd name="connsiteX1" fmla="*/ 2688966 w 2688966"/>
              <a:gd name="connsiteY1" fmla="*/ 474013 h 2688974"/>
              <a:gd name="connsiteX2" fmla="*/ 2688966 w 2688966"/>
              <a:gd name="connsiteY2" fmla="*/ 2214961 h 2688974"/>
              <a:gd name="connsiteX3" fmla="*/ 2214955 w 2688966"/>
              <a:gd name="connsiteY3" fmla="*/ 2688975 h 2688974"/>
              <a:gd name="connsiteX4" fmla="*/ 474012 w 2688966"/>
              <a:gd name="connsiteY4" fmla="*/ 2688975 h 2688974"/>
              <a:gd name="connsiteX5" fmla="*/ 0 w 2688966"/>
              <a:gd name="connsiteY5" fmla="*/ 2214961 h 2688974"/>
              <a:gd name="connsiteX6" fmla="*/ 0 w 2688966"/>
              <a:gd name="connsiteY6" fmla="*/ 474013 h 2688974"/>
              <a:gd name="connsiteX7" fmla="*/ 474012 w 2688966"/>
              <a:gd name="connsiteY7" fmla="*/ 0 h 2688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8966" h="2688974">
                <a:moveTo>
                  <a:pt x="2214955" y="0"/>
                </a:moveTo>
                <a:cubicBezTo>
                  <a:pt x="2476744" y="0"/>
                  <a:pt x="2688966" y="212223"/>
                  <a:pt x="2688966" y="474013"/>
                </a:cubicBezTo>
                <a:lnTo>
                  <a:pt x="2688966" y="2214961"/>
                </a:lnTo>
                <a:cubicBezTo>
                  <a:pt x="2688966" y="2476752"/>
                  <a:pt x="2476744" y="2688975"/>
                  <a:pt x="2214955" y="2688975"/>
                </a:cubicBezTo>
                <a:lnTo>
                  <a:pt x="474012" y="2688975"/>
                </a:lnTo>
                <a:cubicBezTo>
                  <a:pt x="212222" y="2688975"/>
                  <a:pt x="0" y="2476752"/>
                  <a:pt x="0" y="2214961"/>
                </a:cubicBezTo>
                <a:lnTo>
                  <a:pt x="0" y="474013"/>
                </a:lnTo>
                <a:cubicBezTo>
                  <a:pt x="0" y="212223"/>
                  <a:pt x="212222" y="0"/>
                  <a:pt x="474012" y="0"/>
                </a:cubicBezTo>
                <a:close/>
              </a:path>
            </a:pathLst>
          </a:custGeom>
          <a:gradFill>
            <a:gsLst>
              <a:gs pos="0">
                <a:schemeClr val="bg2"/>
              </a:gs>
              <a:gs pos="77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1" name="Freeform: Shape 20">
            <a:extLst>
              <a:ext uri="{FF2B5EF4-FFF2-40B4-BE49-F238E27FC236}">
                <a16:creationId xmlns:a16="http://schemas.microsoft.com/office/drawing/2014/main" id="{02DAD2B2-A66F-F289-5712-5C7EEAFC9C70}"/>
              </a:ext>
            </a:extLst>
          </p:cNvPr>
          <p:cNvSpPr/>
          <p:nvPr/>
        </p:nvSpPr>
        <p:spPr>
          <a:xfrm>
            <a:off x="7558759" y="0"/>
            <a:ext cx="5517734" cy="6864037"/>
          </a:xfrm>
          <a:custGeom>
            <a:avLst/>
            <a:gdLst>
              <a:gd name="connsiteX0" fmla="*/ 5517734 w 5517734"/>
              <a:gd name="connsiteY0" fmla="*/ 774771 h 6864037"/>
              <a:gd name="connsiteX1" fmla="*/ 5517734 w 5517734"/>
              <a:gd name="connsiteY1" fmla="*/ 5930262 h 6864037"/>
              <a:gd name="connsiteX2" fmla="*/ 4583962 w 5517734"/>
              <a:gd name="connsiteY2" fmla="*/ 6864038 h 6864037"/>
              <a:gd name="connsiteX3" fmla="*/ 3284330 w 5517734"/>
              <a:gd name="connsiteY3" fmla="*/ 6864038 h 6864037"/>
              <a:gd name="connsiteX4" fmla="*/ 160654 w 5517734"/>
              <a:gd name="connsiteY4" fmla="*/ 3740353 h 6864037"/>
              <a:gd name="connsiteX5" fmla="*/ 160654 w 5517734"/>
              <a:gd name="connsiteY5" fmla="*/ 2964681 h 6864037"/>
              <a:gd name="connsiteX6" fmla="*/ 1348233 w 5517734"/>
              <a:gd name="connsiteY6" fmla="*/ 1777249 h 6864037"/>
              <a:gd name="connsiteX7" fmla="*/ 2354157 w 5517734"/>
              <a:gd name="connsiteY7" fmla="*/ 771171 h 6864037"/>
              <a:gd name="connsiteX8" fmla="*/ 3125326 w 5517734"/>
              <a:gd name="connsiteY8" fmla="*/ 0 h 6864037"/>
              <a:gd name="connsiteX9" fmla="*/ 4742965 w 5517734"/>
              <a:gd name="connsiteY9" fmla="*/ 0 h 6864037"/>
              <a:gd name="connsiteX10" fmla="*/ 5517734 w 5517734"/>
              <a:gd name="connsiteY10" fmla="*/ 774771 h 686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17734" h="6864037">
                <a:moveTo>
                  <a:pt x="5517734" y="774771"/>
                </a:moveTo>
                <a:lnTo>
                  <a:pt x="5517734" y="5930262"/>
                </a:lnTo>
                <a:lnTo>
                  <a:pt x="4583962" y="6864038"/>
                </a:lnTo>
                <a:lnTo>
                  <a:pt x="3284330" y="6864038"/>
                </a:lnTo>
                <a:lnTo>
                  <a:pt x="160654" y="3740353"/>
                </a:lnTo>
                <a:cubicBezTo>
                  <a:pt x="-53551" y="3526147"/>
                  <a:pt x="-53551" y="3178887"/>
                  <a:pt x="160654" y="2964681"/>
                </a:cubicBezTo>
                <a:lnTo>
                  <a:pt x="1348233" y="1777249"/>
                </a:lnTo>
                <a:lnTo>
                  <a:pt x="2354157" y="771171"/>
                </a:lnTo>
                <a:lnTo>
                  <a:pt x="3125326" y="0"/>
                </a:lnTo>
                <a:lnTo>
                  <a:pt x="4742965" y="0"/>
                </a:lnTo>
                <a:lnTo>
                  <a:pt x="5517734" y="774771"/>
                </a:lnTo>
                <a:close/>
              </a:path>
            </a:pathLst>
          </a:custGeom>
          <a:solidFill>
            <a:schemeClr val="bg2">
              <a:lumMod val="75000"/>
              <a:alpha val="77000"/>
            </a:schemeClr>
          </a:solidFill>
          <a:ln w="13581" cap="flat">
            <a:noFill/>
            <a:prstDash val="solid"/>
            <a:miter/>
          </a:ln>
        </p:spPr>
        <p:txBody>
          <a:bodyPr rtlCol="0" anchor="ctr"/>
          <a:lstStyle/>
          <a:p>
            <a:endParaRPr lang="en-US"/>
          </a:p>
        </p:txBody>
      </p:sp>
      <p:sp>
        <p:nvSpPr>
          <p:cNvPr id="9" name="Title 1"/>
          <p:cNvSpPr>
            <a:spLocks noGrp="1"/>
          </p:cNvSpPr>
          <p:nvPr>
            <p:ph type="title" hasCustomPrompt="1"/>
          </p:nvPr>
        </p:nvSpPr>
        <p:spPr>
          <a:xfrm>
            <a:off x="604894" y="2183027"/>
            <a:ext cx="5486400" cy="1107996"/>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36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645228"/>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398497"/>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4894" y="597820"/>
            <a:ext cx="3068320" cy="292608"/>
          </a:xfrm>
          <a:prstGeom prst="rect">
            <a:avLst/>
          </a:prstGeom>
        </p:spPr>
      </p:pic>
      <p:sp>
        <p:nvSpPr>
          <p:cNvPr id="18" name="Freeform: Shape 17">
            <a:extLst>
              <a:ext uri="{FF2B5EF4-FFF2-40B4-BE49-F238E27FC236}">
                <a16:creationId xmlns:a16="http://schemas.microsoft.com/office/drawing/2014/main" id="{95FDDF92-0B77-728A-5C5C-41FBCAA3333B}"/>
              </a:ext>
            </a:extLst>
          </p:cNvPr>
          <p:cNvSpPr/>
          <p:nvPr/>
        </p:nvSpPr>
        <p:spPr>
          <a:xfrm>
            <a:off x="6284703" y="0"/>
            <a:ext cx="2859782" cy="2035743"/>
          </a:xfrm>
          <a:custGeom>
            <a:avLst/>
            <a:gdLst>
              <a:gd name="connsiteX0" fmla="*/ 2753242 w 2859782"/>
              <a:gd name="connsiteY0" fmla="*/ 862824 h 2035743"/>
              <a:gd name="connsiteX1" fmla="*/ 2230629 w 2859782"/>
              <a:gd name="connsiteY1" fmla="*/ 1385588 h 2035743"/>
              <a:gd name="connsiteX2" fmla="*/ 1686866 w 2859782"/>
              <a:gd name="connsiteY2" fmla="*/ 1929203 h 2035743"/>
              <a:gd name="connsiteX3" fmla="*/ 1172804 w 2859782"/>
              <a:gd name="connsiteY3" fmla="*/ 1929203 h 2035743"/>
              <a:gd name="connsiteX4" fmla="*/ 881947 w 2859782"/>
              <a:gd name="connsiteY4" fmla="*/ 1638345 h 2035743"/>
              <a:gd name="connsiteX5" fmla="*/ 458636 w 2859782"/>
              <a:gd name="connsiteY5" fmla="*/ 1215033 h 2035743"/>
              <a:gd name="connsiteX6" fmla="*/ 106428 w 2859782"/>
              <a:gd name="connsiteY6" fmla="*/ 862824 h 2035743"/>
              <a:gd name="connsiteX7" fmla="*/ 106428 w 2859782"/>
              <a:gd name="connsiteY7" fmla="*/ 348760 h 2035743"/>
              <a:gd name="connsiteX8" fmla="*/ 455186 w 2859782"/>
              <a:gd name="connsiteY8" fmla="*/ 0 h 2035743"/>
              <a:gd name="connsiteX9" fmla="*/ 2404484 w 2859782"/>
              <a:gd name="connsiteY9" fmla="*/ 0 h 2035743"/>
              <a:gd name="connsiteX10" fmla="*/ 2753242 w 2859782"/>
              <a:gd name="connsiteY10" fmla="*/ 348760 h 2035743"/>
              <a:gd name="connsiteX11" fmla="*/ 2753242 w 2859782"/>
              <a:gd name="connsiteY11" fmla="*/ 862824 h 203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9782" h="2035743">
                <a:moveTo>
                  <a:pt x="2753242" y="862824"/>
                </a:moveTo>
                <a:lnTo>
                  <a:pt x="2230629" y="1385588"/>
                </a:lnTo>
                <a:lnTo>
                  <a:pt x="1686866" y="1929203"/>
                </a:lnTo>
                <a:cubicBezTo>
                  <a:pt x="1544963" y="2071257"/>
                  <a:pt x="1314857" y="2071257"/>
                  <a:pt x="1172804" y="1929203"/>
                </a:cubicBezTo>
                <a:lnTo>
                  <a:pt x="881947" y="1638345"/>
                </a:lnTo>
                <a:lnTo>
                  <a:pt x="458636" y="1215033"/>
                </a:lnTo>
                <a:lnTo>
                  <a:pt x="106428" y="862824"/>
                </a:lnTo>
                <a:cubicBezTo>
                  <a:pt x="-35476" y="720920"/>
                  <a:pt x="-35476" y="490663"/>
                  <a:pt x="106428" y="348760"/>
                </a:cubicBezTo>
                <a:lnTo>
                  <a:pt x="455186" y="0"/>
                </a:lnTo>
                <a:lnTo>
                  <a:pt x="2404484" y="0"/>
                </a:lnTo>
                <a:lnTo>
                  <a:pt x="2753242" y="348760"/>
                </a:lnTo>
                <a:cubicBezTo>
                  <a:pt x="2895295" y="490663"/>
                  <a:pt x="2895295" y="720920"/>
                  <a:pt x="2753242" y="862824"/>
                </a:cubicBezTo>
                <a:close/>
              </a:path>
            </a:pathLst>
          </a:custGeom>
          <a:solidFill>
            <a:schemeClr val="bg2">
              <a:lumMod val="75000"/>
              <a:alpha val="65000"/>
            </a:schemeClr>
          </a:solidFill>
          <a:ln w="13581"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5840501-CDEB-31FF-F328-B6D927D0986E}"/>
              </a:ext>
            </a:extLst>
          </p:cNvPr>
          <p:cNvSpPr/>
          <p:nvPr/>
        </p:nvSpPr>
        <p:spPr>
          <a:xfrm>
            <a:off x="5733027" y="5296795"/>
            <a:ext cx="2049387" cy="1567242"/>
          </a:xfrm>
          <a:custGeom>
            <a:avLst/>
            <a:gdLst>
              <a:gd name="connsiteX0" fmla="*/ 1956235 w 2049387"/>
              <a:gd name="connsiteY0" fmla="*/ 1249384 h 1567242"/>
              <a:gd name="connsiteX1" fmla="*/ 1638377 w 2049387"/>
              <a:gd name="connsiteY1" fmla="*/ 1567243 h 1567242"/>
              <a:gd name="connsiteX2" fmla="*/ 410898 w 2049387"/>
              <a:gd name="connsiteY2" fmla="*/ 1567243 h 1567242"/>
              <a:gd name="connsiteX3" fmla="*/ 93040 w 2049387"/>
              <a:gd name="connsiteY3" fmla="*/ 1249384 h 1567242"/>
              <a:gd name="connsiteX4" fmla="*/ 93040 w 2049387"/>
              <a:gd name="connsiteY4" fmla="*/ 799972 h 1567242"/>
              <a:gd name="connsiteX5" fmla="*/ 799857 w 2049387"/>
              <a:gd name="connsiteY5" fmla="*/ 93153 h 1567242"/>
              <a:gd name="connsiteX6" fmla="*/ 1249418 w 2049387"/>
              <a:gd name="connsiteY6" fmla="*/ 93153 h 1567242"/>
              <a:gd name="connsiteX7" fmla="*/ 1956235 w 2049387"/>
              <a:gd name="connsiteY7" fmla="*/ 799972 h 1567242"/>
              <a:gd name="connsiteX8" fmla="*/ 1956235 w 2049387"/>
              <a:gd name="connsiteY8" fmla="*/ 1249384 h 156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9387" h="1567242">
                <a:moveTo>
                  <a:pt x="1956235" y="1249384"/>
                </a:moveTo>
                <a:lnTo>
                  <a:pt x="1638377" y="1567243"/>
                </a:lnTo>
                <a:lnTo>
                  <a:pt x="410898" y="1567243"/>
                </a:lnTo>
                <a:lnTo>
                  <a:pt x="93040" y="1249384"/>
                </a:lnTo>
                <a:cubicBezTo>
                  <a:pt x="-31013" y="1125331"/>
                  <a:pt x="-31013" y="924025"/>
                  <a:pt x="93040" y="799972"/>
                </a:cubicBezTo>
                <a:lnTo>
                  <a:pt x="799857" y="93153"/>
                </a:lnTo>
                <a:cubicBezTo>
                  <a:pt x="924060" y="-31051"/>
                  <a:pt x="1125215" y="-31051"/>
                  <a:pt x="1249418" y="93153"/>
                </a:cubicBezTo>
                <a:lnTo>
                  <a:pt x="1956235" y="799972"/>
                </a:lnTo>
                <a:cubicBezTo>
                  <a:pt x="2080438" y="924025"/>
                  <a:pt x="2080438" y="1125331"/>
                  <a:pt x="1956235" y="1249384"/>
                </a:cubicBezTo>
                <a:close/>
              </a:path>
            </a:pathLst>
          </a:custGeom>
          <a:gradFill>
            <a:gsLst>
              <a:gs pos="0">
                <a:schemeClr val="bg2">
                  <a:lumMod val="60000"/>
                  <a:lumOff val="40000"/>
                </a:schemeClr>
              </a:gs>
              <a:gs pos="73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4" name="Freeform: Shape 23">
            <a:extLst>
              <a:ext uri="{FF2B5EF4-FFF2-40B4-BE49-F238E27FC236}">
                <a16:creationId xmlns:a16="http://schemas.microsoft.com/office/drawing/2014/main" id="{6EA8DA8A-C033-BA06-400F-C55F459FAF72}"/>
              </a:ext>
            </a:extLst>
          </p:cNvPr>
          <p:cNvSpPr/>
          <p:nvPr/>
        </p:nvSpPr>
        <p:spPr>
          <a:xfrm>
            <a:off x="3673215" y="0"/>
            <a:ext cx="1509186" cy="604104"/>
          </a:xfrm>
          <a:custGeom>
            <a:avLst/>
            <a:gdLst>
              <a:gd name="connsiteX0" fmla="*/ 1509187 w 1509186"/>
              <a:gd name="connsiteY0" fmla="*/ 0 h 604104"/>
              <a:gd name="connsiteX1" fmla="*/ 1011625 w 1509186"/>
              <a:gd name="connsiteY1" fmla="*/ 497564 h 604104"/>
              <a:gd name="connsiteX2" fmla="*/ 497562 w 1509186"/>
              <a:gd name="connsiteY2" fmla="*/ 497564 h 604104"/>
              <a:gd name="connsiteX3" fmla="*/ 0 w 1509186"/>
              <a:gd name="connsiteY3" fmla="*/ 0 h 604104"/>
              <a:gd name="connsiteX4" fmla="*/ 1509187 w 1509186"/>
              <a:gd name="connsiteY4" fmla="*/ 0 h 604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9186" h="604104">
                <a:moveTo>
                  <a:pt x="1509187" y="0"/>
                </a:moveTo>
                <a:lnTo>
                  <a:pt x="1011625" y="497564"/>
                </a:lnTo>
                <a:cubicBezTo>
                  <a:pt x="869721" y="639618"/>
                  <a:pt x="639466" y="639618"/>
                  <a:pt x="497562" y="497564"/>
                </a:cubicBezTo>
                <a:lnTo>
                  <a:pt x="0" y="0"/>
                </a:lnTo>
                <a:lnTo>
                  <a:pt x="1509187" y="0"/>
                </a:lnTo>
                <a:close/>
              </a:path>
            </a:pathLst>
          </a:custGeom>
          <a:gradFill>
            <a:gsLst>
              <a:gs pos="8000">
                <a:schemeClr val="bg2">
                  <a:lumMod val="60000"/>
                  <a:lumOff val="40000"/>
                </a:schemeClr>
              </a:gs>
              <a:gs pos="100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11" name="Rectangle 10">
            <a:extLst>
              <a:ext uri="{FF2B5EF4-FFF2-40B4-BE49-F238E27FC236}">
                <a16:creationId xmlns:a16="http://schemas.microsoft.com/office/drawing/2014/main" id="{350C324E-32D3-1C69-EF84-7E1FC6B3B503}"/>
              </a:ext>
            </a:extLst>
          </p:cNvPr>
          <p:cNvSpPr/>
          <p:nvPr userDrawn="1"/>
        </p:nvSpPr>
        <p:spPr>
          <a:xfrm rot="10800000" flipH="1">
            <a:off x="1" y="2182947"/>
            <a:ext cx="241159" cy="3052244"/>
          </a:xfrm>
          <a:prstGeom prst="rect">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99296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D1878DE7-7CE1-155D-58B8-0E821BFE4D97}"/>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5C3FA7E9-87A6-6D06-563E-16727CB182D1}"/>
              </a:ext>
            </a:extLst>
          </p:cNvPr>
          <p:cNvGrpSpPr/>
          <p:nvPr userDrawn="1"/>
        </p:nvGrpSpPr>
        <p:grpSpPr>
          <a:xfrm>
            <a:off x="3227441" y="1"/>
            <a:ext cx="8964559" cy="6858000"/>
            <a:chOff x="3227441" y="0"/>
            <a:chExt cx="8964559" cy="6915049"/>
          </a:xfrm>
        </p:grpSpPr>
        <p:sp>
          <p:nvSpPr>
            <p:cNvPr id="4" name="Freeform: Shape 15">
              <a:extLst>
                <a:ext uri="{FF2B5EF4-FFF2-40B4-BE49-F238E27FC236}">
                  <a16:creationId xmlns:a16="http://schemas.microsoft.com/office/drawing/2014/main" id="{AD738473-E7DA-B632-CA2B-3E9AD4E339DF}"/>
                </a:ext>
              </a:extLst>
            </p:cNvPr>
            <p:cNvSpPr/>
            <p:nvPr/>
          </p:nvSpPr>
          <p:spPr>
            <a:xfrm flipH="1">
              <a:off x="7434216" y="2145932"/>
              <a:ext cx="4757784" cy="4757604"/>
            </a:xfrm>
            <a:custGeom>
              <a:avLst/>
              <a:gdLst>
                <a:gd name="connsiteX0" fmla="*/ 4757785 w 4757784"/>
                <a:gd name="connsiteY0" fmla="*/ 4757605 h 4757604"/>
                <a:gd name="connsiteX1" fmla="*/ 1673176 w 4757784"/>
                <a:gd name="connsiteY1" fmla="*/ 4757605 h 4757604"/>
                <a:gd name="connsiteX2" fmla="*/ 1115151 w 4757784"/>
                <a:gd name="connsiteY2" fmla="*/ 4199580 h 4757604"/>
                <a:gd name="connsiteX3" fmla="*/ 0 w 4757784"/>
                <a:gd name="connsiteY3" fmla="*/ 3084429 h 4757604"/>
                <a:gd name="connsiteX4" fmla="*/ 0 w 4757784"/>
                <a:gd name="connsiteY4" fmla="*/ 0 h 4757604"/>
                <a:gd name="connsiteX5" fmla="*/ 10434 w 4757784"/>
                <a:gd name="connsiteY5" fmla="*/ 10434 h 4757604"/>
                <a:gd name="connsiteX6" fmla="*/ 90666 w 4757784"/>
                <a:gd name="connsiteY6" fmla="*/ 90486 h 4757604"/>
                <a:gd name="connsiteX7" fmla="*/ 101639 w 4757784"/>
                <a:gd name="connsiteY7" fmla="*/ 101459 h 4757604"/>
                <a:gd name="connsiteX8" fmla="*/ 154167 w 4757784"/>
                <a:gd name="connsiteY8" fmla="*/ 154167 h 4757604"/>
                <a:gd name="connsiteX9" fmla="*/ 165141 w 4757784"/>
                <a:gd name="connsiteY9" fmla="*/ 165141 h 4757604"/>
                <a:gd name="connsiteX10" fmla="*/ 272177 w 4757784"/>
                <a:gd name="connsiteY10" fmla="*/ 272177 h 4757604"/>
                <a:gd name="connsiteX11" fmla="*/ 283150 w 4757784"/>
                <a:gd name="connsiteY11" fmla="*/ 283150 h 4757604"/>
                <a:gd name="connsiteX12" fmla="*/ 453868 w 4757784"/>
                <a:gd name="connsiteY12" fmla="*/ 453868 h 4757604"/>
                <a:gd name="connsiteX13" fmla="*/ 517549 w 4757784"/>
                <a:gd name="connsiteY13" fmla="*/ 517370 h 4757604"/>
                <a:gd name="connsiteX14" fmla="*/ 635559 w 4757784"/>
                <a:gd name="connsiteY14" fmla="*/ 635379 h 4757604"/>
                <a:gd name="connsiteX15" fmla="*/ 699060 w 4757784"/>
                <a:gd name="connsiteY15" fmla="*/ 699060 h 4757604"/>
                <a:gd name="connsiteX16" fmla="*/ 1577473 w 4757784"/>
                <a:gd name="connsiteY16" fmla="*/ 1577473 h 4757604"/>
                <a:gd name="connsiteX17" fmla="*/ 1732900 w 4757784"/>
                <a:gd name="connsiteY17" fmla="*/ 1732720 h 4757604"/>
                <a:gd name="connsiteX18" fmla="*/ 1800180 w 4757784"/>
                <a:gd name="connsiteY18" fmla="*/ 1800180 h 4757604"/>
                <a:gd name="connsiteX19" fmla="*/ 1932940 w 4757784"/>
                <a:gd name="connsiteY19" fmla="*/ 1932940 h 4757604"/>
                <a:gd name="connsiteX20" fmla="*/ 2407675 w 4757784"/>
                <a:gd name="connsiteY20" fmla="*/ 2407675 h 4757604"/>
                <a:gd name="connsiteX21" fmla="*/ 2475135 w 4757784"/>
                <a:gd name="connsiteY21" fmla="*/ 2474955 h 4757604"/>
                <a:gd name="connsiteX22" fmla="*/ 2630381 w 4757784"/>
                <a:gd name="connsiteY22" fmla="*/ 2630201 h 4757604"/>
                <a:gd name="connsiteX23" fmla="*/ 2699460 w 4757784"/>
                <a:gd name="connsiteY23" fmla="*/ 2699460 h 4757604"/>
                <a:gd name="connsiteX24" fmla="*/ 2893923 w 4757784"/>
                <a:gd name="connsiteY24" fmla="*/ 2893923 h 4757604"/>
                <a:gd name="connsiteX25" fmla="*/ 3174735 w 4757784"/>
                <a:gd name="connsiteY25" fmla="*/ 3174555 h 4757604"/>
                <a:gd name="connsiteX26" fmla="*/ 4757785 w 4757784"/>
                <a:gd name="connsiteY26" fmla="*/ 4757605 h 475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57784" h="4757604">
                  <a:moveTo>
                    <a:pt x="4757785" y="4757605"/>
                  </a:moveTo>
                  <a:lnTo>
                    <a:pt x="1673176" y="4757605"/>
                  </a:lnTo>
                  <a:lnTo>
                    <a:pt x="1115151" y="4199580"/>
                  </a:lnTo>
                  <a:lnTo>
                    <a:pt x="0" y="3084429"/>
                  </a:lnTo>
                  <a:lnTo>
                    <a:pt x="0" y="0"/>
                  </a:lnTo>
                  <a:lnTo>
                    <a:pt x="10434" y="10434"/>
                  </a:lnTo>
                  <a:lnTo>
                    <a:pt x="90666" y="90486"/>
                  </a:lnTo>
                  <a:lnTo>
                    <a:pt x="101639" y="101459"/>
                  </a:lnTo>
                  <a:lnTo>
                    <a:pt x="154167" y="154167"/>
                  </a:lnTo>
                  <a:lnTo>
                    <a:pt x="165141" y="165141"/>
                  </a:lnTo>
                  <a:lnTo>
                    <a:pt x="272177" y="272177"/>
                  </a:lnTo>
                  <a:lnTo>
                    <a:pt x="283150" y="283150"/>
                  </a:lnTo>
                  <a:lnTo>
                    <a:pt x="453868" y="453868"/>
                  </a:lnTo>
                  <a:lnTo>
                    <a:pt x="517549" y="517370"/>
                  </a:lnTo>
                  <a:lnTo>
                    <a:pt x="635559" y="635379"/>
                  </a:lnTo>
                  <a:lnTo>
                    <a:pt x="699060" y="699060"/>
                  </a:lnTo>
                  <a:lnTo>
                    <a:pt x="1577473" y="1577473"/>
                  </a:lnTo>
                  <a:lnTo>
                    <a:pt x="1732900" y="1732720"/>
                  </a:lnTo>
                  <a:lnTo>
                    <a:pt x="1800180" y="1800180"/>
                  </a:lnTo>
                  <a:lnTo>
                    <a:pt x="1932940" y="1932940"/>
                  </a:lnTo>
                  <a:lnTo>
                    <a:pt x="2407675" y="2407675"/>
                  </a:lnTo>
                  <a:lnTo>
                    <a:pt x="2475135" y="2474955"/>
                  </a:lnTo>
                  <a:lnTo>
                    <a:pt x="2630381" y="2630201"/>
                  </a:lnTo>
                  <a:lnTo>
                    <a:pt x="2699460" y="2699460"/>
                  </a:lnTo>
                  <a:lnTo>
                    <a:pt x="2893923" y="2893923"/>
                  </a:lnTo>
                  <a:lnTo>
                    <a:pt x="3174735" y="3174555"/>
                  </a:lnTo>
                  <a:lnTo>
                    <a:pt x="4757785" y="4757605"/>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Freeform: Shape 18">
              <a:extLst>
                <a:ext uri="{FF2B5EF4-FFF2-40B4-BE49-F238E27FC236}">
                  <a16:creationId xmlns:a16="http://schemas.microsoft.com/office/drawing/2014/main" id="{105BF785-B0BC-2278-6F39-F349B1E407D6}"/>
                </a:ext>
              </a:extLst>
            </p:cNvPr>
            <p:cNvSpPr/>
            <p:nvPr/>
          </p:nvSpPr>
          <p:spPr>
            <a:xfrm flipH="1">
              <a:off x="7886051" y="0"/>
              <a:ext cx="4305949" cy="5076210"/>
            </a:xfrm>
            <a:custGeom>
              <a:avLst/>
              <a:gdLst>
                <a:gd name="connsiteX0" fmla="*/ 4257325 w 4305949"/>
                <a:gd name="connsiteY0" fmla="*/ 4492264 h 5076210"/>
                <a:gd name="connsiteX1" fmla="*/ 4050809 w 4305949"/>
                <a:gd name="connsiteY1" fmla="*/ 4820927 h 5076210"/>
                <a:gd name="connsiteX2" fmla="*/ 3558804 w 4305949"/>
                <a:gd name="connsiteY2" fmla="*/ 5067379 h 5076210"/>
                <a:gd name="connsiteX3" fmla="*/ 2987647 w 4305949"/>
                <a:gd name="connsiteY3" fmla="*/ 4952967 h 5076210"/>
                <a:gd name="connsiteX4" fmla="*/ 2910473 w 4305949"/>
                <a:gd name="connsiteY4" fmla="*/ 4900979 h 5076210"/>
                <a:gd name="connsiteX5" fmla="*/ 2818369 w 4305949"/>
                <a:gd name="connsiteY5" fmla="*/ 4820927 h 5076210"/>
                <a:gd name="connsiteX6" fmla="*/ 2554107 w 4305949"/>
                <a:gd name="connsiteY6" fmla="*/ 4556665 h 5076210"/>
                <a:gd name="connsiteX7" fmla="*/ 2488447 w 4305949"/>
                <a:gd name="connsiteY7" fmla="*/ 4491005 h 5076210"/>
                <a:gd name="connsiteX8" fmla="*/ 2362162 w 4305949"/>
                <a:gd name="connsiteY8" fmla="*/ 4364721 h 5076210"/>
                <a:gd name="connsiteX9" fmla="*/ 2303158 w 4305949"/>
                <a:gd name="connsiteY9" fmla="*/ 4305716 h 5076210"/>
                <a:gd name="connsiteX10" fmla="*/ 2048251 w 4305949"/>
                <a:gd name="connsiteY10" fmla="*/ 4050809 h 5076210"/>
                <a:gd name="connsiteX11" fmla="*/ 1862782 w 4305949"/>
                <a:gd name="connsiteY11" fmla="*/ 3865340 h 5076210"/>
                <a:gd name="connsiteX12" fmla="*/ 1796942 w 4305949"/>
                <a:gd name="connsiteY12" fmla="*/ 3799500 h 5076210"/>
                <a:gd name="connsiteX13" fmla="*/ 1575495 w 4305949"/>
                <a:gd name="connsiteY13" fmla="*/ 3578053 h 5076210"/>
                <a:gd name="connsiteX14" fmla="*/ 1446872 w 4305949"/>
                <a:gd name="connsiteY14" fmla="*/ 3449430 h 5076210"/>
                <a:gd name="connsiteX15" fmla="*/ 1382111 w 4305949"/>
                <a:gd name="connsiteY15" fmla="*/ 3384669 h 5076210"/>
                <a:gd name="connsiteX16" fmla="*/ 1041215 w 4305949"/>
                <a:gd name="connsiteY16" fmla="*/ 3043773 h 5076210"/>
                <a:gd name="connsiteX17" fmla="*/ 952528 w 4305949"/>
                <a:gd name="connsiteY17" fmla="*/ 2955087 h 5076210"/>
                <a:gd name="connsiteX18" fmla="*/ 888847 w 4305949"/>
                <a:gd name="connsiteY18" fmla="*/ 2891405 h 5076210"/>
                <a:gd name="connsiteX19" fmla="*/ 770837 w 4305949"/>
                <a:gd name="connsiteY19" fmla="*/ 2773396 h 5076210"/>
                <a:gd name="connsiteX20" fmla="*/ 589146 w 4305949"/>
                <a:gd name="connsiteY20" fmla="*/ 2591705 h 5076210"/>
                <a:gd name="connsiteX21" fmla="*/ 525465 w 4305949"/>
                <a:gd name="connsiteY21" fmla="*/ 2528023 h 5076210"/>
                <a:gd name="connsiteX22" fmla="*/ 407455 w 4305949"/>
                <a:gd name="connsiteY22" fmla="*/ 2410014 h 5076210"/>
                <a:gd name="connsiteX23" fmla="*/ 343954 w 4305949"/>
                <a:gd name="connsiteY23" fmla="*/ 2346512 h 5076210"/>
                <a:gd name="connsiteX24" fmla="*/ 225944 w 4305949"/>
                <a:gd name="connsiteY24" fmla="*/ 2228503 h 5076210"/>
                <a:gd name="connsiteX25" fmla="*/ 162263 w 4305949"/>
                <a:gd name="connsiteY25" fmla="*/ 2164821 h 5076210"/>
                <a:gd name="connsiteX26" fmla="*/ 44253 w 4305949"/>
                <a:gd name="connsiteY26" fmla="*/ 2046812 h 5076210"/>
                <a:gd name="connsiteX27" fmla="*/ 0 w 4305949"/>
                <a:gd name="connsiteY27" fmla="*/ 2002558 h 5076210"/>
                <a:gd name="connsiteX28" fmla="*/ 0 w 4305949"/>
                <a:gd name="connsiteY28" fmla="*/ 0 h 5076210"/>
                <a:gd name="connsiteX29" fmla="*/ 462323 w 4305949"/>
                <a:gd name="connsiteY29" fmla="*/ 0 h 5076210"/>
                <a:gd name="connsiteX30" fmla="*/ 2742814 w 4305949"/>
                <a:gd name="connsiteY30" fmla="*/ 2280491 h 5076210"/>
                <a:gd name="connsiteX31" fmla="*/ 3305516 w 4305949"/>
                <a:gd name="connsiteY31" fmla="*/ 2843194 h 5076210"/>
                <a:gd name="connsiteX32" fmla="*/ 3381970 w 4305949"/>
                <a:gd name="connsiteY32" fmla="*/ 2919648 h 5076210"/>
                <a:gd name="connsiteX33" fmla="*/ 4050809 w 4305949"/>
                <a:gd name="connsiteY33" fmla="*/ 3588486 h 5076210"/>
                <a:gd name="connsiteX34" fmla="*/ 4293663 w 4305949"/>
                <a:gd name="connsiteY34" fmla="*/ 4058724 h 5076210"/>
                <a:gd name="connsiteX35" fmla="*/ 4257325 w 4305949"/>
                <a:gd name="connsiteY35" fmla="*/ 4492264 h 507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305949" h="5076210">
                  <a:moveTo>
                    <a:pt x="4257325" y="4492264"/>
                  </a:moveTo>
                  <a:cubicBezTo>
                    <a:pt x="4215590" y="4612252"/>
                    <a:pt x="4146691" y="4725044"/>
                    <a:pt x="4050809" y="4820927"/>
                  </a:cubicBezTo>
                  <a:cubicBezTo>
                    <a:pt x="3912292" y="4959444"/>
                    <a:pt x="3738696" y="5041654"/>
                    <a:pt x="3558804" y="5067379"/>
                  </a:cubicBezTo>
                  <a:cubicBezTo>
                    <a:pt x="3363981" y="5095262"/>
                    <a:pt x="3161603" y="5057125"/>
                    <a:pt x="2987647" y="4952967"/>
                  </a:cubicBezTo>
                  <a:cubicBezTo>
                    <a:pt x="2961203" y="4937317"/>
                    <a:pt x="2935478" y="4919867"/>
                    <a:pt x="2910473" y="4900979"/>
                  </a:cubicBezTo>
                  <a:cubicBezTo>
                    <a:pt x="2878452" y="4876873"/>
                    <a:pt x="2847511" y="4850069"/>
                    <a:pt x="2818369" y="4820927"/>
                  </a:cubicBezTo>
                  <a:lnTo>
                    <a:pt x="2554107" y="4556665"/>
                  </a:lnTo>
                  <a:lnTo>
                    <a:pt x="2488447" y="4491005"/>
                  </a:lnTo>
                  <a:lnTo>
                    <a:pt x="2362162" y="4364721"/>
                  </a:lnTo>
                  <a:lnTo>
                    <a:pt x="2303158" y="4305716"/>
                  </a:lnTo>
                  <a:lnTo>
                    <a:pt x="2048251" y="4050809"/>
                  </a:lnTo>
                  <a:lnTo>
                    <a:pt x="1862782" y="3865340"/>
                  </a:lnTo>
                  <a:lnTo>
                    <a:pt x="1796942" y="3799500"/>
                  </a:lnTo>
                  <a:lnTo>
                    <a:pt x="1575495" y="3578053"/>
                  </a:lnTo>
                  <a:lnTo>
                    <a:pt x="1446872" y="3449430"/>
                  </a:lnTo>
                  <a:lnTo>
                    <a:pt x="1382111" y="3384669"/>
                  </a:lnTo>
                  <a:lnTo>
                    <a:pt x="1041215" y="3043773"/>
                  </a:lnTo>
                  <a:lnTo>
                    <a:pt x="952528" y="2955087"/>
                  </a:lnTo>
                  <a:lnTo>
                    <a:pt x="888847" y="2891405"/>
                  </a:lnTo>
                  <a:lnTo>
                    <a:pt x="770837" y="2773396"/>
                  </a:lnTo>
                  <a:lnTo>
                    <a:pt x="589146" y="2591705"/>
                  </a:lnTo>
                  <a:lnTo>
                    <a:pt x="525465" y="2528023"/>
                  </a:lnTo>
                  <a:lnTo>
                    <a:pt x="407455" y="2410014"/>
                  </a:lnTo>
                  <a:lnTo>
                    <a:pt x="343954" y="2346512"/>
                  </a:lnTo>
                  <a:lnTo>
                    <a:pt x="225944" y="2228503"/>
                  </a:lnTo>
                  <a:lnTo>
                    <a:pt x="162263" y="2164821"/>
                  </a:lnTo>
                  <a:lnTo>
                    <a:pt x="44253" y="2046812"/>
                  </a:lnTo>
                  <a:lnTo>
                    <a:pt x="0" y="2002558"/>
                  </a:lnTo>
                  <a:lnTo>
                    <a:pt x="0" y="0"/>
                  </a:lnTo>
                  <a:lnTo>
                    <a:pt x="462323" y="0"/>
                  </a:lnTo>
                  <a:lnTo>
                    <a:pt x="2742814" y="2280491"/>
                  </a:lnTo>
                  <a:lnTo>
                    <a:pt x="3305516" y="2843194"/>
                  </a:lnTo>
                  <a:lnTo>
                    <a:pt x="3381970" y="2919648"/>
                  </a:lnTo>
                  <a:lnTo>
                    <a:pt x="4050809" y="3588486"/>
                  </a:lnTo>
                  <a:cubicBezTo>
                    <a:pt x="4183749" y="3721426"/>
                    <a:pt x="4264701" y="3886568"/>
                    <a:pt x="4293663" y="4058724"/>
                  </a:cubicBezTo>
                  <a:cubicBezTo>
                    <a:pt x="4318129" y="4203177"/>
                    <a:pt x="4306076" y="4352668"/>
                    <a:pt x="4257325" y="4492264"/>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Shape 19">
              <a:extLst>
                <a:ext uri="{FF2B5EF4-FFF2-40B4-BE49-F238E27FC236}">
                  <a16:creationId xmlns:a16="http://schemas.microsoft.com/office/drawing/2014/main" id="{5C1E4B12-B33D-A109-1ADE-6DFF6349FD88}"/>
                </a:ext>
              </a:extLst>
            </p:cNvPr>
            <p:cNvSpPr/>
            <p:nvPr/>
          </p:nvSpPr>
          <p:spPr>
            <a:xfrm flipH="1">
              <a:off x="3534741" y="0"/>
              <a:ext cx="5191459" cy="3966034"/>
            </a:xfrm>
            <a:custGeom>
              <a:avLst/>
              <a:gdLst>
                <a:gd name="connsiteX0" fmla="*/ 4937677 w 5191459"/>
                <a:gd name="connsiteY0" fmla="*/ 3712252 h 3966034"/>
                <a:gd name="connsiteX1" fmla="*/ 3712252 w 5191459"/>
                <a:gd name="connsiteY1" fmla="*/ 3712252 h 3966034"/>
                <a:gd name="connsiteX2" fmla="*/ 0 w 5191459"/>
                <a:gd name="connsiteY2" fmla="*/ 0 h 3966034"/>
                <a:gd name="connsiteX3" fmla="*/ 2450849 w 5191459"/>
                <a:gd name="connsiteY3" fmla="*/ 0 h 3966034"/>
                <a:gd name="connsiteX4" fmla="*/ 4937677 w 5191459"/>
                <a:gd name="connsiteY4" fmla="*/ 2486828 h 3966034"/>
                <a:gd name="connsiteX5" fmla="*/ 4937677 w 5191459"/>
                <a:gd name="connsiteY5" fmla="*/ 3712252 h 396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1459" h="3966034">
                  <a:moveTo>
                    <a:pt x="4937677" y="3712252"/>
                  </a:moveTo>
                  <a:cubicBezTo>
                    <a:pt x="4599300" y="4050629"/>
                    <a:pt x="4050629" y="4050629"/>
                    <a:pt x="3712252" y="3712252"/>
                  </a:cubicBezTo>
                  <a:lnTo>
                    <a:pt x="0" y="0"/>
                  </a:lnTo>
                  <a:lnTo>
                    <a:pt x="2450849" y="0"/>
                  </a:lnTo>
                  <a:lnTo>
                    <a:pt x="4937677" y="2486828"/>
                  </a:lnTo>
                  <a:cubicBezTo>
                    <a:pt x="5276054" y="2825205"/>
                    <a:pt x="5276054" y="3373875"/>
                    <a:pt x="4937677" y="3712252"/>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20">
              <a:extLst>
                <a:ext uri="{FF2B5EF4-FFF2-40B4-BE49-F238E27FC236}">
                  <a16:creationId xmlns:a16="http://schemas.microsoft.com/office/drawing/2014/main" id="{A1B34098-F15D-2371-8FE1-317D8E18CBF9}"/>
                </a:ext>
              </a:extLst>
            </p:cNvPr>
            <p:cNvSpPr/>
            <p:nvPr/>
          </p:nvSpPr>
          <p:spPr>
            <a:xfrm flipH="1">
              <a:off x="5473618" y="0"/>
              <a:ext cx="2650664" cy="2027158"/>
            </a:xfrm>
            <a:custGeom>
              <a:avLst/>
              <a:gdLst>
                <a:gd name="connsiteX0" fmla="*/ 2521547 w 2650664"/>
                <a:gd name="connsiteY0" fmla="*/ 1898041 h 2027158"/>
                <a:gd name="connsiteX1" fmla="*/ 1898041 w 2650664"/>
                <a:gd name="connsiteY1" fmla="*/ 1898041 h 2027158"/>
                <a:gd name="connsiteX2" fmla="*/ 0 w 2650664"/>
                <a:gd name="connsiteY2" fmla="*/ 0 h 2027158"/>
                <a:gd name="connsiteX3" fmla="*/ 1247012 w 2650664"/>
                <a:gd name="connsiteY3" fmla="*/ 0 h 2027158"/>
                <a:gd name="connsiteX4" fmla="*/ 2521547 w 2650664"/>
                <a:gd name="connsiteY4" fmla="*/ 1274535 h 2027158"/>
                <a:gd name="connsiteX5" fmla="*/ 2521547 w 2650664"/>
                <a:gd name="connsiteY5" fmla="*/ 1898041 h 202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0664" h="2027158">
                  <a:moveTo>
                    <a:pt x="2521547" y="1898041"/>
                  </a:moveTo>
                  <a:cubicBezTo>
                    <a:pt x="2349390" y="2070198"/>
                    <a:pt x="2070198" y="2070198"/>
                    <a:pt x="1898041" y="1898041"/>
                  </a:cubicBezTo>
                  <a:lnTo>
                    <a:pt x="0" y="0"/>
                  </a:lnTo>
                  <a:lnTo>
                    <a:pt x="1247012" y="0"/>
                  </a:lnTo>
                  <a:lnTo>
                    <a:pt x="2521547" y="1274535"/>
                  </a:lnTo>
                  <a:cubicBezTo>
                    <a:pt x="2693703" y="1446692"/>
                    <a:pt x="2693703" y="1725884"/>
                    <a:pt x="2521547" y="1898041"/>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21">
              <a:extLst>
                <a:ext uri="{FF2B5EF4-FFF2-40B4-BE49-F238E27FC236}">
                  <a16:creationId xmlns:a16="http://schemas.microsoft.com/office/drawing/2014/main" id="{62A03ECD-B52A-209E-FC4D-EE886C65EA1E}"/>
                </a:ext>
              </a:extLst>
            </p:cNvPr>
            <p:cNvSpPr/>
            <p:nvPr/>
          </p:nvSpPr>
          <p:spPr>
            <a:xfrm flipH="1">
              <a:off x="4771094" y="0"/>
              <a:ext cx="7420906" cy="6903536"/>
            </a:xfrm>
            <a:custGeom>
              <a:avLst/>
              <a:gdLst>
                <a:gd name="connsiteX0" fmla="*/ 7420906 w 7420906"/>
                <a:gd name="connsiteY0" fmla="*/ 6903537 h 6903536"/>
                <a:gd name="connsiteX1" fmla="*/ 5394962 w 7420906"/>
                <a:gd name="connsiteY1" fmla="*/ 6903537 h 6903536"/>
                <a:gd name="connsiteX2" fmla="*/ 2971097 w 7420906"/>
                <a:gd name="connsiteY2" fmla="*/ 4479672 h 6903536"/>
                <a:gd name="connsiteX3" fmla="*/ 2895183 w 7420906"/>
                <a:gd name="connsiteY3" fmla="*/ 4403757 h 6903536"/>
                <a:gd name="connsiteX4" fmla="*/ 2712232 w 7420906"/>
                <a:gd name="connsiteY4" fmla="*/ 4220807 h 6903536"/>
                <a:gd name="connsiteX5" fmla="*/ 2226884 w 7420906"/>
                <a:gd name="connsiteY5" fmla="*/ 3735458 h 6903536"/>
                <a:gd name="connsiteX6" fmla="*/ 2132980 w 7420906"/>
                <a:gd name="connsiteY6" fmla="*/ 3641554 h 6903536"/>
                <a:gd name="connsiteX7" fmla="*/ 1950030 w 7420906"/>
                <a:gd name="connsiteY7" fmla="*/ 3458604 h 6903536"/>
                <a:gd name="connsiteX8" fmla="*/ 1667239 w 7420906"/>
                <a:gd name="connsiteY8" fmla="*/ 3175814 h 6903536"/>
                <a:gd name="connsiteX9" fmla="*/ 0 w 7420906"/>
                <a:gd name="connsiteY9" fmla="*/ 1508575 h 6903536"/>
                <a:gd name="connsiteX10" fmla="*/ 0 w 7420906"/>
                <a:gd name="connsiteY10" fmla="*/ 0 h 6903536"/>
                <a:gd name="connsiteX11" fmla="*/ 517370 w 7420906"/>
                <a:gd name="connsiteY11" fmla="*/ 0 h 6903536"/>
                <a:gd name="connsiteX12" fmla="*/ 2209254 w 7420906"/>
                <a:gd name="connsiteY12" fmla="*/ 1691885 h 6903536"/>
                <a:gd name="connsiteX13" fmla="*/ 2283909 w 7420906"/>
                <a:gd name="connsiteY13" fmla="*/ 1766540 h 6903536"/>
                <a:gd name="connsiteX14" fmla="*/ 4276394 w 7420906"/>
                <a:gd name="connsiteY14" fmla="*/ 3759024 h 6903536"/>
                <a:gd name="connsiteX15" fmla="*/ 5290985 w 7420906"/>
                <a:gd name="connsiteY15" fmla="*/ 4773615 h 6903536"/>
                <a:gd name="connsiteX16" fmla="*/ 7420906 w 7420906"/>
                <a:gd name="connsiteY16" fmla="*/ 6903537 h 69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20906" h="6903536">
                  <a:moveTo>
                    <a:pt x="7420906" y="6903537"/>
                  </a:moveTo>
                  <a:lnTo>
                    <a:pt x="5394962" y="6903537"/>
                  </a:lnTo>
                  <a:lnTo>
                    <a:pt x="2971097" y="4479672"/>
                  </a:lnTo>
                  <a:lnTo>
                    <a:pt x="2895183" y="4403757"/>
                  </a:lnTo>
                  <a:lnTo>
                    <a:pt x="2712232" y="4220807"/>
                  </a:lnTo>
                  <a:lnTo>
                    <a:pt x="2226884" y="3735458"/>
                  </a:lnTo>
                  <a:lnTo>
                    <a:pt x="2132980" y="3641554"/>
                  </a:lnTo>
                  <a:lnTo>
                    <a:pt x="1950030" y="3458604"/>
                  </a:lnTo>
                  <a:lnTo>
                    <a:pt x="1667239" y="3175814"/>
                  </a:lnTo>
                  <a:lnTo>
                    <a:pt x="0" y="1508575"/>
                  </a:lnTo>
                  <a:lnTo>
                    <a:pt x="0" y="0"/>
                  </a:lnTo>
                  <a:lnTo>
                    <a:pt x="517370" y="0"/>
                  </a:lnTo>
                  <a:lnTo>
                    <a:pt x="2209254" y="1691885"/>
                  </a:lnTo>
                  <a:lnTo>
                    <a:pt x="2283909" y="1766540"/>
                  </a:lnTo>
                  <a:lnTo>
                    <a:pt x="4276394" y="3759024"/>
                  </a:lnTo>
                  <a:lnTo>
                    <a:pt x="5290985" y="4773615"/>
                  </a:lnTo>
                  <a:lnTo>
                    <a:pt x="7420906" y="6903537"/>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22">
              <a:extLst>
                <a:ext uri="{FF2B5EF4-FFF2-40B4-BE49-F238E27FC236}">
                  <a16:creationId xmlns:a16="http://schemas.microsoft.com/office/drawing/2014/main" id="{BE689352-2C21-998E-16DE-ABCD005BE350}"/>
                </a:ext>
              </a:extLst>
            </p:cNvPr>
            <p:cNvSpPr/>
            <p:nvPr/>
          </p:nvSpPr>
          <p:spPr>
            <a:xfrm flipH="1">
              <a:off x="3227441" y="0"/>
              <a:ext cx="8964559" cy="6903536"/>
            </a:xfrm>
            <a:custGeom>
              <a:avLst/>
              <a:gdLst>
                <a:gd name="connsiteX0" fmla="*/ 8964560 w 8964559"/>
                <a:gd name="connsiteY0" fmla="*/ 6903537 h 6903536"/>
                <a:gd name="connsiteX1" fmla="*/ 6668598 w 8964559"/>
                <a:gd name="connsiteY1" fmla="*/ 6903537 h 6903536"/>
                <a:gd name="connsiteX2" fmla="*/ 1573156 w 8964559"/>
                <a:gd name="connsiteY2" fmla="*/ 1808095 h 6903536"/>
                <a:gd name="connsiteX3" fmla="*/ 1056686 w 8964559"/>
                <a:gd name="connsiteY3" fmla="*/ 1291625 h 6903536"/>
                <a:gd name="connsiteX4" fmla="*/ 0 w 8964559"/>
                <a:gd name="connsiteY4" fmla="*/ 234939 h 6903536"/>
                <a:gd name="connsiteX5" fmla="*/ 0 w 8964559"/>
                <a:gd name="connsiteY5" fmla="*/ 0 h 6903536"/>
                <a:gd name="connsiteX6" fmla="*/ 2061023 w 8964559"/>
                <a:gd name="connsiteY6" fmla="*/ 0 h 6903536"/>
                <a:gd name="connsiteX7" fmla="*/ 2942134 w 8964559"/>
                <a:gd name="connsiteY7" fmla="*/ 881111 h 6903536"/>
                <a:gd name="connsiteX8" fmla="*/ 3621767 w 8964559"/>
                <a:gd name="connsiteY8" fmla="*/ 1560743 h 6903536"/>
                <a:gd name="connsiteX9" fmla="*/ 4093623 w 8964559"/>
                <a:gd name="connsiteY9" fmla="*/ 2032600 h 6903536"/>
                <a:gd name="connsiteX10" fmla="*/ 5364201 w 8964559"/>
                <a:gd name="connsiteY10" fmla="*/ 3303178 h 6903536"/>
                <a:gd name="connsiteX11" fmla="*/ 5372476 w 8964559"/>
                <a:gd name="connsiteY11" fmla="*/ 3311453 h 6903536"/>
                <a:gd name="connsiteX12" fmla="*/ 5475914 w 8964559"/>
                <a:gd name="connsiteY12" fmla="*/ 3414891 h 6903536"/>
                <a:gd name="connsiteX13" fmla="*/ 5603637 w 8964559"/>
                <a:gd name="connsiteY13" fmla="*/ 3542614 h 6903536"/>
                <a:gd name="connsiteX14" fmla="*/ 5709234 w 8964559"/>
                <a:gd name="connsiteY14" fmla="*/ 3648211 h 6903536"/>
                <a:gd name="connsiteX15" fmla="*/ 8964560 w 8964559"/>
                <a:gd name="connsiteY15" fmla="*/ 6903537 h 69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64559" h="6903536">
                  <a:moveTo>
                    <a:pt x="8964560" y="6903537"/>
                  </a:moveTo>
                  <a:lnTo>
                    <a:pt x="6668598" y="6903537"/>
                  </a:lnTo>
                  <a:lnTo>
                    <a:pt x="1573156" y="1808095"/>
                  </a:lnTo>
                  <a:lnTo>
                    <a:pt x="1056686" y="1291625"/>
                  </a:lnTo>
                  <a:lnTo>
                    <a:pt x="0" y="234939"/>
                  </a:lnTo>
                  <a:lnTo>
                    <a:pt x="0" y="0"/>
                  </a:lnTo>
                  <a:lnTo>
                    <a:pt x="2061023" y="0"/>
                  </a:lnTo>
                  <a:lnTo>
                    <a:pt x="2942134" y="881111"/>
                  </a:lnTo>
                  <a:lnTo>
                    <a:pt x="3621767" y="1560743"/>
                  </a:lnTo>
                  <a:lnTo>
                    <a:pt x="4093623" y="2032600"/>
                  </a:lnTo>
                  <a:lnTo>
                    <a:pt x="5364201" y="3303178"/>
                  </a:lnTo>
                  <a:lnTo>
                    <a:pt x="5372476" y="3311453"/>
                  </a:lnTo>
                  <a:lnTo>
                    <a:pt x="5475914" y="3414891"/>
                  </a:lnTo>
                  <a:lnTo>
                    <a:pt x="5603637" y="3542614"/>
                  </a:lnTo>
                  <a:lnTo>
                    <a:pt x="5709234" y="3648211"/>
                  </a:lnTo>
                  <a:lnTo>
                    <a:pt x="8964560" y="6903537"/>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24">
              <a:extLst>
                <a:ext uri="{FF2B5EF4-FFF2-40B4-BE49-F238E27FC236}">
                  <a16:creationId xmlns:a16="http://schemas.microsoft.com/office/drawing/2014/main" id="{8AF9DFD9-916F-BA4C-C747-4122EED1AA72}"/>
                </a:ext>
              </a:extLst>
            </p:cNvPr>
            <p:cNvSpPr/>
            <p:nvPr/>
          </p:nvSpPr>
          <p:spPr>
            <a:xfrm flipH="1">
              <a:off x="4400697" y="2810633"/>
              <a:ext cx="4425470" cy="4104416"/>
            </a:xfrm>
            <a:custGeom>
              <a:avLst/>
              <a:gdLst>
                <a:gd name="connsiteX0" fmla="*/ 4425471 w 4425470"/>
                <a:gd name="connsiteY0" fmla="*/ 4104417 h 4104416"/>
                <a:gd name="connsiteX1" fmla="*/ 3783256 w 4425470"/>
                <a:gd name="connsiteY1" fmla="*/ 4104417 h 4104416"/>
                <a:gd name="connsiteX2" fmla="*/ 1842581 w 4425470"/>
                <a:gd name="connsiteY2" fmla="*/ 2163921 h 4104416"/>
                <a:gd name="connsiteX3" fmla="*/ 938264 w 4425470"/>
                <a:gd name="connsiteY3" fmla="*/ 1259604 h 4104416"/>
                <a:gd name="connsiteX4" fmla="*/ 300726 w 4425470"/>
                <a:gd name="connsiteY4" fmla="*/ 622067 h 4104416"/>
                <a:gd name="connsiteX5" fmla="*/ 66327 w 4425470"/>
                <a:gd name="connsiteY5" fmla="*/ 387667 h 4104416"/>
                <a:gd name="connsiteX6" fmla="*/ 15597 w 4425470"/>
                <a:gd name="connsiteY6" fmla="*/ 144093 h 4104416"/>
                <a:gd name="connsiteX7" fmla="*/ 26571 w 4425470"/>
                <a:gd name="connsiteY7" fmla="*/ 120528 h 4104416"/>
                <a:gd name="connsiteX8" fmla="*/ 48338 w 4425470"/>
                <a:gd name="connsiteY8" fmla="*/ 87247 h 4104416"/>
                <a:gd name="connsiteX9" fmla="*/ 66327 w 4425470"/>
                <a:gd name="connsiteY9" fmla="*/ 66560 h 4104416"/>
                <a:gd name="connsiteX10" fmla="*/ 226971 w 4425470"/>
                <a:gd name="connsiteY10" fmla="*/ 0 h 4104416"/>
                <a:gd name="connsiteX11" fmla="*/ 387434 w 4425470"/>
                <a:gd name="connsiteY11" fmla="*/ 66560 h 4104416"/>
                <a:gd name="connsiteX12" fmla="*/ 920994 w 4425470"/>
                <a:gd name="connsiteY12" fmla="*/ 600120 h 4104416"/>
                <a:gd name="connsiteX13" fmla="*/ 2047298 w 4425470"/>
                <a:gd name="connsiteY13" fmla="*/ 1726244 h 4104416"/>
                <a:gd name="connsiteX14" fmla="*/ 4425471 w 4425470"/>
                <a:gd name="connsiteY14" fmla="*/ 4104417 h 410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25470" h="4104416">
                  <a:moveTo>
                    <a:pt x="4425471" y="4104417"/>
                  </a:moveTo>
                  <a:lnTo>
                    <a:pt x="3783256" y="4104417"/>
                  </a:lnTo>
                  <a:lnTo>
                    <a:pt x="1842581" y="2163921"/>
                  </a:lnTo>
                  <a:lnTo>
                    <a:pt x="938264" y="1259604"/>
                  </a:lnTo>
                  <a:lnTo>
                    <a:pt x="300726" y="622067"/>
                  </a:lnTo>
                  <a:lnTo>
                    <a:pt x="66327" y="387667"/>
                  </a:lnTo>
                  <a:cubicBezTo>
                    <a:pt x="666" y="321827"/>
                    <a:pt x="-16244" y="225584"/>
                    <a:pt x="15597" y="144093"/>
                  </a:cubicBezTo>
                  <a:cubicBezTo>
                    <a:pt x="18835" y="135998"/>
                    <a:pt x="22433" y="128083"/>
                    <a:pt x="26571" y="120528"/>
                  </a:cubicBezTo>
                  <a:cubicBezTo>
                    <a:pt x="32507" y="109015"/>
                    <a:pt x="39703" y="97861"/>
                    <a:pt x="48338" y="87247"/>
                  </a:cubicBezTo>
                  <a:cubicBezTo>
                    <a:pt x="53734" y="80052"/>
                    <a:pt x="59671" y="73216"/>
                    <a:pt x="66327" y="66560"/>
                  </a:cubicBezTo>
                  <a:cubicBezTo>
                    <a:pt x="110760" y="22127"/>
                    <a:pt x="168685" y="0"/>
                    <a:pt x="226971" y="0"/>
                  </a:cubicBezTo>
                  <a:cubicBezTo>
                    <a:pt x="285256" y="0"/>
                    <a:pt x="343181" y="22127"/>
                    <a:pt x="387434" y="66560"/>
                  </a:cubicBezTo>
                  <a:lnTo>
                    <a:pt x="920994" y="600120"/>
                  </a:lnTo>
                  <a:lnTo>
                    <a:pt x="2047298" y="1726244"/>
                  </a:lnTo>
                  <a:lnTo>
                    <a:pt x="4425471" y="4104417"/>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25">
              <a:extLst>
                <a:ext uri="{FF2B5EF4-FFF2-40B4-BE49-F238E27FC236}">
                  <a16:creationId xmlns:a16="http://schemas.microsoft.com/office/drawing/2014/main" id="{9FB74CCB-0493-360D-21F2-DBAE55C05011}"/>
                </a:ext>
              </a:extLst>
            </p:cNvPr>
            <p:cNvSpPr/>
            <p:nvPr/>
          </p:nvSpPr>
          <p:spPr>
            <a:xfrm flipH="1">
              <a:off x="6158063" y="5370316"/>
              <a:ext cx="1594877" cy="1544732"/>
            </a:xfrm>
            <a:custGeom>
              <a:avLst/>
              <a:gdLst>
                <a:gd name="connsiteX0" fmla="*/ 1594878 w 1594877"/>
                <a:gd name="connsiteY0" fmla="*/ 1544733 h 1544732"/>
                <a:gd name="connsiteX1" fmla="*/ 1494678 w 1594877"/>
                <a:gd name="connsiteY1" fmla="*/ 1544733 h 1544732"/>
                <a:gd name="connsiteX2" fmla="*/ 10389 w 1594877"/>
                <a:gd name="connsiteY2" fmla="*/ 60444 h 1544732"/>
                <a:gd name="connsiteX3" fmla="*/ 10389 w 1594877"/>
                <a:gd name="connsiteY3" fmla="*/ 10433 h 1544732"/>
                <a:gd name="connsiteX4" fmla="*/ 35394 w 1594877"/>
                <a:gd name="connsiteY4" fmla="*/ 0 h 1544732"/>
                <a:gd name="connsiteX5" fmla="*/ 60399 w 1594877"/>
                <a:gd name="connsiteY5" fmla="*/ 10433 h 1544732"/>
                <a:gd name="connsiteX6" fmla="*/ 358120 w 1594877"/>
                <a:gd name="connsiteY6" fmla="*/ 308155 h 1544732"/>
                <a:gd name="connsiteX7" fmla="*/ 1594878 w 1594877"/>
                <a:gd name="connsiteY7" fmla="*/ 1544733 h 1544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4877" h="1544732">
                  <a:moveTo>
                    <a:pt x="1594878" y="1544733"/>
                  </a:moveTo>
                  <a:lnTo>
                    <a:pt x="1494678" y="1544733"/>
                  </a:lnTo>
                  <a:lnTo>
                    <a:pt x="10389" y="60444"/>
                  </a:lnTo>
                  <a:cubicBezTo>
                    <a:pt x="-3463" y="46592"/>
                    <a:pt x="-3463" y="24286"/>
                    <a:pt x="10389" y="10433"/>
                  </a:cubicBezTo>
                  <a:cubicBezTo>
                    <a:pt x="17225" y="3598"/>
                    <a:pt x="26399" y="0"/>
                    <a:pt x="35394" y="0"/>
                  </a:cubicBezTo>
                  <a:cubicBezTo>
                    <a:pt x="44388" y="0"/>
                    <a:pt x="53563" y="3598"/>
                    <a:pt x="60399" y="10433"/>
                  </a:cubicBezTo>
                  <a:lnTo>
                    <a:pt x="358120" y="308155"/>
                  </a:lnTo>
                  <a:lnTo>
                    <a:pt x="1594878" y="1544733"/>
                  </a:ln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26">
              <a:extLst>
                <a:ext uri="{FF2B5EF4-FFF2-40B4-BE49-F238E27FC236}">
                  <a16:creationId xmlns:a16="http://schemas.microsoft.com/office/drawing/2014/main" id="{7C65DE81-5BDA-2EF4-2236-2DF8D40CEFC8}"/>
                </a:ext>
              </a:extLst>
            </p:cNvPr>
            <p:cNvSpPr/>
            <p:nvPr/>
          </p:nvSpPr>
          <p:spPr>
            <a:xfrm flipH="1">
              <a:off x="11221664" y="4466898"/>
              <a:ext cx="959903" cy="1033434"/>
            </a:xfrm>
            <a:custGeom>
              <a:avLst/>
              <a:gdLst>
                <a:gd name="connsiteX0" fmla="*/ 944793 w 959903"/>
                <a:gd name="connsiteY0" fmla="*/ 1018189 h 1033434"/>
                <a:gd name="connsiteX1" fmla="*/ 871397 w 959903"/>
                <a:gd name="connsiteY1" fmla="*/ 1018189 h 1033434"/>
                <a:gd name="connsiteX2" fmla="*/ 0 w 959903"/>
                <a:gd name="connsiteY2" fmla="*/ 146792 h 1033434"/>
                <a:gd name="connsiteX3" fmla="*/ 0 w 959903"/>
                <a:gd name="connsiteY3" fmla="*/ 0 h 1033434"/>
                <a:gd name="connsiteX4" fmla="*/ 944793 w 959903"/>
                <a:gd name="connsiteY4" fmla="*/ 944793 h 1033434"/>
                <a:gd name="connsiteX5" fmla="*/ 944793 w 959903"/>
                <a:gd name="connsiteY5" fmla="*/ 1018189 h 103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9903" h="1033434">
                  <a:moveTo>
                    <a:pt x="944793" y="1018189"/>
                  </a:moveTo>
                  <a:cubicBezTo>
                    <a:pt x="924465" y="1038517"/>
                    <a:pt x="891545" y="1038517"/>
                    <a:pt x="871397" y="1018189"/>
                  </a:cubicBezTo>
                  <a:lnTo>
                    <a:pt x="0" y="146792"/>
                  </a:lnTo>
                  <a:lnTo>
                    <a:pt x="0" y="0"/>
                  </a:lnTo>
                  <a:lnTo>
                    <a:pt x="944793" y="944793"/>
                  </a:lnTo>
                  <a:cubicBezTo>
                    <a:pt x="964941" y="965121"/>
                    <a:pt x="964941" y="997861"/>
                    <a:pt x="944793" y="101818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27">
              <a:extLst>
                <a:ext uri="{FF2B5EF4-FFF2-40B4-BE49-F238E27FC236}">
                  <a16:creationId xmlns:a16="http://schemas.microsoft.com/office/drawing/2014/main" id="{6306B905-10E3-B94C-DEF1-E3D639005AFB}"/>
                </a:ext>
              </a:extLst>
            </p:cNvPr>
            <p:cNvSpPr/>
            <p:nvPr/>
          </p:nvSpPr>
          <p:spPr>
            <a:xfrm flipH="1">
              <a:off x="6554229" y="1253172"/>
              <a:ext cx="701489" cy="701489"/>
            </a:xfrm>
            <a:custGeom>
              <a:avLst/>
              <a:gdLst>
                <a:gd name="connsiteX0" fmla="*/ 694339 w 701489"/>
                <a:gd name="connsiteY0" fmla="*/ 694338 h 701489"/>
                <a:gd name="connsiteX1" fmla="*/ 694339 w 701489"/>
                <a:gd name="connsiteY1" fmla="*/ 694338 h 701489"/>
                <a:gd name="connsiteX2" fmla="*/ 659799 w 701489"/>
                <a:gd name="connsiteY2" fmla="*/ 694338 h 701489"/>
                <a:gd name="connsiteX3" fmla="*/ 7151 w 701489"/>
                <a:gd name="connsiteY3" fmla="*/ 41690 h 701489"/>
                <a:gd name="connsiteX4" fmla="*/ 7151 w 701489"/>
                <a:gd name="connsiteY4" fmla="*/ 7151 h 701489"/>
                <a:gd name="connsiteX5" fmla="*/ 7151 w 701489"/>
                <a:gd name="connsiteY5" fmla="*/ 7151 h 701489"/>
                <a:gd name="connsiteX6" fmla="*/ 41690 w 701489"/>
                <a:gd name="connsiteY6" fmla="*/ 7151 h 701489"/>
                <a:gd name="connsiteX7" fmla="*/ 694339 w 701489"/>
                <a:gd name="connsiteY7" fmla="*/ 659799 h 701489"/>
                <a:gd name="connsiteX8" fmla="*/ 694339 w 701489"/>
                <a:gd name="connsiteY8" fmla="*/ 694338 h 70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489" h="701489">
                  <a:moveTo>
                    <a:pt x="694339" y="694338"/>
                  </a:moveTo>
                  <a:lnTo>
                    <a:pt x="694339" y="694338"/>
                  </a:lnTo>
                  <a:cubicBezTo>
                    <a:pt x="684804" y="703873"/>
                    <a:pt x="669333" y="703873"/>
                    <a:pt x="659799" y="694338"/>
                  </a:cubicBezTo>
                  <a:lnTo>
                    <a:pt x="7151" y="41690"/>
                  </a:lnTo>
                  <a:cubicBezTo>
                    <a:pt x="-2384" y="32156"/>
                    <a:pt x="-2384" y="16685"/>
                    <a:pt x="7151" y="7151"/>
                  </a:cubicBezTo>
                  <a:lnTo>
                    <a:pt x="7151" y="7151"/>
                  </a:lnTo>
                  <a:cubicBezTo>
                    <a:pt x="16685" y="-2384"/>
                    <a:pt x="32156" y="-2384"/>
                    <a:pt x="41690" y="7151"/>
                  </a:cubicBezTo>
                  <a:lnTo>
                    <a:pt x="694339" y="659799"/>
                  </a:lnTo>
                  <a:cubicBezTo>
                    <a:pt x="703873" y="669333"/>
                    <a:pt x="703873" y="684804"/>
                    <a:pt x="694339" y="694338"/>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28">
              <a:extLst>
                <a:ext uri="{FF2B5EF4-FFF2-40B4-BE49-F238E27FC236}">
                  <a16:creationId xmlns:a16="http://schemas.microsoft.com/office/drawing/2014/main" id="{449B93B0-089A-8978-DB97-F515E683C646}"/>
                </a:ext>
              </a:extLst>
            </p:cNvPr>
            <p:cNvSpPr/>
            <p:nvPr/>
          </p:nvSpPr>
          <p:spPr>
            <a:xfrm flipH="1">
              <a:off x="9338059" y="5464445"/>
              <a:ext cx="249779" cy="249779"/>
            </a:xfrm>
            <a:custGeom>
              <a:avLst/>
              <a:gdLst>
                <a:gd name="connsiteX0" fmla="*/ 242629 w 249779"/>
                <a:gd name="connsiteY0" fmla="*/ 242629 h 249779"/>
                <a:gd name="connsiteX1" fmla="*/ 242629 w 249779"/>
                <a:gd name="connsiteY1" fmla="*/ 242629 h 249779"/>
                <a:gd name="connsiteX2" fmla="*/ 208090 w 249779"/>
                <a:gd name="connsiteY2" fmla="*/ 242629 h 249779"/>
                <a:gd name="connsiteX3" fmla="*/ 7151 w 249779"/>
                <a:gd name="connsiteY3" fmla="*/ 41690 h 249779"/>
                <a:gd name="connsiteX4" fmla="*/ 7151 w 249779"/>
                <a:gd name="connsiteY4" fmla="*/ 7151 h 249779"/>
                <a:gd name="connsiteX5" fmla="*/ 7151 w 249779"/>
                <a:gd name="connsiteY5" fmla="*/ 7151 h 249779"/>
                <a:gd name="connsiteX6" fmla="*/ 41690 w 249779"/>
                <a:gd name="connsiteY6" fmla="*/ 7151 h 249779"/>
                <a:gd name="connsiteX7" fmla="*/ 242629 w 249779"/>
                <a:gd name="connsiteY7" fmla="*/ 208090 h 249779"/>
                <a:gd name="connsiteX8" fmla="*/ 242629 w 249779"/>
                <a:gd name="connsiteY8" fmla="*/ 242629 h 249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779" h="249779">
                  <a:moveTo>
                    <a:pt x="242629" y="242629"/>
                  </a:moveTo>
                  <a:lnTo>
                    <a:pt x="242629" y="242629"/>
                  </a:lnTo>
                  <a:cubicBezTo>
                    <a:pt x="233095" y="252164"/>
                    <a:pt x="217624" y="252164"/>
                    <a:pt x="208090" y="242629"/>
                  </a:cubicBezTo>
                  <a:lnTo>
                    <a:pt x="7151" y="41690"/>
                  </a:lnTo>
                  <a:cubicBezTo>
                    <a:pt x="-2384" y="32155"/>
                    <a:pt x="-2384" y="16685"/>
                    <a:pt x="7151" y="7151"/>
                  </a:cubicBezTo>
                  <a:lnTo>
                    <a:pt x="7151" y="7151"/>
                  </a:lnTo>
                  <a:cubicBezTo>
                    <a:pt x="16685" y="-2384"/>
                    <a:pt x="32156" y="-2384"/>
                    <a:pt x="41690" y="7151"/>
                  </a:cubicBezTo>
                  <a:lnTo>
                    <a:pt x="242629" y="208090"/>
                  </a:lnTo>
                  <a:cubicBezTo>
                    <a:pt x="252164" y="217624"/>
                    <a:pt x="252164" y="233095"/>
                    <a:pt x="242629" y="24262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29">
              <a:extLst>
                <a:ext uri="{FF2B5EF4-FFF2-40B4-BE49-F238E27FC236}">
                  <a16:creationId xmlns:a16="http://schemas.microsoft.com/office/drawing/2014/main" id="{87CD9414-5142-13EF-E3CD-4645DAD3816E}"/>
                </a:ext>
              </a:extLst>
            </p:cNvPr>
            <p:cNvSpPr/>
            <p:nvPr/>
          </p:nvSpPr>
          <p:spPr>
            <a:xfrm flipH="1">
              <a:off x="4852676" y="4977522"/>
              <a:ext cx="867978" cy="867979"/>
            </a:xfrm>
            <a:custGeom>
              <a:avLst/>
              <a:gdLst>
                <a:gd name="connsiteX0" fmla="*/ 855836 w 867978"/>
                <a:gd name="connsiteY0" fmla="*/ 855836 h 867979"/>
                <a:gd name="connsiteX1" fmla="*/ 855836 w 867978"/>
                <a:gd name="connsiteY1" fmla="*/ 855836 h 867979"/>
                <a:gd name="connsiteX2" fmla="*/ 797551 w 867978"/>
                <a:gd name="connsiteY2" fmla="*/ 855836 h 867979"/>
                <a:gd name="connsiteX3" fmla="*/ 12143 w 867978"/>
                <a:gd name="connsiteY3" fmla="*/ 70427 h 867979"/>
                <a:gd name="connsiteX4" fmla="*/ 12143 w 867978"/>
                <a:gd name="connsiteY4" fmla="*/ 12143 h 867979"/>
                <a:gd name="connsiteX5" fmla="*/ 12143 w 867978"/>
                <a:gd name="connsiteY5" fmla="*/ 12143 h 867979"/>
                <a:gd name="connsiteX6" fmla="*/ 70427 w 867978"/>
                <a:gd name="connsiteY6" fmla="*/ 12143 h 867979"/>
                <a:gd name="connsiteX7" fmla="*/ 855836 w 867978"/>
                <a:gd name="connsiteY7" fmla="*/ 797551 h 867979"/>
                <a:gd name="connsiteX8" fmla="*/ 855836 w 867978"/>
                <a:gd name="connsiteY8" fmla="*/ 855836 h 86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7978" h="867979">
                  <a:moveTo>
                    <a:pt x="855836" y="855836"/>
                  </a:moveTo>
                  <a:lnTo>
                    <a:pt x="855836" y="855836"/>
                  </a:lnTo>
                  <a:cubicBezTo>
                    <a:pt x="839646" y="872027"/>
                    <a:pt x="813561" y="872027"/>
                    <a:pt x="797551" y="855836"/>
                  </a:cubicBezTo>
                  <a:lnTo>
                    <a:pt x="12143" y="70427"/>
                  </a:lnTo>
                  <a:cubicBezTo>
                    <a:pt x="-4048" y="54237"/>
                    <a:pt x="-4048" y="28153"/>
                    <a:pt x="12143" y="12143"/>
                  </a:cubicBezTo>
                  <a:lnTo>
                    <a:pt x="12143" y="12143"/>
                  </a:lnTo>
                  <a:cubicBezTo>
                    <a:pt x="28333" y="-4048"/>
                    <a:pt x="54417" y="-4048"/>
                    <a:pt x="70427" y="12143"/>
                  </a:cubicBezTo>
                  <a:lnTo>
                    <a:pt x="855836" y="797551"/>
                  </a:lnTo>
                  <a:cubicBezTo>
                    <a:pt x="872026" y="813742"/>
                    <a:pt x="872026" y="839826"/>
                    <a:pt x="855836" y="85583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30">
              <a:extLst>
                <a:ext uri="{FF2B5EF4-FFF2-40B4-BE49-F238E27FC236}">
                  <a16:creationId xmlns:a16="http://schemas.microsoft.com/office/drawing/2014/main" id="{FE0CDECF-8DDB-B236-F2E9-42EC0D031DFC}"/>
                </a:ext>
              </a:extLst>
            </p:cNvPr>
            <p:cNvSpPr/>
            <p:nvPr/>
          </p:nvSpPr>
          <p:spPr>
            <a:xfrm flipH="1">
              <a:off x="8981872" y="456610"/>
              <a:ext cx="249780" cy="249780"/>
            </a:xfrm>
            <a:custGeom>
              <a:avLst/>
              <a:gdLst>
                <a:gd name="connsiteX0" fmla="*/ 242630 w 249780"/>
                <a:gd name="connsiteY0" fmla="*/ 242629 h 249780"/>
                <a:gd name="connsiteX1" fmla="*/ 242630 w 249780"/>
                <a:gd name="connsiteY1" fmla="*/ 242629 h 249780"/>
                <a:gd name="connsiteX2" fmla="*/ 208090 w 249780"/>
                <a:gd name="connsiteY2" fmla="*/ 242629 h 249780"/>
                <a:gd name="connsiteX3" fmla="*/ 7151 w 249780"/>
                <a:gd name="connsiteY3" fmla="*/ 41690 h 249780"/>
                <a:gd name="connsiteX4" fmla="*/ 7151 w 249780"/>
                <a:gd name="connsiteY4" fmla="*/ 7151 h 249780"/>
                <a:gd name="connsiteX5" fmla="*/ 7151 w 249780"/>
                <a:gd name="connsiteY5" fmla="*/ 7151 h 249780"/>
                <a:gd name="connsiteX6" fmla="*/ 41690 w 249780"/>
                <a:gd name="connsiteY6" fmla="*/ 7151 h 249780"/>
                <a:gd name="connsiteX7" fmla="*/ 242630 w 249780"/>
                <a:gd name="connsiteY7" fmla="*/ 208090 h 249780"/>
                <a:gd name="connsiteX8" fmla="*/ 242630 w 249780"/>
                <a:gd name="connsiteY8" fmla="*/ 242629 h 249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780" h="249780">
                  <a:moveTo>
                    <a:pt x="242630" y="242629"/>
                  </a:moveTo>
                  <a:lnTo>
                    <a:pt x="242630" y="242629"/>
                  </a:lnTo>
                  <a:cubicBezTo>
                    <a:pt x="233095" y="252164"/>
                    <a:pt x="217625" y="252164"/>
                    <a:pt x="208090" y="242629"/>
                  </a:cubicBezTo>
                  <a:lnTo>
                    <a:pt x="7151" y="41690"/>
                  </a:lnTo>
                  <a:cubicBezTo>
                    <a:pt x="-2384" y="32156"/>
                    <a:pt x="-2384" y="16685"/>
                    <a:pt x="7151" y="7151"/>
                  </a:cubicBezTo>
                  <a:lnTo>
                    <a:pt x="7151" y="7151"/>
                  </a:lnTo>
                  <a:cubicBezTo>
                    <a:pt x="16685" y="-2384"/>
                    <a:pt x="32156" y="-2384"/>
                    <a:pt x="41690" y="7151"/>
                  </a:cubicBezTo>
                  <a:lnTo>
                    <a:pt x="242630" y="208090"/>
                  </a:lnTo>
                  <a:cubicBezTo>
                    <a:pt x="252164" y="217624"/>
                    <a:pt x="252164" y="233095"/>
                    <a:pt x="242630" y="24262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31">
              <a:extLst>
                <a:ext uri="{FF2B5EF4-FFF2-40B4-BE49-F238E27FC236}">
                  <a16:creationId xmlns:a16="http://schemas.microsoft.com/office/drawing/2014/main" id="{E6642546-E8B5-E01E-8102-4B8BBF87CF43}"/>
                </a:ext>
              </a:extLst>
            </p:cNvPr>
            <p:cNvSpPr/>
            <p:nvPr/>
          </p:nvSpPr>
          <p:spPr>
            <a:xfrm flipH="1">
              <a:off x="11561345" y="648510"/>
              <a:ext cx="620222" cy="662182"/>
            </a:xfrm>
            <a:custGeom>
              <a:avLst/>
              <a:gdLst>
                <a:gd name="connsiteX0" fmla="*/ 611453 w 620222"/>
                <a:gd name="connsiteY0" fmla="*/ 653548 h 662182"/>
                <a:gd name="connsiteX1" fmla="*/ 569538 w 620222"/>
                <a:gd name="connsiteY1" fmla="*/ 653548 h 662182"/>
                <a:gd name="connsiteX2" fmla="*/ 0 w 620222"/>
                <a:gd name="connsiteY2" fmla="*/ 83830 h 662182"/>
                <a:gd name="connsiteX3" fmla="*/ 0 w 620222"/>
                <a:gd name="connsiteY3" fmla="*/ 0 h 662182"/>
                <a:gd name="connsiteX4" fmla="*/ 611453 w 620222"/>
                <a:gd name="connsiteY4" fmla="*/ 611453 h 662182"/>
                <a:gd name="connsiteX5" fmla="*/ 611453 w 620222"/>
                <a:gd name="connsiteY5" fmla="*/ 653548 h 662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0222" h="662182">
                  <a:moveTo>
                    <a:pt x="611453" y="653548"/>
                  </a:moveTo>
                  <a:cubicBezTo>
                    <a:pt x="599940" y="665061"/>
                    <a:pt x="581051" y="665061"/>
                    <a:pt x="569538" y="653548"/>
                  </a:cubicBezTo>
                  <a:lnTo>
                    <a:pt x="0" y="83830"/>
                  </a:lnTo>
                  <a:lnTo>
                    <a:pt x="0" y="0"/>
                  </a:lnTo>
                  <a:lnTo>
                    <a:pt x="611453" y="611453"/>
                  </a:lnTo>
                  <a:cubicBezTo>
                    <a:pt x="623146" y="623146"/>
                    <a:pt x="623146" y="641855"/>
                    <a:pt x="611453" y="653548"/>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32">
              <a:extLst>
                <a:ext uri="{FF2B5EF4-FFF2-40B4-BE49-F238E27FC236}">
                  <a16:creationId xmlns:a16="http://schemas.microsoft.com/office/drawing/2014/main" id="{7F0A24E1-B2CF-AA3D-450F-7AA0BD3F0CF9}"/>
                </a:ext>
              </a:extLst>
            </p:cNvPr>
            <p:cNvSpPr/>
            <p:nvPr/>
          </p:nvSpPr>
          <p:spPr>
            <a:xfrm flipH="1">
              <a:off x="7172474" y="5268138"/>
              <a:ext cx="1863290" cy="1646911"/>
            </a:xfrm>
            <a:custGeom>
              <a:avLst/>
              <a:gdLst>
                <a:gd name="connsiteX0" fmla="*/ 1863291 w 1863290"/>
                <a:gd name="connsiteY0" fmla="*/ 1646911 h 1646911"/>
                <a:gd name="connsiteX1" fmla="*/ 1430291 w 1863290"/>
                <a:gd name="connsiteY1" fmla="*/ 1646911 h 1646911"/>
                <a:gd name="connsiteX2" fmla="*/ 44942 w 1863290"/>
                <a:gd name="connsiteY2" fmla="*/ 261563 h 1646911"/>
                <a:gd name="connsiteX3" fmla="*/ 28932 w 1863290"/>
                <a:gd name="connsiteY3" fmla="*/ 63861 h 1646911"/>
                <a:gd name="connsiteX4" fmla="*/ 44942 w 1863290"/>
                <a:gd name="connsiteY4" fmla="*/ 44973 h 1646911"/>
                <a:gd name="connsiteX5" fmla="*/ 153058 w 1863290"/>
                <a:gd name="connsiteY5" fmla="*/ 0 h 1646911"/>
                <a:gd name="connsiteX6" fmla="*/ 261352 w 1863290"/>
                <a:gd name="connsiteY6" fmla="*/ 44973 h 1646911"/>
                <a:gd name="connsiteX7" fmla="*/ 1209563 w 1863290"/>
                <a:gd name="connsiteY7" fmla="*/ 993184 h 1646911"/>
                <a:gd name="connsiteX8" fmla="*/ 1863291 w 1863290"/>
                <a:gd name="connsiteY8" fmla="*/ 1646911 h 164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290" h="1646911">
                  <a:moveTo>
                    <a:pt x="1863291" y="1646911"/>
                  </a:moveTo>
                  <a:lnTo>
                    <a:pt x="1430291" y="1646911"/>
                  </a:lnTo>
                  <a:lnTo>
                    <a:pt x="44942" y="261563"/>
                  </a:lnTo>
                  <a:cubicBezTo>
                    <a:pt x="-9025" y="207596"/>
                    <a:pt x="-14422" y="123586"/>
                    <a:pt x="28932" y="63861"/>
                  </a:cubicBezTo>
                  <a:cubicBezTo>
                    <a:pt x="33609" y="57206"/>
                    <a:pt x="39006" y="50909"/>
                    <a:pt x="44942" y="44973"/>
                  </a:cubicBezTo>
                  <a:cubicBezTo>
                    <a:pt x="74804" y="15111"/>
                    <a:pt x="114021" y="0"/>
                    <a:pt x="153058" y="0"/>
                  </a:cubicBezTo>
                  <a:cubicBezTo>
                    <a:pt x="192094" y="0"/>
                    <a:pt x="231490" y="15111"/>
                    <a:pt x="261352" y="44973"/>
                  </a:cubicBezTo>
                  <a:lnTo>
                    <a:pt x="1209563" y="993184"/>
                  </a:lnTo>
                  <a:lnTo>
                    <a:pt x="1863291" y="1646911"/>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23" name="Freeform: Shape 33">
              <a:extLst>
                <a:ext uri="{FF2B5EF4-FFF2-40B4-BE49-F238E27FC236}">
                  <a16:creationId xmlns:a16="http://schemas.microsoft.com/office/drawing/2014/main" id="{70E75DE8-AEF2-633C-2CBC-DFF8F0F7FE58}"/>
                </a:ext>
              </a:extLst>
            </p:cNvPr>
            <p:cNvSpPr/>
            <p:nvPr/>
          </p:nvSpPr>
          <p:spPr>
            <a:xfrm rot="802202" flipH="1">
              <a:off x="7592049" y="1923832"/>
              <a:ext cx="541475" cy="541475"/>
            </a:xfrm>
            <a:custGeom>
              <a:avLst/>
              <a:gdLst>
                <a:gd name="connsiteX0" fmla="*/ 541475 w 541475"/>
                <a:gd name="connsiteY0" fmla="*/ 270737 h 541475"/>
                <a:gd name="connsiteX1" fmla="*/ 270738 w 541475"/>
                <a:gd name="connsiteY1" fmla="*/ 541475 h 541475"/>
                <a:gd name="connsiteX2" fmla="*/ 0 w 541475"/>
                <a:gd name="connsiteY2" fmla="*/ 270737 h 541475"/>
                <a:gd name="connsiteX3" fmla="*/ 270738 w 541475"/>
                <a:gd name="connsiteY3" fmla="*/ 0 h 541475"/>
                <a:gd name="connsiteX4" fmla="*/ 541475 w 541475"/>
                <a:gd name="connsiteY4" fmla="*/ 270737 h 54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475" h="541475">
                  <a:moveTo>
                    <a:pt x="541475" y="270737"/>
                  </a:moveTo>
                  <a:cubicBezTo>
                    <a:pt x="541475" y="420262"/>
                    <a:pt x="420262" y="541475"/>
                    <a:pt x="270738" y="541475"/>
                  </a:cubicBezTo>
                  <a:cubicBezTo>
                    <a:pt x="121213" y="541475"/>
                    <a:pt x="0" y="420262"/>
                    <a:pt x="0" y="270737"/>
                  </a:cubicBezTo>
                  <a:cubicBezTo>
                    <a:pt x="0" y="121213"/>
                    <a:pt x="121213" y="0"/>
                    <a:pt x="270738" y="0"/>
                  </a:cubicBezTo>
                  <a:cubicBezTo>
                    <a:pt x="420262" y="0"/>
                    <a:pt x="541475" y="121213"/>
                    <a:pt x="541475" y="270737"/>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34">
              <a:extLst>
                <a:ext uri="{FF2B5EF4-FFF2-40B4-BE49-F238E27FC236}">
                  <a16:creationId xmlns:a16="http://schemas.microsoft.com/office/drawing/2014/main" id="{2249F4FC-6490-CB8A-C13A-3F06DBD10C2C}"/>
                </a:ext>
              </a:extLst>
            </p:cNvPr>
            <p:cNvSpPr/>
            <p:nvPr/>
          </p:nvSpPr>
          <p:spPr>
            <a:xfrm flipH="1">
              <a:off x="10427440" y="1122166"/>
              <a:ext cx="751948" cy="751948"/>
            </a:xfrm>
            <a:custGeom>
              <a:avLst/>
              <a:gdLst>
                <a:gd name="connsiteX0" fmla="*/ 751949 w 751948"/>
                <a:gd name="connsiteY0" fmla="*/ 375974 h 751948"/>
                <a:gd name="connsiteX1" fmla="*/ 375974 w 751948"/>
                <a:gd name="connsiteY1" fmla="*/ 751949 h 751948"/>
                <a:gd name="connsiteX2" fmla="*/ 0 w 751948"/>
                <a:gd name="connsiteY2" fmla="*/ 375974 h 751948"/>
                <a:gd name="connsiteX3" fmla="*/ 375974 w 751948"/>
                <a:gd name="connsiteY3" fmla="*/ 0 h 751948"/>
                <a:gd name="connsiteX4" fmla="*/ 751949 w 751948"/>
                <a:gd name="connsiteY4" fmla="*/ 375974 h 751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948" h="751948">
                  <a:moveTo>
                    <a:pt x="751949" y="375974"/>
                  </a:moveTo>
                  <a:cubicBezTo>
                    <a:pt x="751949" y="583619"/>
                    <a:pt x="583619" y="751949"/>
                    <a:pt x="375974" y="751949"/>
                  </a:cubicBezTo>
                  <a:cubicBezTo>
                    <a:pt x="168329" y="751949"/>
                    <a:pt x="0" y="583619"/>
                    <a:pt x="0" y="375974"/>
                  </a:cubicBezTo>
                  <a:cubicBezTo>
                    <a:pt x="0" y="168330"/>
                    <a:pt x="168329" y="0"/>
                    <a:pt x="375974" y="0"/>
                  </a:cubicBezTo>
                  <a:cubicBezTo>
                    <a:pt x="583619" y="0"/>
                    <a:pt x="751949" y="168329"/>
                    <a:pt x="751949" y="375974"/>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35">
              <a:extLst>
                <a:ext uri="{FF2B5EF4-FFF2-40B4-BE49-F238E27FC236}">
                  <a16:creationId xmlns:a16="http://schemas.microsoft.com/office/drawing/2014/main" id="{129FE6D9-BFCD-64DE-89BE-C73A1B5B2C8C}"/>
                </a:ext>
              </a:extLst>
            </p:cNvPr>
            <p:cNvSpPr/>
            <p:nvPr/>
          </p:nvSpPr>
          <p:spPr>
            <a:xfrm flipH="1">
              <a:off x="8880548" y="3064460"/>
              <a:ext cx="2244333" cy="2244332"/>
            </a:xfrm>
            <a:custGeom>
              <a:avLst/>
              <a:gdLst>
                <a:gd name="connsiteX0" fmla="*/ 1121987 w 2244333"/>
                <a:gd name="connsiteY0" fmla="*/ 0 h 2244332"/>
                <a:gd name="connsiteX1" fmla="*/ 1076474 w 2244333"/>
                <a:gd name="connsiteY1" fmla="*/ 899 h 2244332"/>
                <a:gd name="connsiteX2" fmla="*/ 1076474 w 2244333"/>
                <a:gd name="connsiteY2" fmla="*/ 899 h 2244332"/>
                <a:gd name="connsiteX3" fmla="*/ 610733 w 2244333"/>
                <a:gd name="connsiteY3" fmla="*/ 122866 h 2244332"/>
                <a:gd name="connsiteX4" fmla="*/ 325605 w 2244333"/>
                <a:gd name="connsiteY4" fmla="*/ 331721 h 2244332"/>
                <a:gd name="connsiteX5" fmla="*/ 257425 w 2244333"/>
                <a:gd name="connsiteY5" fmla="*/ 406916 h 2244332"/>
                <a:gd name="connsiteX6" fmla="*/ 148231 w 2244333"/>
                <a:gd name="connsiteY6" fmla="*/ 564321 h 2244332"/>
                <a:gd name="connsiteX7" fmla="*/ 0 w 2244333"/>
                <a:gd name="connsiteY7" fmla="*/ 1122166 h 2244332"/>
                <a:gd name="connsiteX8" fmla="*/ 1122167 w 2244333"/>
                <a:gd name="connsiteY8" fmla="*/ 2244333 h 2244332"/>
                <a:gd name="connsiteX9" fmla="*/ 1621547 w 2244333"/>
                <a:gd name="connsiteY9" fmla="*/ 2127223 h 2244332"/>
                <a:gd name="connsiteX10" fmla="*/ 1621727 w 2244333"/>
                <a:gd name="connsiteY10" fmla="*/ 2127223 h 2244332"/>
                <a:gd name="connsiteX11" fmla="*/ 1837417 w 2244333"/>
                <a:gd name="connsiteY11" fmla="*/ 1986907 h 2244332"/>
                <a:gd name="connsiteX12" fmla="*/ 1931141 w 2244333"/>
                <a:gd name="connsiteY12" fmla="*/ 1900020 h 2244332"/>
                <a:gd name="connsiteX13" fmla="*/ 2121467 w 2244333"/>
                <a:gd name="connsiteY13" fmla="*/ 1633600 h 2244332"/>
                <a:gd name="connsiteX14" fmla="*/ 2243434 w 2244333"/>
                <a:gd name="connsiteY14" fmla="*/ 1167679 h 2244332"/>
                <a:gd name="connsiteX15" fmla="*/ 2244333 w 2244333"/>
                <a:gd name="connsiteY15" fmla="*/ 1122166 h 2244332"/>
                <a:gd name="connsiteX16" fmla="*/ 1122167 w 2244333"/>
                <a:gd name="connsiteY16" fmla="*/ 0 h 2244332"/>
                <a:gd name="connsiteX17" fmla="*/ 2152768 w 2244333"/>
                <a:gd name="connsiteY17" fmla="*/ 1122166 h 2244332"/>
                <a:gd name="connsiteX18" fmla="*/ 2052928 w 2244333"/>
                <a:gd name="connsiteY18" fmla="*/ 1565240 h 2244332"/>
                <a:gd name="connsiteX19" fmla="*/ 1853787 w 2244333"/>
                <a:gd name="connsiteY19" fmla="*/ 1848031 h 2244332"/>
                <a:gd name="connsiteX20" fmla="*/ 1772296 w 2244333"/>
                <a:gd name="connsiteY20" fmla="*/ 1921966 h 2244332"/>
                <a:gd name="connsiteX21" fmla="*/ 1561823 w 2244333"/>
                <a:gd name="connsiteY21" fmla="*/ 2054727 h 2244332"/>
                <a:gd name="connsiteX22" fmla="*/ 1121987 w 2244333"/>
                <a:gd name="connsiteY22" fmla="*/ 2152948 h 2244332"/>
                <a:gd name="connsiteX23" fmla="*/ 91205 w 2244333"/>
                <a:gd name="connsiteY23" fmla="*/ 1122166 h 2244332"/>
                <a:gd name="connsiteX24" fmla="*/ 216950 w 2244333"/>
                <a:gd name="connsiteY24" fmla="*/ 628723 h 2244332"/>
                <a:gd name="connsiteX25" fmla="*/ 322187 w 2244333"/>
                <a:gd name="connsiteY25" fmla="*/ 471857 h 2244332"/>
                <a:gd name="connsiteX26" fmla="*/ 390186 w 2244333"/>
                <a:gd name="connsiteY26" fmla="*/ 396482 h 2244332"/>
                <a:gd name="connsiteX27" fmla="*/ 678913 w 2244333"/>
                <a:gd name="connsiteY27" fmla="*/ 191225 h 2244332"/>
                <a:gd name="connsiteX28" fmla="*/ 1121987 w 2244333"/>
                <a:gd name="connsiteY28" fmla="*/ 91385 h 2244332"/>
                <a:gd name="connsiteX29" fmla="*/ 1167859 w 2244333"/>
                <a:gd name="connsiteY29" fmla="*/ 92464 h 2244332"/>
                <a:gd name="connsiteX30" fmla="*/ 2151689 w 2244333"/>
                <a:gd name="connsiteY30" fmla="*/ 1076114 h 2244332"/>
                <a:gd name="connsiteX31" fmla="*/ 2151689 w 2244333"/>
                <a:gd name="connsiteY31" fmla="*/ 1076114 h 2244332"/>
                <a:gd name="connsiteX32" fmla="*/ 2152768 w 2244333"/>
                <a:gd name="connsiteY32" fmla="*/ 1122166 h 2244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244333" h="2244332">
                  <a:moveTo>
                    <a:pt x="1121987" y="0"/>
                  </a:moveTo>
                  <a:cubicBezTo>
                    <a:pt x="1106696" y="0"/>
                    <a:pt x="1091585" y="360"/>
                    <a:pt x="1076474" y="899"/>
                  </a:cubicBezTo>
                  <a:lnTo>
                    <a:pt x="1076474" y="899"/>
                  </a:lnTo>
                  <a:cubicBezTo>
                    <a:pt x="909174" y="7555"/>
                    <a:pt x="751409" y="50909"/>
                    <a:pt x="610733" y="122866"/>
                  </a:cubicBezTo>
                  <a:cubicBezTo>
                    <a:pt x="504777" y="177374"/>
                    <a:pt x="408715" y="248071"/>
                    <a:pt x="325605" y="331721"/>
                  </a:cubicBezTo>
                  <a:cubicBezTo>
                    <a:pt x="301859" y="355646"/>
                    <a:pt x="279013" y="380831"/>
                    <a:pt x="257425" y="406916"/>
                  </a:cubicBezTo>
                  <a:cubicBezTo>
                    <a:pt x="216770" y="456026"/>
                    <a:pt x="180252" y="508735"/>
                    <a:pt x="148231" y="564321"/>
                  </a:cubicBezTo>
                  <a:cubicBezTo>
                    <a:pt x="53968" y="728743"/>
                    <a:pt x="0" y="919248"/>
                    <a:pt x="0" y="1122166"/>
                  </a:cubicBezTo>
                  <a:cubicBezTo>
                    <a:pt x="0" y="1741894"/>
                    <a:pt x="502438" y="2244333"/>
                    <a:pt x="1122167" y="2244333"/>
                  </a:cubicBezTo>
                  <a:cubicBezTo>
                    <a:pt x="1301699" y="2244333"/>
                    <a:pt x="1471157" y="2202238"/>
                    <a:pt x="1621547" y="2127223"/>
                  </a:cubicBezTo>
                  <a:lnTo>
                    <a:pt x="1621727" y="2127223"/>
                  </a:lnTo>
                  <a:cubicBezTo>
                    <a:pt x="1699080" y="2088726"/>
                    <a:pt x="1771397" y="2041595"/>
                    <a:pt x="1837417" y="1986907"/>
                  </a:cubicBezTo>
                  <a:cubicBezTo>
                    <a:pt x="1870158" y="1959744"/>
                    <a:pt x="1901459" y="1930781"/>
                    <a:pt x="1931141" y="1900020"/>
                  </a:cubicBezTo>
                  <a:cubicBezTo>
                    <a:pt x="2006696" y="1821407"/>
                    <a:pt x="2071097" y="1731640"/>
                    <a:pt x="2121467" y="1633600"/>
                  </a:cubicBezTo>
                  <a:cubicBezTo>
                    <a:pt x="2193424" y="1492924"/>
                    <a:pt x="2236778" y="1334979"/>
                    <a:pt x="2243434" y="1167679"/>
                  </a:cubicBezTo>
                  <a:cubicBezTo>
                    <a:pt x="2243973" y="1152568"/>
                    <a:pt x="2244333" y="1137457"/>
                    <a:pt x="2244333" y="1122166"/>
                  </a:cubicBezTo>
                  <a:cubicBezTo>
                    <a:pt x="2244333" y="502438"/>
                    <a:pt x="1741895" y="0"/>
                    <a:pt x="1122167" y="0"/>
                  </a:cubicBezTo>
                  <a:close/>
                  <a:moveTo>
                    <a:pt x="2152768" y="1122166"/>
                  </a:moveTo>
                  <a:cubicBezTo>
                    <a:pt x="2152768" y="1280831"/>
                    <a:pt x="2116970" y="1431041"/>
                    <a:pt x="2052928" y="1565240"/>
                  </a:cubicBezTo>
                  <a:cubicBezTo>
                    <a:pt x="2002738" y="1670477"/>
                    <a:pt x="1935099" y="1766000"/>
                    <a:pt x="1853787" y="1848031"/>
                  </a:cubicBezTo>
                  <a:cubicBezTo>
                    <a:pt x="1828063" y="1874115"/>
                    <a:pt x="1800899" y="1898760"/>
                    <a:pt x="1772296" y="1921966"/>
                  </a:cubicBezTo>
                  <a:cubicBezTo>
                    <a:pt x="1708075" y="1974135"/>
                    <a:pt x="1637557" y="2018928"/>
                    <a:pt x="1561823" y="2054727"/>
                  </a:cubicBezTo>
                  <a:cubicBezTo>
                    <a:pt x="1428523" y="2117689"/>
                    <a:pt x="1279392" y="2152948"/>
                    <a:pt x="1121987" y="2152948"/>
                  </a:cubicBezTo>
                  <a:cubicBezTo>
                    <a:pt x="552808" y="2152948"/>
                    <a:pt x="91205" y="1691345"/>
                    <a:pt x="91205" y="1122166"/>
                  </a:cubicBezTo>
                  <a:cubicBezTo>
                    <a:pt x="91205" y="943354"/>
                    <a:pt x="136718" y="775155"/>
                    <a:pt x="216950" y="628723"/>
                  </a:cubicBezTo>
                  <a:cubicBezTo>
                    <a:pt x="247172" y="573136"/>
                    <a:pt x="282610" y="520607"/>
                    <a:pt x="322187" y="471857"/>
                  </a:cubicBezTo>
                  <a:cubicBezTo>
                    <a:pt x="343594" y="445592"/>
                    <a:pt x="366260" y="420408"/>
                    <a:pt x="390186" y="396482"/>
                  </a:cubicBezTo>
                  <a:cubicBezTo>
                    <a:pt x="473296" y="312472"/>
                    <a:pt x="570977" y="242674"/>
                    <a:pt x="678913" y="191225"/>
                  </a:cubicBezTo>
                  <a:cubicBezTo>
                    <a:pt x="813112" y="127184"/>
                    <a:pt x="963322" y="91385"/>
                    <a:pt x="1121987" y="91385"/>
                  </a:cubicBezTo>
                  <a:cubicBezTo>
                    <a:pt x="1137278" y="91385"/>
                    <a:pt x="1152748" y="91745"/>
                    <a:pt x="1167859" y="92464"/>
                  </a:cubicBezTo>
                  <a:cubicBezTo>
                    <a:pt x="1700699" y="115670"/>
                    <a:pt x="2128303" y="543274"/>
                    <a:pt x="2151689" y="1076114"/>
                  </a:cubicBezTo>
                  <a:lnTo>
                    <a:pt x="2151689" y="1076114"/>
                  </a:lnTo>
                  <a:cubicBezTo>
                    <a:pt x="2152408" y="1091585"/>
                    <a:pt x="2152768" y="1106876"/>
                    <a:pt x="2152768" y="112216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36">
              <a:extLst>
                <a:ext uri="{FF2B5EF4-FFF2-40B4-BE49-F238E27FC236}">
                  <a16:creationId xmlns:a16="http://schemas.microsoft.com/office/drawing/2014/main" id="{C2DB5FEE-FF58-036D-7E4E-1E6261434FB6}"/>
                </a:ext>
              </a:extLst>
            </p:cNvPr>
            <p:cNvSpPr/>
            <p:nvPr/>
          </p:nvSpPr>
          <p:spPr>
            <a:xfrm flipH="1">
              <a:off x="9154164" y="3337896"/>
              <a:ext cx="1697461" cy="1697461"/>
            </a:xfrm>
            <a:custGeom>
              <a:avLst/>
              <a:gdLst>
                <a:gd name="connsiteX0" fmla="*/ 1653208 w 1697461"/>
                <a:gd name="connsiteY0" fmla="*/ 577633 h 1697461"/>
                <a:gd name="connsiteX1" fmla="*/ 1653208 w 1697461"/>
                <a:gd name="connsiteY1" fmla="*/ 577633 h 1697461"/>
                <a:gd name="connsiteX2" fmla="*/ 1119828 w 1697461"/>
                <a:gd name="connsiteY2" fmla="*/ 44253 h 1697461"/>
                <a:gd name="connsiteX3" fmla="*/ 848731 w 1697461"/>
                <a:gd name="connsiteY3" fmla="*/ 0 h 1697461"/>
                <a:gd name="connsiteX4" fmla="*/ 544173 w 1697461"/>
                <a:gd name="connsiteY4" fmla="*/ 56306 h 1697461"/>
                <a:gd name="connsiteX5" fmla="*/ 245553 w 1697461"/>
                <a:gd name="connsiteY5" fmla="*/ 251669 h 1697461"/>
                <a:gd name="connsiteX6" fmla="*/ 178453 w 1697461"/>
                <a:gd name="connsiteY6" fmla="*/ 327943 h 1697461"/>
                <a:gd name="connsiteX7" fmla="*/ 81311 w 1697461"/>
                <a:gd name="connsiteY7" fmla="*/ 485709 h 1697461"/>
                <a:gd name="connsiteX8" fmla="*/ 0 w 1697461"/>
                <a:gd name="connsiteY8" fmla="*/ 848731 h 1697461"/>
                <a:gd name="connsiteX9" fmla="*/ 848731 w 1697461"/>
                <a:gd name="connsiteY9" fmla="*/ 1697461 h 1697461"/>
                <a:gd name="connsiteX10" fmla="*/ 1166600 w 1697461"/>
                <a:gd name="connsiteY10" fmla="*/ 1635938 h 1697461"/>
                <a:gd name="connsiteX11" fmla="*/ 1369518 w 1697461"/>
                <a:gd name="connsiteY11" fmla="*/ 1519008 h 1697461"/>
                <a:gd name="connsiteX12" fmla="*/ 1445792 w 1697461"/>
                <a:gd name="connsiteY12" fmla="*/ 1451909 h 1697461"/>
                <a:gd name="connsiteX13" fmla="*/ 1641155 w 1697461"/>
                <a:gd name="connsiteY13" fmla="*/ 1153288 h 1697461"/>
                <a:gd name="connsiteX14" fmla="*/ 1697461 w 1697461"/>
                <a:gd name="connsiteY14" fmla="*/ 848731 h 1697461"/>
                <a:gd name="connsiteX15" fmla="*/ 1653208 w 1697461"/>
                <a:gd name="connsiteY15" fmla="*/ 577633 h 1697461"/>
                <a:gd name="connsiteX16" fmla="*/ 1377254 w 1697461"/>
                <a:gd name="connsiteY16" fmla="*/ 1383370 h 1697461"/>
                <a:gd name="connsiteX17" fmla="*/ 1300440 w 1697461"/>
                <a:gd name="connsiteY17" fmla="*/ 1449750 h 1697461"/>
                <a:gd name="connsiteX18" fmla="*/ 1099500 w 1697461"/>
                <a:gd name="connsiteY18" fmla="*/ 1557505 h 1697461"/>
                <a:gd name="connsiteX19" fmla="*/ 848731 w 1697461"/>
                <a:gd name="connsiteY19" fmla="*/ 1600499 h 1697461"/>
                <a:gd name="connsiteX20" fmla="*/ 96962 w 1697461"/>
                <a:gd name="connsiteY20" fmla="*/ 848731 h 1697461"/>
                <a:gd name="connsiteX21" fmla="*/ 155427 w 1697461"/>
                <a:gd name="connsiteY21" fmla="*/ 557485 h 1697461"/>
                <a:gd name="connsiteX22" fmla="*/ 247531 w 1697461"/>
                <a:gd name="connsiteY22" fmla="*/ 397022 h 1697461"/>
                <a:gd name="connsiteX23" fmla="*/ 314091 w 1697461"/>
                <a:gd name="connsiteY23" fmla="*/ 320208 h 1697461"/>
                <a:gd name="connsiteX24" fmla="*/ 620088 w 1697461"/>
                <a:gd name="connsiteY24" fmla="*/ 132220 h 1697461"/>
                <a:gd name="connsiteX25" fmla="*/ 848731 w 1697461"/>
                <a:gd name="connsiteY25" fmla="*/ 96782 h 1697461"/>
                <a:gd name="connsiteX26" fmla="*/ 1600679 w 1697461"/>
                <a:gd name="connsiteY26" fmla="*/ 848731 h 1697461"/>
                <a:gd name="connsiteX27" fmla="*/ 1565241 w 1697461"/>
                <a:gd name="connsiteY27" fmla="*/ 1077373 h 1697461"/>
                <a:gd name="connsiteX28" fmla="*/ 1377254 w 1697461"/>
                <a:gd name="connsiteY28" fmla="*/ 1383370 h 169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97461" h="1697461">
                  <a:moveTo>
                    <a:pt x="1653208" y="577633"/>
                  </a:moveTo>
                  <a:lnTo>
                    <a:pt x="1653208" y="577633"/>
                  </a:lnTo>
                  <a:cubicBezTo>
                    <a:pt x="1568659" y="326864"/>
                    <a:pt x="1370418" y="128623"/>
                    <a:pt x="1119828" y="44253"/>
                  </a:cubicBezTo>
                  <a:cubicBezTo>
                    <a:pt x="1034739" y="15471"/>
                    <a:pt x="943534" y="0"/>
                    <a:pt x="848731" y="0"/>
                  </a:cubicBezTo>
                  <a:cubicBezTo>
                    <a:pt x="741335" y="0"/>
                    <a:pt x="638617" y="19968"/>
                    <a:pt x="544173" y="56306"/>
                  </a:cubicBezTo>
                  <a:cubicBezTo>
                    <a:pt x="431021" y="99840"/>
                    <a:pt x="329382" y="166940"/>
                    <a:pt x="245553" y="251669"/>
                  </a:cubicBezTo>
                  <a:cubicBezTo>
                    <a:pt x="221807" y="275775"/>
                    <a:pt x="199320" y="301139"/>
                    <a:pt x="178453" y="327943"/>
                  </a:cubicBezTo>
                  <a:cubicBezTo>
                    <a:pt x="140676" y="376514"/>
                    <a:pt x="107935" y="429402"/>
                    <a:pt x="81311" y="485709"/>
                  </a:cubicBezTo>
                  <a:cubicBezTo>
                    <a:pt x="29142" y="595802"/>
                    <a:pt x="0" y="718848"/>
                    <a:pt x="0" y="848731"/>
                  </a:cubicBezTo>
                  <a:cubicBezTo>
                    <a:pt x="0" y="1317349"/>
                    <a:pt x="380112" y="1697461"/>
                    <a:pt x="848731" y="1697461"/>
                  </a:cubicBezTo>
                  <a:cubicBezTo>
                    <a:pt x="961163" y="1697461"/>
                    <a:pt x="1068379" y="1675694"/>
                    <a:pt x="1166600" y="1635938"/>
                  </a:cubicBezTo>
                  <a:cubicBezTo>
                    <a:pt x="1239996" y="1606256"/>
                    <a:pt x="1308175" y="1566680"/>
                    <a:pt x="1369518" y="1519008"/>
                  </a:cubicBezTo>
                  <a:cubicBezTo>
                    <a:pt x="1396322" y="1498141"/>
                    <a:pt x="1421687" y="1475654"/>
                    <a:pt x="1445792" y="1451909"/>
                  </a:cubicBezTo>
                  <a:cubicBezTo>
                    <a:pt x="1530521" y="1368079"/>
                    <a:pt x="1597621" y="1266440"/>
                    <a:pt x="1641155" y="1153288"/>
                  </a:cubicBezTo>
                  <a:cubicBezTo>
                    <a:pt x="1677493" y="1058665"/>
                    <a:pt x="1697461" y="955946"/>
                    <a:pt x="1697461" y="848731"/>
                  </a:cubicBezTo>
                  <a:cubicBezTo>
                    <a:pt x="1697461" y="753928"/>
                    <a:pt x="1681811" y="662722"/>
                    <a:pt x="1653208" y="577633"/>
                  </a:cubicBezTo>
                  <a:close/>
                  <a:moveTo>
                    <a:pt x="1377254" y="1383370"/>
                  </a:moveTo>
                  <a:cubicBezTo>
                    <a:pt x="1353148" y="1407115"/>
                    <a:pt x="1327603" y="1429242"/>
                    <a:pt x="1300440" y="1449750"/>
                  </a:cubicBezTo>
                  <a:cubicBezTo>
                    <a:pt x="1239996" y="1495263"/>
                    <a:pt x="1172356" y="1531960"/>
                    <a:pt x="1099500" y="1557505"/>
                  </a:cubicBezTo>
                  <a:cubicBezTo>
                    <a:pt x="1021067" y="1585388"/>
                    <a:pt x="936698" y="1600499"/>
                    <a:pt x="848731" y="1600499"/>
                  </a:cubicBezTo>
                  <a:cubicBezTo>
                    <a:pt x="433540" y="1600499"/>
                    <a:pt x="96962" y="1263921"/>
                    <a:pt x="96962" y="848731"/>
                  </a:cubicBezTo>
                  <a:cubicBezTo>
                    <a:pt x="96962" y="745473"/>
                    <a:pt x="117829" y="647072"/>
                    <a:pt x="155427" y="557485"/>
                  </a:cubicBezTo>
                  <a:cubicBezTo>
                    <a:pt x="179532" y="499920"/>
                    <a:pt x="210654" y="446132"/>
                    <a:pt x="247531" y="397022"/>
                  </a:cubicBezTo>
                  <a:cubicBezTo>
                    <a:pt x="268039" y="369858"/>
                    <a:pt x="290166" y="344133"/>
                    <a:pt x="314091" y="320208"/>
                  </a:cubicBezTo>
                  <a:cubicBezTo>
                    <a:pt x="398281" y="234759"/>
                    <a:pt x="502978" y="169458"/>
                    <a:pt x="620088" y="132220"/>
                  </a:cubicBezTo>
                  <a:cubicBezTo>
                    <a:pt x="692225" y="109194"/>
                    <a:pt x="769038" y="96782"/>
                    <a:pt x="848731" y="96782"/>
                  </a:cubicBezTo>
                  <a:cubicBezTo>
                    <a:pt x="1263922" y="96782"/>
                    <a:pt x="1600679" y="433360"/>
                    <a:pt x="1600679" y="848731"/>
                  </a:cubicBezTo>
                  <a:cubicBezTo>
                    <a:pt x="1600679" y="928423"/>
                    <a:pt x="1588267" y="1005237"/>
                    <a:pt x="1565241" y="1077373"/>
                  </a:cubicBezTo>
                  <a:cubicBezTo>
                    <a:pt x="1528003" y="1194483"/>
                    <a:pt x="1462702" y="1299001"/>
                    <a:pt x="1377254" y="1383370"/>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37">
              <a:extLst>
                <a:ext uri="{FF2B5EF4-FFF2-40B4-BE49-F238E27FC236}">
                  <a16:creationId xmlns:a16="http://schemas.microsoft.com/office/drawing/2014/main" id="{BD33ABEC-59E7-FEE6-9BCA-68A835613E65}"/>
                </a:ext>
              </a:extLst>
            </p:cNvPr>
            <p:cNvSpPr/>
            <p:nvPr/>
          </p:nvSpPr>
          <p:spPr>
            <a:xfrm flipH="1">
              <a:off x="9467356" y="3651088"/>
              <a:ext cx="1070897" cy="1070896"/>
            </a:xfrm>
            <a:custGeom>
              <a:avLst/>
              <a:gdLst>
                <a:gd name="connsiteX0" fmla="*/ 535359 w 1070897"/>
                <a:gd name="connsiteY0" fmla="*/ 0 h 1070896"/>
                <a:gd name="connsiteX1" fmla="*/ 489666 w 1070897"/>
                <a:gd name="connsiteY1" fmla="*/ 1979 h 1070896"/>
                <a:gd name="connsiteX2" fmla="*/ 153628 w 1070897"/>
                <a:gd name="connsiteY2" fmla="*/ 159924 h 1070896"/>
                <a:gd name="connsiteX3" fmla="*/ 89586 w 1070897"/>
                <a:gd name="connsiteY3" fmla="*/ 239076 h 1070896"/>
                <a:gd name="connsiteX4" fmla="*/ 14032 w 1070897"/>
                <a:gd name="connsiteY4" fmla="*/ 413931 h 1070896"/>
                <a:gd name="connsiteX5" fmla="*/ 0 w 1070897"/>
                <a:gd name="connsiteY5" fmla="*/ 535538 h 1070896"/>
                <a:gd name="connsiteX6" fmla="*/ 535359 w 1070897"/>
                <a:gd name="connsiteY6" fmla="*/ 1070897 h 1070896"/>
                <a:gd name="connsiteX7" fmla="*/ 627104 w 1070897"/>
                <a:gd name="connsiteY7" fmla="*/ 1062982 h 1070896"/>
                <a:gd name="connsiteX8" fmla="*/ 831821 w 1070897"/>
                <a:gd name="connsiteY8" fmla="*/ 981311 h 1070896"/>
                <a:gd name="connsiteX9" fmla="*/ 910793 w 1070897"/>
                <a:gd name="connsiteY9" fmla="*/ 917090 h 1070896"/>
                <a:gd name="connsiteX10" fmla="*/ 1068919 w 1070897"/>
                <a:gd name="connsiteY10" fmla="*/ 581231 h 1070896"/>
                <a:gd name="connsiteX11" fmla="*/ 1070897 w 1070897"/>
                <a:gd name="connsiteY11" fmla="*/ 535538 h 1070896"/>
                <a:gd name="connsiteX12" fmla="*/ 535359 w 1070897"/>
                <a:gd name="connsiteY12" fmla="*/ 0 h 1070896"/>
                <a:gd name="connsiteX13" fmla="*/ 977713 w 1070897"/>
                <a:gd name="connsiteY13" fmla="*/ 535538 h 1070896"/>
                <a:gd name="connsiteX14" fmla="*/ 845133 w 1070897"/>
                <a:gd name="connsiteY14" fmla="*/ 851429 h 1070896"/>
                <a:gd name="connsiteX15" fmla="*/ 764361 w 1070897"/>
                <a:gd name="connsiteY15" fmla="*/ 914031 h 1070896"/>
                <a:gd name="connsiteX16" fmla="*/ 550110 w 1070897"/>
                <a:gd name="connsiteY16" fmla="*/ 977533 h 1070896"/>
                <a:gd name="connsiteX17" fmla="*/ 535359 w 1070897"/>
                <a:gd name="connsiteY17" fmla="*/ 977893 h 1070896"/>
                <a:gd name="connsiteX18" fmla="*/ 93004 w 1070897"/>
                <a:gd name="connsiteY18" fmla="*/ 535538 h 1070896"/>
                <a:gd name="connsiteX19" fmla="*/ 94983 w 1070897"/>
                <a:gd name="connsiteY19" fmla="*/ 495782 h 1070896"/>
                <a:gd name="connsiteX20" fmla="*/ 94983 w 1070897"/>
                <a:gd name="connsiteY20" fmla="*/ 495782 h 1070896"/>
                <a:gd name="connsiteX21" fmla="*/ 156866 w 1070897"/>
                <a:gd name="connsiteY21" fmla="*/ 306536 h 1070896"/>
                <a:gd name="connsiteX22" fmla="*/ 219468 w 1070897"/>
                <a:gd name="connsiteY22" fmla="*/ 225764 h 1070896"/>
                <a:gd name="connsiteX23" fmla="*/ 535359 w 1070897"/>
                <a:gd name="connsiteY23" fmla="*/ 93184 h 1070896"/>
                <a:gd name="connsiteX24" fmla="*/ 583570 w 1070897"/>
                <a:gd name="connsiteY24" fmla="*/ 95882 h 1070896"/>
                <a:gd name="connsiteX25" fmla="*/ 975015 w 1070897"/>
                <a:gd name="connsiteY25" fmla="*/ 487327 h 1070896"/>
                <a:gd name="connsiteX26" fmla="*/ 977713 w 1070897"/>
                <a:gd name="connsiteY26" fmla="*/ 535538 h 1070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0897" h="1070896">
                  <a:moveTo>
                    <a:pt x="535359" y="0"/>
                  </a:moveTo>
                  <a:cubicBezTo>
                    <a:pt x="519888" y="0"/>
                    <a:pt x="504777" y="719"/>
                    <a:pt x="489666" y="1979"/>
                  </a:cubicBezTo>
                  <a:cubicBezTo>
                    <a:pt x="358525" y="12952"/>
                    <a:pt x="240875" y="71417"/>
                    <a:pt x="153628" y="159924"/>
                  </a:cubicBezTo>
                  <a:cubicBezTo>
                    <a:pt x="129882" y="184029"/>
                    <a:pt x="108295" y="210653"/>
                    <a:pt x="89586" y="239076"/>
                  </a:cubicBezTo>
                  <a:cubicBezTo>
                    <a:pt x="54507" y="291605"/>
                    <a:pt x="28603" y="350609"/>
                    <a:pt x="14032" y="413931"/>
                  </a:cubicBezTo>
                  <a:cubicBezTo>
                    <a:pt x="4857" y="452968"/>
                    <a:pt x="0" y="493624"/>
                    <a:pt x="0" y="535538"/>
                  </a:cubicBezTo>
                  <a:cubicBezTo>
                    <a:pt x="0" y="831281"/>
                    <a:pt x="239616" y="1070897"/>
                    <a:pt x="535359" y="1070897"/>
                  </a:cubicBezTo>
                  <a:cubicBezTo>
                    <a:pt x="566660" y="1070897"/>
                    <a:pt x="597421" y="1068199"/>
                    <a:pt x="627104" y="1062982"/>
                  </a:cubicBezTo>
                  <a:cubicBezTo>
                    <a:pt x="701939" y="1050210"/>
                    <a:pt x="771197" y="1021787"/>
                    <a:pt x="831821" y="981311"/>
                  </a:cubicBezTo>
                  <a:cubicBezTo>
                    <a:pt x="860244" y="962422"/>
                    <a:pt x="886688" y="941015"/>
                    <a:pt x="910793" y="917090"/>
                  </a:cubicBezTo>
                  <a:cubicBezTo>
                    <a:pt x="999480" y="830202"/>
                    <a:pt x="1057945" y="712372"/>
                    <a:pt x="1068919" y="581231"/>
                  </a:cubicBezTo>
                  <a:cubicBezTo>
                    <a:pt x="1070178" y="566120"/>
                    <a:pt x="1070897" y="551009"/>
                    <a:pt x="1070897" y="535538"/>
                  </a:cubicBezTo>
                  <a:cubicBezTo>
                    <a:pt x="1070897" y="239796"/>
                    <a:pt x="831101" y="0"/>
                    <a:pt x="535359" y="0"/>
                  </a:cubicBezTo>
                  <a:close/>
                  <a:moveTo>
                    <a:pt x="977713" y="535538"/>
                  </a:moveTo>
                  <a:cubicBezTo>
                    <a:pt x="977713" y="659124"/>
                    <a:pt x="926984" y="771017"/>
                    <a:pt x="845133" y="851429"/>
                  </a:cubicBezTo>
                  <a:cubicBezTo>
                    <a:pt x="820847" y="875175"/>
                    <a:pt x="793684" y="896402"/>
                    <a:pt x="764361" y="914031"/>
                  </a:cubicBezTo>
                  <a:cubicBezTo>
                    <a:pt x="701579" y="952168"/>
                    <a:pt x="628363" y="975015"/>
                    <a:pt x="550110" y="977533"/>
                  </a:cubicBezTo>
                  <a:cubicBezTo>
                    <a:pt x="545253" y="977893"/>
                    <a:pt x="540216" y="977893"/>
                    <a:pt x="535359" y="977893"/>
                  </a:cubicBezTo>
                  <a:cubicBezTo>
                    <a:pt x="291065" y="977893"/>
                    <a:pt x="93004" y="779832"/>
                    <a:pt x="93004" y="535538"/>
                  </a:cubicBezTo>
                  <a:cubicBezTo>
                    <a:pt x="93004" y="522046"/>
                    <a:pt x="93544" y="508914"/>
                    <a:pt x="94983" y="495782"/>
                  </a:cubicBezTo>
                  <a:lnTo>
                    <a:pt x="94983" y="495782"/>
                  </a:lnTo>
                  <a:cubicBezTo>
                    <a:pt x="100919" y="426704"/>
                    <a:pt x="122866" y="362482"/>
                    <a:pt x="156866" y="306536"/>
                  </a:cubicBezTo>
                  <a:cubicBezTo>
                    <a:pt x="174495" y="277213"/>
                    <a:pt x="195722" y="250050"/>
                    <a:pt x="219468" y="225764"/>
                  </a:cubicBezTo>
                  <a:cubicBezTo>
                    <a:pt x="299880" y="143914"/>
                    <a:pt x="411773" y="93184"/>
                    <a:pt x="535359" y="93184"/>
                  </a:cubicBezTo>
                  <a:cubicBezTo>
                    <a:pt x="551729" y="93184"/>
                    <a:pt x="567739" y="94083"/>
                    <a:pt x="583570" y="95882"/>
                  </a:cubicBezTo>
                  <a:cubicBezTo>
                    <a:pt x="789366" y="118009"/>
                    <a:pt x="952888" y="281531"/>
                    <a:pt x="975015" y="487327"/>
                  </a:cubicBezTo>
                  <a:cubicBezTo>
                    <a:pt x="976814" y="503158"/>
                    <a:pt x="977713" y="519168"/>
                    <a:pt x="977713" y="535538"/>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38">
              <a:extLst>
                <a:ext uri="{FF2B5EF4-FFF2-40B4-BE49-F238E27FC236}">
                  <a16:creationId xmlns:a16="http://schemas.microsoft.com/office/drawing/2014/main" id="{7DBE5BA5-503F-6B2C-9FAE-00B5C434F645}"/>
                </a:ext>
              </a:extLst>
            </p:cNvPr>
            <p:cNvSpPr/>
            <p:nvPr/>
          </p:nvSpPr>
          <p:spPr>
            <a:xfrm flipH="1">
              <a:off x="9738993" y="3922725"/>
              <a:ext cx="527803" cy="527803"/>
            </a:xfrm>
            <a:custGeom>
              <a:avLst/>
              <a:gdLst>
                <a:gd name="connsiteX0" fmla="*/ 263902 w 527803"/>
                <a:gd name="connsiteY0" fmla="*/ 0 h 527803"/>
                <a:gd name="connsiteX1" fmla="*/ 74296 w 527803"/>
                <a:gd name="connsiteY1" fmla="*/ 80412 h 527803"/>
                <a:gd name="connsiteX2" fmla="*/ 18169 w 527803"/>
                <a:gd name="connsiteY2" fmla="*/ 167660 h 527803"/>
                <a:gd name="connsiteX3" fmla="*/ 0 w 527803"/>
                <a:gd name="connsiteY3" fmla="*/ 263902 h 527803"/>
                <a:gd name="connsiteX4" fmla="*/ 263902 w 527803"/>
                <a:gd name="connsiteY4" fmla="*/ 527803 h 527803"/>
                <a:gd name="connsiteX5" fmla="*/ 360144 w 527803"/>
                <a:gd name="connsiteY5" fmla="*/ 509634 h 527803"/>
                <a:gd name="connsiteX6" fmla="*/ 447392 w 527803"/>
                <a:gd name="connsiteY6" fmla="*/ 453508 h 527803"/>
                <a:gd name="connsiteX7" fmla="*/ 527803 w 527803"/>
                <a:gd name="connsiteY7" fmla="*/ 263902 h 527803"/>
                <a:gd name="connsiteX8" fmla="*/ 263902 w 527803"/>
                <a:gd name="connsiteY8" fmla="*/ 0 h 527803"/>
                <a:gd name="connsiteX9" fmla="*/ 292505 w 527803"/>
                <a:gd name="connsiteY9" fmla="*/ 441995 h 527803"/>
                <a:gd name="connsiteX10" fmla="*/ 263902 w 527803"/>
                <a:gd name="connsiteY10" fmla="*/ 444333 h 527803"/>
                <a:gd name="connsiteX11" fmla="*/ 83470 w 527803"/>
                <a:gd name="connsiteY11" fmla="*/ 263902 h 527803"/>
                <a:gd name="connsiteX12" fmla="*/ 85809 w 527803"/>
                <a:gd name="connsiteY12" fmla="*/ 235299 h 527803"/>
                <a:gd name="connsiteX13" fmla="*/ 133480 w 527803"/>
                <a:gd name="connsiteY13" fmla="*/ 139596 h 527803"/>
                <a:gd name="connsiteX14" fmla="*/ 263902 w 527803"/>
                <a:gd name="connsiteY14" fmla="*/ 83470 h 527803"/>
                <a:gd name="connsiteX15" fmla="*/ 444333 w 527803"/>
                <a:gd name="connsiteY15" fmla="*/ 263902 h 527803"/>
                <a:gd name="connsiteX16" fmla="*/ 388387 w 527803"/>
                <a:gd name="connsiteY16" fmla="*/ 394503 h 527803"/>
                <a:gd name="connsiteX17" fmla="*/ 292505 w 527803"/>
                <a:gd name="connsiteY17" fmla="*/ 441995 h 52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7803" h="527803">
                  <a:moveTo>
                    <a:pt x="263902" y="0"/>
                  </a:moveTo>
                  <a:cubicBezTo>
                    <a:pt x="189606" y="0"/>
                    <a:pt x="122327" y="30762"/>
                    <a:pt x="74296" y="80412"/>
                  </a:cubicBezTo>
                  <a:cubicBezTo>
                    <a:pt x="50190" y="105237"/>
                    <a:pt x="30941" y="134739"/>
                    <a:pt x="18169" y="167660"/>
                  </a:cubicBezTo>
                  <a:cubicBezTo>
                    <a:pt x="6476" y="197342"/>
                    <a:pt x="0" y="229902"/>
                    <a:pt x="0" y="263902"/>
                  </a:cubicBezTo>
                  <a:cubicBezTo>
                    <a:pt x="0" y="409614"/>
                    <a:pt x="118189" y="527803"/>
                    <a:pt x="263902" y="527803"/>
                  </a:cubicBezTo>
                  <a:cubicBezTo>
                    <a:pt x="297901" y="527803"/>
                    <a:pt x="330462" y="521327"/>
                    <a:pt x="360144" y="509634"/>
                  </a:cubicBezTo>
                  <a:cubicBezTo>
                    <a:pt x="393064" y="496862"/>
                    <a:pt x="422566" y="477613"/>
                    <a:pt x="447392" y="453508"/>
                  </a:cubicBezTo>
                  <a:cubicBezTo>
                    <a:pt x="497042" y="405477"/>
                    <a:pt x="527803" y="338197"/>
                    <a:pt x="527803" y="263902"/>
                  </a:cubicBezTo>
                  <a:cubicBezTo>
                    <a:pt x="527803" y="118189"/>
                    <a:pt x="409614" y="0"/>
                    <a:pt x="263902" y="0"/>
                  </a:cubicBezTo>
                  <a:close/>
                  <a:moveTo>
                    <a:pt x="292505" y="441995"/>
                  </a:moveTo>
                  <a:cubicBezTo>
                    <a:pt x="283150" y="443614"/>
                    <a:pt x="273616" y="444333"/>
                    <a:pt x="263902" y="444333"/>
                  </a:cubicBezTo>
                  <a:cubicBezTo>
                    <a:pt x="164242" y="444333"/>
                    <a:pt x="83470" y="363562"/>
                    <a:pt x="83470" y="263902"/>
                  </a:cubicBezTo>
                  <a:cubicBezTo>
                    <a:pt x="83470" y="254188"/>
                    <a:pt x="84189" y="244653"/>
                    <a:pt x="85809" y="235299"/>
                  </a:cubicBezTo>
                  <a:cubicBezTo>
                    <a:pt x="91565" y="198421"/>
                    <a:pt x="108655" y="165321"/>
                    <a:pt x="133480" y="139596"/>
                  </a:cubicBezTo>
                  <a:cubicBezTo>
                    <a:pt x="166040" y="105057"/>
                    <a:pt x="212453" y="83470"/>
                    <a:pt x="263902" y="83470"/>
                  </a:cubicBezTo>
                  <a:cubicBezTo>
                    <a:pt x="363562" y="83470"/>
                    <a:pt x="444333" y="164242"/>
                    <a:pt x="444333" y="263902"/>
                  </a:cubicBezTo>
                  <a:cubicBezTo>
                    <a:pt x="444333" y="315171"/>
                    <a:pt x="422926" y="361583"/>
                    <a:pt x="388387" y="394503"/>
                  </a:cubicBezTo>
                  <a:cubicBezTo>
                    <a:pt x="362662" y="419149"/>
                    <a:pt x="329382" y="436238"/>
                    <a:pt x="292505" y="441995"/>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Freeform: Shape 39">
              <a:extLst>
                <a:ext uri="{FF2B5EF4-FFF2-40B4-BE49-F238E27FC236}">
                  <a16:creationId xmlns:a16="http://schemas.microsoft.com/office/drawing/2014/main" id="{81FCAFD5-70B1-CFC7-B6AE-345B2805E364}"/>
                </a:ext>
              </a:extLst>
            </p:cNvPr>
            <p:cNvSpPr/>
            <p:nvPr/>
          </p:nvSpPr>
          <p:spPr>
            <a:xfrm flipH="1">
              <a:off x="8559081" y="891904"/>
              <a:ext cx="1420427" cy="1420427"/>
            </a:xfrm>
            <a:custGeom>
              <a:avLst/>
              <a:gdLst>
                <a:gd name="connsiteX0" fmla="*/ 1419708 w 1420427"/>
                <a:gd name="connsiteY0" fmla="*/ 680352 h 1420427"/>
                <a:gd name="connsiteX1" fmla="*/ 740076 w 1420427"/>
                <a:gd name="connsiteY1" fmla="*/ 720 h 1420427"/>
                <a:gd name="connsiteX2" fmla="*/ 710214 w 1420427"/>
                <a:gd name="connsiteY2" fmla="*/ 0 h 1420427"/>
                <a:gd name="connsiteX3" fmla="*/ 13672 w 1420427"/>
                <a:gd name="connsiteY3" fmla="*/ 570438 h 1420427"/>
                <a:gd name="connsiteX4" fmla="*/ 0 w 1420427"/>
                <a:gd name="connsiteY4" fmla="*/ 710214 h 1420427"/>
                <a:gd name="connsiteX5" fmla="*/ 7196 w 1420427"/>
                <a:gd name="connsiteY5" fmla="*/ 811493 h 1420427"/>
                <a:gd name="connsiteX6" fmla="*/ 20328 w 1420427"/>
                <a:gd name="connsiteY6" fmla="*/ 879672 h 1420427"/>
                <a:gd name="connsiteX7" fmla="*/ 540756 w 1420427"/>
                <a:gd name="connsiteY7" fmla="*/ 1400100 h 1420427"/>
                <a:gd name="connsiteX8" fmla="*/ 608935 w 1420427"/>
                <a:gd name="connsiteY8" fmla="*/ 1413232 h 1420427"/>
                <a:gd name="connsiteX9" fmla="*/ 710214 w 1420427"/>
                <a:gd name="connsiteY9" fmla="*/ 1420427 h 1420427"/>
                <a:gd name="connsiteX10" fmla="*/ 716510 w 1420427"/>
                <a:gd name="connsiteY10" fmla="*/ 1420427 h 1420427"/>
                <a:gd name="connsiteX11" fmla="*/ 1420428 w 1420427"/>
                <a:gd name="connsiteY11" fmla="*/ 710214 h 1420427"/>
                <a:gd name="connsiteX12" fmla="*/ 1419708 w 1420427"/>
                <a:gd name="connsiteY12" fmla="*/ 680352 h 1420427"/>
                <a:gd name="connsiteX13" fmla="*/ 710214 w 1420427"/>
                <a:gd name="connsiteY13" fmla="*/ 1362682 h 1420427"/>
                <a:gd name="connsiteX14" fmla="*/ 671357 w 1420427"/>
                <a:gd name="connsiteY14" fmla="*/ 1361423 h 1420427"/>
                <a:gd name="connsiteX15" fmla="*/ 534279 w 1420427"/>
                <a:gd name="connsiteY15" fmla="*/ 1338577 h 1420427"/>
                <a:gd name="connsiteX16" fmla="*/ 448831 w 1420427"/>
                <a:gd name="connsiteY16" fmla="*/ 1308175 h 1420427"/>
                <a:gd name="connsiteX17" fmla="*/ 112253 w 1420427"/>
                <a:gd name="connsiteY17" fmla="*/ 971597 h 1420427"/>
                <a:gd name="connsiteX18" fmla="*/ 81851 w 1420427"/>
                <a:gd name="connsiteY18" fmla="*/ 886148 h 1420427"/>
                <a:gd name="connsiteX19" fmla="*/ 57745 w 1420427"/>
                <a:gd name="connsiteY19" fmla="*/ 710214 h 1420427"/>
                <a:gd name="connsiteX20" fmla="*/ 63142 w 1420427"/>
                <a:gd name="connsiteY20" fmla="*/ 626024 h 1420427"/>
                <a:gd name="connsiteX21" fmla="*/ 710214 w 1420427"/>
                <a:gd name="connsiteY21" fmla="*/ 57745 h 1420427"/>
                <a:gd name="connsiteX22" fmla="*/ 803758 w 1420427"/>
                <a:gd name="connsiteY22" fmla="*/ 64401 h 1420427"/>
                <a:gd name="connsiteX23" fmla="*/ 1356026 w 1420427"/>
                <a:gd name="connsiteY23" fmla="*/ 616670 h 1420427"/>
                <a:gd name="connsiteX24" fmla="*/ 1362682 w 1420427"/>
                <a:gd name="connsiteY24" fmla="*/ 710214 h 1420427"/>
                <a:gd name="connsiteX25" fmla="*/ 710214 w 1420427"/>
                <a:gd name="connsiteY25" fmla="*/ 1362682 h 142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20427" h="1420427">
                  <a:moveTo>
                    <a:pt x="1419708" y="680352"/>
                  </a:moveTo>
                  <a:cubicBezTo>
                    <a:pt x="1404597" y="311753"/>
                    <a:pt x="1108675" y="15830"/>
                    <a:pt x="740076" y="720"/>
                  </a:cubicBezTo>
                  <a:cubicBezTo>
                    <a:pt x="730182" y="180"/>
                    <a:pt x="720288" y="0"/>
                    <a:pt x="710214" y="0"/>
                  </a:cubicBezTo>
                  <a:cubicBezTo>
                    <a:pt x="365721" y="0"/>
                    <a:pt x="78613" y="245013"/>
                    <a:pt x="13672" y="570438"/>
                  </a:cubicBezTo>
                  <a:cubicBezTo>
                    <a:pt x="4677" y="615591"/>
                    <a:pt x="0" y="662362"/>
                    <a:pt x="0" y="710214"/>
                  </a:cubicBezTo>
                  <a:cubicBezTo>
                    <a:pt x="0" y="744573"/>
                    <a:pt x="2518" y="778393"/>
                    <a:pt x="7196" y="811493"/>
                  </a:cubicBezTo>
                  <a:cubicBezTo>
                    <a:pt x="10434" y="834519"/>
                    <a:pt x="14931" y="857365"/>
                    <a:pt x="20328" y="879672"/>
                  </a:cubicBezTo>
                  <a:cubicBezTo>
                    <a:pt x="82930" y="1135838"/>
                    <a:pt x="284589" y="1337497"/>
                    <a:pt x="540756" y="1400100"/>
                  </a:cubicBezTo>
                  <a:cubicBezTo>
                    <a:pt x="563062" y="1405496"/>
                    <a:pt x="585908" y="1409994"/>
                    <a:pt x="608935" y="1413232"/>
                  </a:cubicBezTo>
                  <a:cubicBezTo>
                    <a:pt x="642035" y="1417909"/>
                    <a:pt x="675854" y="1420427"/>
                    <a:pt x="710214" y="1420427"/>
                  </a:cubicBezTo>
                  <a:lnTo>
                    <a:pt x="716510" y="1420427"/>
                  </a:lnTo>
                  <a:cubicBezTo>
                    <a:pt x="1105976" y="1417010"/>
                    <a:pt x="1420428" y="1100580"/>
                    <a:pt x="1420428" y="710214"/>
                  </a:cubicBezTo>
                  <a:cubicBezTo>
                    <a:pt x="1420428" y="700140"/>
                    <a:pt x="1420248" y="690246"/>
                    <a:pt x="1419708" y="680352"/>
                  </a:cubicBezTo>
                  <a:close/>
                  <a:moveTo>
                    <a:pt x="710214" y="1362682"/>
                  </a:moveTo>
                  <a:cubicBezTo>
                    <a:pt x="697262" y="1362682"/>
                    <a:pt x="684309" y="1362322"/>
                    <a:pt x="671357" y="1361423"/>
                  </a:cubicBezTo>
                  <a:cubicBezTo>
                    <a:pt x="624225" y="1358725"/>
                    <a:pt x="578353" y="1350989"/>
                    <a:pt x="534279" y="1338577"/>
                  </a:cubicBezTo>
                  <a:cubicBezTo>
                    <a:pt x="504957" y="1330482"/>
                    <a:pt x="476354" y="1320228"/>
                    <a:pt x="448831" y="1308175"/>
                  </a:cubicBezTo>
                  <a:cubicBezTo>
                    <a:pt x="298621" y="1242514"/>
                    <a:pt x="177913" y="1121807"/>
                    <a:pt x="112253" y="971597"/>
                  </a:cubicBezTo>
                  <a:cubicBezTo>
                    <a:pt x="100200" y="944073"/>
                    <a:pt x="89946" y="915471"/>
                    <a:pt x="81851" y="886148"/>
                  </a:cubicBezTo>
                  <a:cubicBezTo>
                    <a:pt x="66020" y="830202"/>
                    <a:pt x="57745" y="771197"/>
                    <a:pt x="57745" y="710214"/>
                  </a:cubicBezTo>
                  <a:cubicBezTo>
                    <a:pt x="57745" y="681791"/>
                    <a:pt x="59544" y="653548"/>
                    <a:pt x="63142" y="626024"/>
                  </a:cubicBezTo>
                  <a:cubicBezTo>
                    <a:pt x="104517" y="305457"/>
                    <a:pt x="378493" y="57745"/>
                    <a:pt x="710214" y="57745"/>
                  </a:cubicBezTo>
                  <a:cubicBezTo>
                    <a:pt x="742055" y="57745"/>
                    <a:pt x="773176" y="60084"/>
                    <a:pt x="803758" y="64401"/>
                  </a:cubicBezTo>
                  <a:cubicBezTo>
                    <a:pt x="1089246" y="105417"/>
                    <a:pt x="1315011" y="331181"/>
                    <a:pt x="1356026" y="616670"/>
                  </a:cubicBezTo>
                  <a:cubicBezTo>
                    <a:pt x="1360344" y="647251"/>
                    <a:pt x="1362682" y="678373"/>
                    <a:pt x="1362682" y="710214"/>
                  </a:cubicBezTo>
                  <a:cubicBezTo>
                    <a:pt x="1362682" y="1070537"/>
                    <a:pt x="1070538" y="1362682"/>
                    <a:pt x="710214" y="1362682"/>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0" name="Freeform: Shape 40">
              <a:extLst>
                <a:ext uri="{FF2B5EF4-FFF2-40B4-BE49-F238E27FC236}">
                  <a16:creationId xmlns:a16="http://schemas.microsoft.com/office/drawing/2014/main" id="{F1113073-8A53-5648-8D29-688BF62C3037}"/>
                </a:ext>
              </a:extLst>
            </p:cNvPr>
            <p:cNvSpPr/>
            <p:nvPr/>
          </p:nvSpPr>
          <p:spPr>
            <a:xfrm flipH="1">
              <a:off x="8732317" y="1064960"/>
              <a:ext cx="1074135" cy="1074315"/>
            </a:xfrm>
            <a:custGeom>
              <a:avLst/>
              <a:gdLst>
                <a:gd name="connsiteX0" fmla="*/ 993904 w 1074135"/>
                <a:gd name="connsiteY0" fmla="*/ 254547 h 1074315"/>
                <a:gd name="connsiteX1" fmla="*/ 819768 w 1074135"/>
                <a:gd name="connsiteY1" fmla="*/ 80412 h 1074315"/>
                <a:gd name="connsiteX2" fmla="*/ 537158 w 1074135"/>
                <a:gd name="connsiteY2" fmla="*/ 0 h 1074315"/>
                <a:gd name="connsiteX3" fmla="*/ 0 w 1074135"/>
                <a:gd name="connsiteY3" fmla="*/ 537158 h 1074315"/>
                <a:gd name="connsiteX4" fmla="*/ 1799 w 1074135"/>
                <a:gd name="connsiteY4" fmla="*/ 580871 h 1074315"/>
                <a:gd name="connsiteX5" fmla="*/ 394144 w 1074135"/>
                <a:gd name="connsiteY5" fmla="*/ 1054887 h 1074315"/>
                <a:gd name="connsiteX6" fmla="*/ 394144 w 1074135"/>
                <a:gd name="connsiteY6" fmla="*/ 1054887 h 1074315"/>
                <a:gd name="connsiteX7" fmla="*/ 536978 w 1074135"/>
                <a:gd name="connsiteY7" fmla="*/ 1074315 h 1074315"/>
                <a:gd name="connsiteX8" fmla="*/ 1074136 w 1074135"/>
                <a:gd name="connsiteY8" fmla="*/ 537158 h 1074315"/>
                <a:gd name="connsiteX9" fmla="*/ 993724 w 1074135"/>
                <a:gd name="connsiteY9" fmla="*/ 254547 h 1074315"/>
                <a:gd name="connsiteX10" fmla="*/ 537158 w 1074135"/>
                <a:gd name="connsiteY10" fmla="*/ 1013152 h 1074315"/>
                <a:gd name="connsiteX11" fmla="*/ 318589 w 1074135"/>
                <a:gd name="connsiteY11" fmla="*/ 960084 h 1074315"/>
                <a:gd name="connsiteX12" fmla="*/ 318409 w 1074135"/>
                <a:gd name="connsiteY12" fmla="*/ 960084 h 1074315"/>
                <a:gd name="connsiteX13" fmla="*/ 318229 w 1074135"/>
                <a:gd name="connsiteY13" fmla="*/ 959904 h 1074315"/>
                <a:gd name="connsiteX14" fmla="*/ 80951 w 1074135"/>
                <a:gd name="connsiteY14" fmla="*/ 673156 h 1074315"/>
                <a:gd name="connsiteX15" fmla="*/ 80951 w 1074135"/>
                <a:gd name="connsiteY15" fmla="*/ 673156 h 1074315"/>
                <a:gd name="connsiteX16" fmla="*/ 61163 w 1074135"/>
                <a:gd name="connsiteY16" fmla="*/ 537158 h 1074315"/>
                <a:gd name="connsiteX17" fmla="*/ 537158 w 1074135"/>
                <a:gd name="connsiteY17" fmla="*/ 61163 h 1074315"/>
                <a:gd name="connsiteX18" fmla="*/ 1013152 w 1074135"/>
                <a:gd name="connsiteY18" fmla="*/ 537158 h 1074315"/>
                <a:gd name="connsiteX19" fmla="*/ 537158 w 1074135"/>
                <a:gd name="connsiteY19" fmla="*/ 1013152 h 107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4135" h="1074315">
                  <a:moveTo>
                    <a:pt x="993904" y="254547"/>
                  </a:moveTo>
                  <a:cubicBezTo>
                    <a:pt x="950190" y="183850"/>
                    <a:pt x="890466" y="124125"/>
                    <a:pt x="819768" y="80412"/>
                  </a:cubicBezTo>
                  <a:cubicBezTo>
                    <a:pt x="737737" y="29322"/>
                    <a:pt x="640955" y="0"/>
                    <a:pt x="537158" y="0"/>
                  </a:cubicBezTo>
                  <a:cubicBezTo>
                    <a:pt x="240516" y="0"/>
                    <a:pt x="0" y="240516"/>
                    <a:pt x="0" y="537158"/>
                  </a:cubicBezTo>
                  <a:cubicBezTo>
                    <a:pt x="0" y="551909"/>
                    <a:pt x="540" y="566480"/>
                    <a:pt x="1799" y="580871"/>
                  </a:cubicBezTo>
                  <a:cubicBezTo>
                    <a:pt x="20148" y="808615"/>
                    <a:pt x="180432" y="996062"/>
                    <a:pt x="394144" y="1054887"/>
                  </a:cubicBezTo>
                  <a:lnTo>
                    <a:pt x="394144" y="1054887"/>
                  </a:lnTo>
                  <a:cubicBezTo>
                    <a:pt x="439656" y="1067659"/>
                    <a:pt x="487508" y="1074315"/>
                    <a:pt x="536978" y="1074315"/>
                  </a:cubicBezTo>
                  <a:cubicBezTo>
                    <a:pt x="833620" y="1074315"/>
                    <a:pt x="1074136" y="833800"/>
                    <a:pt x="1074136" y="537158"/>
                  </a:cubicBezTo>
                  <a:cubicBezTo>
                    <a:pt x="1074136" y="433360"/>
                    <a:pt x="1044813" y="336578"/>
                    <a:pt x="993724" y="254547"/>
                  </a:cubicBezTo>
                  <a:close/>
                  <a:moveTo>
                    <a:pt x="537158" y="1013152"/>
                  </a:moveTo>
                  <a:cubicBezTo>
                    <a:pt x="458185" y="1013152"/>
                    <a:pt x="384070" y="993903"/>
                    <a:pt x="318589" y="960084"/>
                  </a:cubicBezTo>
                  <a:lnTo>
                    <a:pt x="318409" y="960084"/>
                  </a:lnTo>
                  <a:cubicBezTo>
                    <a:pt x="318409" y="960084"/>
                    <a:pt x="318229" y="959904"/>
                    <a:pt x="318229" y="959904"/>
                  </a:cubicBezTo>
                  <a:cubicBezTo>
                    <a:pt x="204717" y="901079"/>
                    <a:pt x="117829" y="797821"/>
                    <a:pt x="80951" y="673156"/>
                  </a:cubicBezTo>
                  <a:lnTo>
                    <a:pt x="80951" y="673156"/>
                  </a:lnTo>
                  <a:cubicBezTo>
                    <a:pt x="67999" y="629982"/>
                    <a:pt x="61163" y="584469"/>
                    <a:pt x="61163" y="537158"/>
                  </a:cubicBezTo>
                  <a:cubicBezTo>
                    <a:pt x="61163" y="274335"/>
                    <a:pt x="274335" y="61163"/>
                    <a:pt x="537158" y="61163"/>
                  </a:cubicBezTo>
                  <a:cubicBezTo>
                    <a:pt x="799980" y="61163"/>
                    <a:pt x="1013152" y="274335"/>
                    <a:pt x="1013152" y="537158"/>
                  </a:cubicBezTo>
                  <a:cubicBezTo>
                    <a:pt x="1013152" y="799980"/>
                    <a:pt x="799980" y="1013152"/>
                    <a:pt x="537158" y="1013152"/>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6" name="Freeform: Shape 41">
              <a:extLst>
                <a:ext uri="{FF2B5EF4-FFF2-40B4-BE49-F238E27FC236}">
                  <a16:creationId xmlns:a16="http://schemas.microsoft.com/office/drawing/2014/main" id="{28636BDB-56DF-0791-3116-756A8C1D94DE}"/>
                </a:ext>
              </a:extLst>
            </p:cNvPr>
            <p:cNvSpPr/>
            <p:nvPr/>
          </p:nvSpPr>
          <p:spPr>
            <a:xfrm flipH="1">
              <a:off x="8930378" y="1263201"/>
              <a:ext cx="677833" cy="677833"/>
            </a:xfrm>
            <a:custGeom>
              <a:avLst/>
              <a:gdLst>
                <a:gd name="connsiteX0" fmla="*/ 338917 w 677833"/>
                <a:gd name="connsiteY0" fmla="*/ 0 h 677833"/>
                <a:gd name="connsiteX1" fmla="*/ 0 w 677833"/>
                <a:gd name="connsiteY1" fmla="*/ 338917 h 677833"/>
                <a:gd name="connsiteX2" fmla="*/ 338917 w 677833"/>
                <a:gd name="connsiteY2" fmla="*/ 677833 h 677833"/>
                <a:gd name="connsiteX3" fmla="*/ 677833 w 677833"/>
                <a:gd name="connsiteY3" fmla="*/ 338917 h 677833"/>
                <a:gd name="connsiteX4" fmla="*/ 338917 w 677833"/>
                <a:gd name="connsiteY4" fmla="*/ 0 h 677833"/>
                <a:gd name="connsiteX5" fmla="*/ 338917 w 677833"/>
                <a:gd name="connsiteY5" fmla="*/ 619008 h 677833"/>
                <a:gd name="connsiteX6" fmla="*/ 58825 w 677833"/>
                <a:gd name="connsiteY6" fmla="*/ 338917 h 677833"/>
                <a:gd name="connsiteX7" fmla="*/ 338917 w 677833"/>
                <a:gd name="connsiteY7" fmla="*/ 58825 h 677833"/>
                <a:gd name="connsiteX8" fmla="*/ 619008 w 677833"/>
                <a:gd name="connsiteY8" fmla="*/ 338917 h 677833"/>
                <a:gd name="connsiteX9" fmla="*/ 338917 w 677833"/>
                <a:gd name="connsiteY9" fmla="*/ 619008 h 67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7833" h="677833">
                  <a:moveTo>
                    <a:pt x="338917" y="0"/>
                  </a:moveTo>
                  <a:cubicBezTo>
                    <a:pt x="151829" y="0"/>
                    <a:pt x="0" y="151829"/>
                    <a:pt x="0" y="338917"/>
                  </a:cubicBezTo>
                  <a:cubicBezTo>
                    <a:pt x="0" y="526004"/>
                    <a:pt x="151829" y="677833"/>
                    <a:pt x="338917" y="677833"/>
                  </a:cubicBezTo>
                  <a:cubicBezTo>
                    <a:pt x="526004" y="677833"/>
                    <a:pt x="677833" y="526184"/>
                    <a:pt x="677833" y="338917"/>
                  </a:cubicBezTo>
                  <a:cubicBezTo>
                    <a:pt x="677833" y="151649"/>
                    <a:pt x="526184" y="0"/>
                    <a:pt x="338917" y="0"/>
                  </a:cubicBezTo>
                  <a:close/>
                  <a:moveTo>
                    <a:pt x="338917" y="619008"/>
                  </a:moveTo>
                  <a:cubicBezTo>
                    <a:pt x="184209" y="619008"/>
                    <a:pt x="58825" y="493624"/>
                    <a:pt x="58825" y="338917"/>
                  </a:cubicBezTo>
                  <a:cubicBezTo>
                    <a:pt x="58825" y="184209"/>
                    <a:pt x="184209" y="58825"/>
                    <a:pt x="338917" y="58825"/>
                  </a:cubicBezTo>
                  <a:cubicBezTo>
                    <a:pt x="493624" y="58825"/>
                    <a:pt x="619008" y="184209"/>
                    <a:pt x="619008" y="338917"/>
                  </a:cubicBezTo>
                  <a:cubicBezTo>
                    <a:pt x="619008" y="493624"/>
                    <a:pt x="493624" y="619008"/>
                    <a:pt x="338917" y="619008"/>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7" name="Freeform: Shape 42">
              <a:extLst>
                <a:ext uri="{FF2B5EF4-FFF2-40B4-BE49-F238E27FC236}">
                  <a16:creationId xmlns:a16="http://schemas.microsoft.com/office/drawing/2014/main" id="{FBDECF47-CED5-1263-9954-DBF9AB295A63}"/>
                </a:ext>
              </a:extLst>
            </p:cNvPr>
            <p:cNvSpPr/>
            <p:nvPr/>
          </p:nvSpPr>
          <p:spPr>
            <a:xfrm flipH="1">
              <a:off x="9102175" y="1434998"/>
              <a:ext cx="334239" cy="334239"/>
            </a:xfrm>
            <a:custGeom>
              <a:avLst/>
              <a:gdLst>
                <a:gd name="connsiteX0" fmla="*/ 167120 w 334239"/>
                <a:gd name="connsiteY0" fmla="*/ 0 h 334239"/>
                <a:gd name="connsiteX1" fmla="*/ 0 w 334239"/>
                <a:gd name="connsiteY1" fmla="*/ 167120 h 334239"/>
                <a:gd name="connsiteX2" fmla="*/ 167120 w 334239"/>
                <a:gd name="connsiteY2" fmla="*/ 334239 h 334239"/>
                <a:gd name="connsiteX3" fmla="*/ 334239 w 334239"/>
                <a:gd name="connsiteY3" fmla="*/ 167120 h 334239"/>
                <a:gd name="connsiteX4" fmla="*/ 167120 w 334239"/>
                <a:gd name="connsiteY4" fmla="*/ 0 h 334239"/>
                <a:gd name="connsiteX5" fmla="*/ 167120 w 334239"/>
                <a:gd name="connsiteY5" fmla="*/ 281351 h 334239"/>
                <a:gd name="connsiteX6" fmla="*/ 52888 w 334239"/>
                <a:gd name="connsiteY6" fmla="*/ 167120 h 334239"/>
                <a:gd name="connsiteX7" fmla="*/ 167120 w 334239"/>
                <a:gd name="connsiteY7" fmla="*/ 52888 h 334239"/>
                <a:gd name="connsiteX8" fmla="*/ 281351 w 334239"/>
                <a:gd name="connsiteY8" fmla="*/ 167120 h 334239"/>
                <a:gd name="connsiteX9" fmla="*/ 167120 w 334239"/>
                <a:gd name="connsiteY9" fmla="*/ 281351 h 33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4239" h="334239">
                  <a:moveTo>
                    <a:pt x="167120" y="0"/>
                  </a:moveTo>
                  <a:cubicBezTo>
                    <a:pt x="74835" y="0"/>
                    <a:pt x="0" y="74835"/>
                    <a:pt x="0" y="167120"/>
                  </a:cubicBezTo>
                  <a:cubicBezTo>
                    <a:pt x="0" y="259404"/>
                    <a:pt x="74835" y="334239"/>
                    <a:pt x="167120" y="334239"/>
                  </a:cubicBezTo>
                  <a:cubicBezTo>
                    <a:pt x="259405" y="334239"/>
                    <a:pt x="334239" y="259404"/>
                    <a:pt x="334239" y="167120"/>
                  </a:cubicBezTo>
                  <a:cubicBezTo>
                    <a:pt x="334239" y="74835"/>
                    <a:pt x="259405" y="0"/>
                    <a:pt x="167120" y="0"/>
                  </a:cubicBezTo>
                  <a:close/>
                  <a:moveTo>
                    <a:pt x="167120" y="281351"/>
                  </a:moveTo>
                  <a:cubicBezTo>
                    <a:pt x="104158" y="281351"/>
                    <a:pt x="52888" y="230262"/>
                    <a:pt x="52888" y="167120"/>
                  </a:cubicBezTo>
                  <a:cubicBezTo>
                    <a:pt x="52888" y="103978"/>
                    <a:pt x="104158" y="52888"/>
                    <a:pt x="167120" y="52888"/>
                  </a:cubicBezTo>
                  <a:cubicBezTo>
                    <a:pt x="230082" y="52888"/>
                    <a:pt x="281351" y="104158"/>
                    <a:pt x="281351" y="167120"/>
                  </a:cubicBezTo>
                  <a:cubicBezTo>
                    <a:pt x="281351" y="230082"/>
                    <a:pt x="230262" y="281351"/>
                    <a:pt x="167120" y="281351"/>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8" name="Freeform: Shape 43">
              <a:extLst>
                <a:ext uri="{FF2B5EF4-FFF2-40B4-BE49-F238E27FC236}">
                  <a16:creationId xmlns:a16="http://schemas.microsoft.com/office/drawing/2014/main" id="{A7D683D5-27F9-55A9-1CDB-7B486D835525}"/>
                </a:ext>
              </a:extLst>
            </p:cNvPr>
            <p:cNvSpPr/>
            <p:nvPr/>
          </p:nvSpPr>
          <p:spPr>
            <a:xfrm flipH="1">
              <a:off x="11134328" y="2879711"/>
              <a:ext cx="347099" cy="363232"/>
            </a:xfrm>
            <a:custGeom>
              <a:avLst/>
              <a:gdLst>
                <a:gd name="connsiteX0" fmla="*/ 323086 w 347099"/>
                <a:gd name="connsiteY0" fmla="*/ 16010 h 363232"/>
                <a:gd name="connsiteX1" fmla="*/ 0 w 347099"/>
                <a:gd name="connsiteY1" fmla="*/ 339096 h 363232"/>
                <a:gd name="connsiteX2" fmla="*/ 276674 w 347099"/>
                <a:gd name="connsiteY2" fmla="*/ 292684 h 363232"/>
                <a:gd name="connsiteX3" fmla="*/ 314631 w 347099"/>
                <a:gd name="connsiteY3" fmla="*/ 0 h 363232"/>
                <a:gd name="connsiteX4" fmla="*/ 323086 w 347099"/>
                <a:gd name="connsiteY4" fmla="*/ 15831 h 363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9" h="363232">
                  <a:moveTo>
                    <a:pt x="323086" y="16010"/>
                  </a:moveTo>
                  <a:lnTo>
                    <a:pt x="0" y="339096"/>
                  </a:lnTo>
                  <a:cubicBezTo>
                    <a:pt x="90126" y="382630"/>
                    <a:pt x="202199" y="367340"/>
                    <a:pt x="276674" y="292684"/>
                  </a:cubicBezTo>
                  <a:cubicBezTo>
                    <a:pt x="355647" y="213712"/>
                    <a:pt x="368059" y="92644"/>
                    <a:pt x="314631" y="0"/>
                  </a:cubicBezTo>
                  <a:cubicBezTo>
                    <a:pt x="317689" y="5217"/>
                    <a:pt x="320388" y="10434"/>
                    <a:pt x="323086" y="15831"/>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9" name="Freeform: Shape 44">
              <a:extLst>
                <a:ext uri="{FF2B5EF4-FFF2-40B4-BE49-F238E27FC236}">
                  <a16:creationId xmlns:a16="http://schemas.microsoft.com/office/drawing/2014/main" id="{57363D35-7871-51F3-4438-4E24FBF9D3F8}"/>
                </a:ext>
              </a:extLst>
            </p:cNvPr>
            <p:cNvSpPr/>
            <p:nvPr/>
          </p:nvSpPr>
          <p:spPr>
            <a:xfrm flipH="1">
              <a:off x="11168776" y="2863161"/>
              <a:ext cx="8454" cy="13132"/>
            </a:xfrm>
            <a:custGeom>
              <a:avLst/>
              <a:gdLst>
                <a:gd name="connsiteX0" fmla="*/ 0 w 8454"/>
                <a:gd name="connsiteY0" fmla="*/ 0 h 13132"/>
                <a:gd name="connsiteX1" fmla="*/ 8455 w 8454"/>
                <a:gd name="connsiteY1" fmla="*/ 13132 h 13132"/>
                <a:gd name="connsiteX2" fmla="*/ 0 w 8454"/>
                <a:gd name="connsiteY2" fmla="*/ 0 h 13132"/>
              </a:gdLst>
              <a:ahLst/>
              <a:cxnLst>
                <a:cxn ang="0">
                  <a:pos x="connsiteX0" y="connsiteY0"/>
                </a:cxn>
                <a:cxn ang="0">
                  <a:pos x="connsiteX1" y="connsiteY1"/>
                </a:cxn>
                <a:cxn ang="0">
                  <a:pos x="connsiteX2" y="connsiteY2"/>
                </a:cxn>
              </a:cxnLst>
              <a:rect l="l" t="t" r="r" b="b"/>
              <a:pathLst>
                <a:path w="8454" h="13132">
                  <a:moveTo>
                    <a:pt x="0" y="0"/>
                  </a:moveTo>
                  <a:cubicBezTo>
                    <a:pt x="2878" y="4317"/>
                    <a:pt x="5757" y="8635"/>
                    <a:pt x="8455" y="13132"/>
                  </a:cubicBezTo>
                  <a:cubicBezTo>
                    <a:pt x="5757" y="8635"/>
                    <a:pt x="3058" y="4317"/>
                    <a:pt x="0" y="0"/>
                  </a:cubicBez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Shape 45">
              <a:extLst>
                <a:ext uri="{FF2B5EF4-FFF2-40B4-BE49-F238E27FC236}">
                  <a16:creationId xmlns:a16="http://schemas.microsoft.com/office/drawing/2014/main" id="{E4F9F611-49FD-78DF-D45A-E3E1300B08A5}"/>
                </a:ext>
              </a:extLst>
            </p:cNvPr>
            <p:cNvSpPr/>
            <p:nvPr/>
          </p:nvSpPr>
          <p:spPr>
            <a:xfrm flipH="1">
              <a:off x="11182807" y="2846611"/>
              <a:ext cx="7015" cy="9354"/>
            </a:xfrm>
            <a:custGeom>
              <a:avLst/>
              <a:gdLst>
                <a:gd name="connsiteX0" fmla="*/ 0 w 7015"/>
                <a:gd name="connsiteY0" fmla="*/ 0 h 9354"/>
                <a:gd name="connsiteX1" fmla="*/ 7016 w 7015"/>
                <a:gd name="connsiteY1" fmla="*/ 9354 h 9354"/>
                <a:gd name="connsiteX2" fmla="*/ 0 w 7015"/>
                <a:gd name="connsiteY2" fmla="*/ 0 h 9354"/>
              </a:gdLst>
              <a:ahLst/>
              <a:cxnLst>
                <a:cxn ang="0">
                  <a:pos x="connsiteX0" y="connsiteY0"/>
                </a:cxn>
                <a:cxn ang="0">
                  <a:pos x="connsiteX1" y="connsiteY1"/>
                </a:cxn>
                <a:cxn ang="0">
                  <a:pos x="connsiteX2" y="connsiteY2"/>
                </a:cxn>
              </a:cxnLst>
              <a:rect l="l" t="t" r="r" b="b"/>
              <a:pathLst>
                <a:path w="7015" h="9354">
                  <a:moveTo>
                    <a:pt x="0" y="0"/>
                  </a:moveTo>
                  <a:cubicBezTo>
                    <a:pt x="2518" y="3058"/>
                    <a:pt x="4857" y="6116"/>
                    <a:pt x="7016" y="9354"/>
                  </a:cubicBezTo>
                  <a:cubicBezTo>
                    <a:pt x="4677" y="6296"/>
                    <a:pt x="2339" y="3058"/>
                    <a:pt x="0" y="0"/>
                  </a:cubicBez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Shape 46">
              <a:extLst>
                <a:ext uri="{FF2B5EF4-FFF2-40B4-BE49-F238E27FC236}">
                  <a16:creationId xmlns:a16="http://schemas.microsoft.com/office/drawing/2014/main" id="{1AEC9D1A-6AAE-042F-1ADB-BE8D4544D14C}"/>
                </a:ext>
              </a:extLst>
            </p:cNvPr>
            <p:cNvSpPr/>
            <p:nvPr/>
          </p:nvSpPr>
          <p:spPr>
            <a:xfrm rot="2700000" flipH="1">
              <a:off x="11200464" y="2851149"/>
              <a:ext cx="484269" cy="166939"/>
            </a:xfrm>
            <a:custGeom>
              <a:avLst/>
              <a:gdLst>
                <a:gd name="connsiteX0" fmla="*/ 0 w 484269"/>
                <a:gd name="connsiteY0" fmla="*/ 0 h 166939"/>
                <a:gd name="connsiteX1" fmla="*/ 484270 w 484269"/>
                <a:gd name="connsiteY1" fmla="*/ 0 h 166939"/>
                <a:gd name="connsiteX2" fmla="*/ 484270 w 484269"/>
                <a:gd name="connsiteY2" fmla="*/ 166940 h 166939"/>
                <a:gd name="connsiteX3" fmla="*/ 0 w 484269"/>
                <a:gd name="connsiteY3" fmla="*/ 166940 h 166939"/>
              </a:gdLst>
              <a:ahLst/>
              <a:cxnLst>
                <a:cxn ang="0">
                  <a:pos x="connsiteX0" y="connsiteY0"/>
                </a:cxn>
                <a:cxn ang="0">
                  <a:pos x="connsiteX1" y="connsiteY1"/>
                </a:cxn>
                <a:cxn ang="0">
                  <a:pos x="connsiteX2" y="connsiteY2"/>
                </a:cxn>
                <a:cxn ang="0">
                  <a:pos x="connsiteX3" y="connsiteY3"/>
                </a:cxn>
              </a:cxnLst>
              <a:rect l="l" t="t" r="r" b="b"/>
              <a:pathLst>
                <a:path w="484269" h="166939">
                  <a:moveTo>
                    <a:pt x="0" y="0"/>
                  </a:moveTo>
                  <a:lnTo>
                    <a:pt x="484270" y="0"/>
                  </a:lnTo>
                  <a:lnTo>
                    <a:pt x="484270" y="166940"/>
                  </a:lnTo>
                  <a:lnTo>
                    <a:pt x="0" y="166940"/>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2" name="Freeform: Shape 47">
              <a:extLst>
                <a:ext uri="{FF2B5EF4-FFF2-40B4-BE49-F238E27FC236}">
                  <a16:creationId xmlns:a16="http://schemas.microsoft.com/office/drawing/2014/main" id="{42FAB161-C6E7-0096-181A-BE981DA57E46}"/>
                </a:ext>
              </a:extLst>
            </p:cNvPr>
            <p:cNvSpPr/>
            <p:nvPr/>
          </p:nvSpPr>
          <p:spPr>
            <a:xfrm flipH="1">
              <a:off x="11521363" y="3187326"/>
              <a:ext cx="9174" cy="7016"/>
            </a:xfrm>
            <a:custGeom>
              <a:avLst/>
              <a:gdLst>
                <a:gd name="connsiteX0" fmla="*/ 9174 w 9174"/>
                <a:gd name="connsiteY0" fmla="*/ 7016 h 7016"/>
                <a:gd name="connsiteX1" fmla="*/ 0 w 9174"/>
                <a:gd name="connsiteY1" fmla="*/ 0 h 7016"/>
                <a:gd name="connsiteX2" fmla="*/ 9174 w 9174"/>
                <a:gd name="connsiteY2" fmla="*/ 7016 h 7016"/>
              </a:gdLst>
              <a:ahLst/>
              <a:cxnLst>
                <a:cxn ang="0">
                  <a:pos x="connsiteX0" y="connsiteY0"/>
                </a:cxn>
                <a:cxn ang="0">
                  <a:pos x="connsiteX1" y="connsiteY1"/>
                </a:cxn>
                <a:cxn ang="0">
                  <a:pos x="connsiteX2" y="connsiteY2"/>
                </a:cxn>
              </a:cxnLst>
              <a:rect l="l" t="t" r="r" b="b"/>
              <a:pathLst>
                <a:path w="9174" h="7016">
                  <a:moveTo>
                    <a:pt x="9174" y="7016"/>
                  </a:moveTo>
                  <a:cubicBezTo>
                    <a:pt x="6116" y="4677"/>
                    <a:pt x="3058" y="2519"/>
                    <a:pt x="0" y="0"/>
                  </a:cubicBezTo>
                  <a:cubicBezTo>
                    <a:pt x="3058" y="2519"/>
                    <a:pt x="6116" y="4677"/>
                    <a:pt x="9174" y="7016"/>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Shape 48">
              <a:extLst>
                <a:ext uri="{FF2B5EF4-FFF2-40B4-BE49-F238E27FC236}">
                  <a16:creationId xmlns:a16="http://schemas.microsoft.com/office/drawing/2014/main" id="{02793FBA-EBE7-8D0B-0250-0B69EE6D1906}"/>
                </a:ext>
              </a:extLst>
            </p:cNvPr>
            <p:cNvSpPr/>
            <p:nvPr/>
          </p:nvSpPr>
          <p:spPr>
            <a:xfrm flipH="1">
              <a:off x="11500856" y="3199919"/>
              <a:ext cx="12952" cy="8274"/>
            </a:xfrm>
            <a:custGeom>
              <a:avLst/>
              <a:gdLst>
                <a:gd name="connsiteX0" fmla="*/ 12952 w 12952"/>
                <a:gd name="connsiteY0" fmla="*/ 8275 h 8274"/>
                <a:gd name="connsiteX1" fmla="*/ 0 w 12952"/>
                <a:gd name="connsiteY1" fmla="*/ 0 h 8274"/>
                <a:gd name="connsiteX2" fmla="*/ 12952 w 12952"/>
                <a:gd name="connsiteY2" fmla="*/ 8275 h 8274"/>
              </a:gdLst>
              <a:ahLst/>
              <a:cxnLst>
                <a:cxn ang="0">
                  <a:pos x="connsiteX0" y="connsiteY0"/>
                </a:cxn>
                <a:cxn ang="0">
                  <a:pos x="connsiteX1" y="connsiteY1"/>
                </a:cxn>
                <a:cxn ang="0">
                  <a:pos x="connsiteX2" y="connsiteY2"/>
                </a:cxn>
              </a:cxnLst>
              <a:rect l="l" t="t" r="r" b="b"/>
              <a:pathLst>
                <a:path w="12952" h="8274">
                  <a:moveTo>
                    <a:pt x="12952" y="8275"/>
                  </a:moveTo>
                  <a:cubicBezTo>
                    <a:pt x="8635" y="5577"/>
                    <a:pt x="4138" y="2878"/>
                    <a:pt x="0" y="0"/>
                  </a:cubicBezTo>
                  <a:cubicBezTo>
                    <a:pt x="4317" y="2878"/>
                    <a:pt x="8635" y="5756"/>
                    <a:pt x="12952" y="8275"/>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Shape 49">
              <a:extLst>
                <a:ext uri="{FF2B5EF4-FFF2-40B4-BE49-F238E27FC236}">
                  <a16:creationId xmlns:a16="http://schemas.microsoft.com/office/drawing/2014/main" id="{97E67AA4-DFBA-8FDD-2324-B5E0395EDD76}"/>
                </a:ext>
              </a:extLst>
            </p:cNvPr>
            <p:cNvSpPr/>
            <p:nvPr/>
          </p:nvSpPr>
          <p:spPr>
            <a:xfrm flipH="1">
              <a:off x="11481427" y="3210353"/>
              <a:ext cx="15830" cy="8454"/>
            </a:xfrm>
            <a:custGeom>
              <a:avLst/>
              <a:gdLst>
                <a:gd name="connsiteX0" fmla="*/ 15831 w 15830"/>
                <a:gd name="connsiteY0" fmla="*/ 8455 h 8454"/>
                <a:gd name="connsiteX1" fmla="*/ 0 w 15830"/>
                <a:gd name="connsiteY1" fmla="*/ 0 h 8454"/>
                <a:gd name="connsiteX2" fmla="*/ 15831 w 15830"/>
                <a:gd name="connsiteY2" fmla="*/ 8455 h 8454"/>
              </a:gdLst>
              <a:ahLst/>
              <a:cxnLst>
                <a:cxn ang="0">
                  <a:pos x="connsiteX0" y="connsiteY0"/>
                </a:cxn>
                <a:cxn ang="0">
                  <a:pos x="connsiteX1" y="connsiteY1"/>
                </a:cxn>
                <a:cxn ang="0">
                  <a:pos x="connsiteX2" y="connsiteY2"/>
                </a:cxn>
              </a:cxnLst>
              <a:rect l="l" t="t" r="r" b="b"/>
              <a:pathLst>
                <a:path w="15830" h="8454">
                  <a:moveTo>
                    <a:pt x="15831" y="8455"/>
                  </a:moveTo>
                  <a:cubicBezTo>
                    <a:pt x="10434" y="5936"/>
                    <a:pt x="5217" y="3058"/>
                    <a:pt x="0" y="0"/>
                  </a:cubicBezTo>
                  <a:cubicBezTo>
                    <a:pt x="5217" y="3058"/>
                    <a:pt x="10434" y="5756"/>
                    <a:pt x="15831" y="8455"/>
                  </a:cubicBezTo>
                  <a:close/>
                </a:path>
              </a:pathLst>
            </a:custGeom>
            <a:gradFill>
              <a:gsLst>
                <a:gs pos="0">
                  <a:srgbClr val="0098FF"/>
                </a:gs>
                <a:gs pos="50000">
                  <a:srgbClr val="00BCFF"/>
                </a:gs>
                <a:gs pos="100000">
                  <a:srgbClr val="00E1FF"/>
                </a:gs>
              </a:gsLst>
              <a:lin ang="1349983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Shape 50">
              <a:extLst>
                <a:ext uri="{FF2B5EF4-FFF2-40B4-BE49-F238E27FC236}">
                  <a16:creationId xmlns:a16="http://schemas.microsoft.com/office/drawing/2014/main" id="{0BAE3C18-70B9-E263-BDB5-8672B7B911CE}"/>
                </a:ext>
              </a:extLst>
            </p:cNvPr>
            <p:cNvSpPr/>
            <p:nvPr/>
          </p:nvSpPr>
          <p:spPr>
            <a:xfrm flipH="1">
              <a:off x="11394000" y="2459124"/>
              <a:ext cx="460343" cy="524025"/>
            </a:xfrm>
            <a:custGeom>
              <a:avLst/>
              <a:gdLst>
                <a:gd name="connsiteX0" fmla="*/ 0 w 460343"/>
                <a:gd name="connsiteY0" fmla="*/ 406016 h 524025"/>
                <a:gd name="connsiteX1" fmla="*/ 118009 w 460343"/>
                <a:gd name="connsiteY1" fmla="*/ 524026 h 524025"/>
                <a:gd name="connsiteX2" fmla="*/ 460344 w 460343"/>
                <a:gd name="connsiteY2" fmla="*/ 181691 h 524025"/>
                <a:gd name="connsiteX3" fmla="*/ 278833 w 460343"/>
                <a:gd name="connsiteY3" fmla="*/ 0 h 524025"/>
                <a:gd name="connsiteX4" fmla="*/ 342335 w 460343"/>
                <a:gd name="connsiteY4" fmla="*/ 63682 h 524025"/>
                <a:gd name="connsiteX5" fmla="*/ 0 w 460343"/>
                <a:gd name="connsiteY5" fmla="*/ 406016 h 5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343" h="524025">
                  <a:moveTo>
                    <a:pt x="0" y="406016"/>
                  </a:moveTo>
                  <a:lnTo>
                    <a:pt x="118009" y="524026"/>
                  </a:lnTo>
                  <a:lnTo>
                    <a:pt x="460344" y="181691"/>
                  </a:lnTo>
                  <a:lnTo>
                    <a:pt x="278833" y="0"/>
                  </a:lnTo>
                  <a:lnTo>
                    <a:pt x="342335" y="63682"/>
                  </a:lnTo>
                  <a:lnTo>
                    <a:pt x="0" y="406016"/>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6" name="Freeform: Shape 51">
              <a:extLst>
                <a:ext uri="{FF2B5EF4-FFF2-40B4-BE49-F238E27FC236}">
                  <a16:creationId xmlns:a16="http://schemas.microsoft.com/office/drawing/2014/main" id="{A8DB4DAB-E567-81E3-0478-FF4297E5D92B}"/>
                </a:ext>
              </a:extLst>
            </p:cNvPr>
            <p:cNvSpPr/>
            <p:nvPr/>
          </p:nvSpPr>
          <p:spPr>
            <a:xfrm flipH="1">
              <a:off x="11575511" y="2277433"/>
              <a:ext cx="460523" cy="524025"/>
            </a:xfrm>
            <a:custGeom>
              <a:avLst/>
              <a:gdLst>
                <a:gd name="connsiteX0" fmla="*/ 0 w 460523"/>
                <a:gd name="connsiteY0" fmla="*/ 406016 h 524025"/>
                <a:gd name="connsiteX1" fmla="*/ 118009 w 460523"/>
                <a:gd name="connsiteY1" fmla="*/ 524025 h 524025"/>
                <a:gd name="connsiteX2" fmla="*/ 460524 w 460523"/>
                <a:gd name="connsiteY2" fmla="*/ 181691 h 524025"/>
                <a:gd name="connsiteX3" fmla="*/ 278833 w 460523"/>
                <a:gd name="connsiteY3" fmla="*/ 0 h 524025"/>
                <a:gd name="connsiteX4" fmla="*/ 342514 w 460523"/>
                <a:gd name="connsiteY4" fmla="*/ 63682 h 524025"/>
                <a:gd name="connsiteX5" fmla="*/ 0 w 460523"/>
                <a:gd name="connsiteY5" fmla="*/ 406016 h 5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523" h="524025">
                  <a:moveTo>
                    <a:pt x="0" y="406016"/>
                  </a:moveTo>
                  <a:lnTo>
                    <a:pt x="118009" y="524025"/>
                  </a:lnTo>
                  <a:lnTo>
                    <a:pt x="460524" y="181691"/>
                  </a:lnTo>
                  <a:lnTo>
                    <a:pt x="278833" y="0"/>
                  </a:lnTo>
                  <a:lnTo>
                    <a:pt x="342514" y="63682"/>
                  </a:lnTo>
                  <a:lnTo>
                    <a:pt x="0" y="406016"/>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7" name="Freeform: Shape 52">
              <a:extLst>
                <a:ext uri="{FF2B5EF4-FFF2-40B4-BE49-F238E27FC236}">
                  <a16:creationId xmlns:a16="http://schemas.microsoft.com/office/drawing/2014/main" id="{E669FF5B-FD42-D3E5-08B5-8EF27889B7FA}"/>
                </a:ext>
              </a:extLst>
            </p:cNvPr>
            <p:cNvSpPr/>
            <p:nvPr/>
          </p:nvSpPr>
          <p:spPr>
            <a:xfrm flipH="1">
              <a:off x="12120404" y="1853067"/>
              <a:ext cx="61163" cy="122326"/>
            </a:xfrm>
            <a:custGeom>
              <a:avLst/>
              <a:gdLst>
                <a:gd name="connsiteX0" fmla="*/ 61163 w 61163"/>
                <a:gd name="connsiteY0" fmla="*/ 61163 h 122326"/>
                <a:gd name="connsiteX1" fmla="*/ 0 w 61163"/>
                <a:gd name="connsiteY1" fmla="*/ 122327 h 122326"/>
                <a:gd name="connsiteX2" fmla="*/ 0 w 61163"/>
                <a:gd name="connsiteY2" fmla="*/ 0 h 122326"/>
                <a:gd name="connsiteX3" fmla="*/ 61163 w 61163"/>
                <a:gd name="connsiteY3" fmla="*/ 61163 h 122326"/>
              </a:gdLst>
              <a:ahLst/>
              <a:cxnLst>
                <a:cxn ang="0">
                  <a:pos x="connsiteX0" y="connsiteY0"/>
                </a:cxn>
                <a:cxn ang="0">
                  <a:pos x="connsiteX1" y="connsiteY1"/>
                </a:cxn>
                <a:cxn ang="0">
                  <a:pos x="connsiteX2" y="connsiteY2"/>
                </a:cxn>
                <a:cxn ang="0">
                  <a:pos x="connsiteX3" y="connsiteY3"/>
                </a:cxn>
              </a:cxnLst>
              <a:rect l="l" t="t" r="r" b="b"/>
              <a:pathLst>
                <a:path w="61163" h="122326">
                  <a:moveTo>
                    <a:pt x="61163" y="61163"/>
                  </a:moveTo>
                  <a:lnTo>
                    <a:pt x="0" y="122327"/>
                  </a:lnTo>
                  <a:lnTo>
                    <a:pt x="0" y="0"/>
                  </a:lnTo>
                  <a:lnTo>
                    <a:pt x="61163" y="61163"/>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8" name="Freeform: Shape 53">
              <a:extLst>
                <a:ext uri="{FF2B5EF4-FFF2-40B4-BE49-F238E27FC236}">
                  <a16:creationId xmlns:a16="http://schemas.microsoft.com/office/drawing/2014/main" id="{42BDB9DF-6FE4-3FE5-7ECD-58AD508D384C}"/>
                </a:ext>
              </a:extLst>
            </p:cNvPr>
            <p:cNvSpPr/>
            <p:nvPr/>
          </p:nvSpPr>
          <p:spPr>
            <a:xfrm flipH="1">
              <a:off x="11938893" y="1977912"/>
              <a:ext cx="242674" cy="360683"/>
            </a:xfrm>
            <a:custGeom>
              <a:avLst/>
              <a:gdLst>
                <a:gd name="connsiteX0" fmla="*/ 0 w 242674"/>
                <a:gd name="connsiteY0" fmla="*/ 360684 h 360683"/>
                <a:gd name="connsiteX1" fmla="*/ 0 w 242674"/>
                <a:gd name="connsiteY1" fmla="*/ 124665 h 360683"/>
                <a:gd name="connsiteX2" fmla="*/ 124665 w 242674"/>
                <a:gd name="connsiteY2" fmla="*/ 0 h 360683"/>
                <a:gd name="connsiteX3" fmla="*/ 242674 w 242674"/>
                <a:gd name="connsiteY3" fmla="*/ 118009 h 360683"/>
                <a:gd name="connsiteX4" fmla="*/ 0 w 242674"/>
                <a:gd name="connsiteY4" fmla="*/ 360684 h 36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674" h="360683">
                  <a:moveTo>
                    <a:pt x="0" y="360684"/>
                  </a:moveTo>
                  <a:lnTo>
                    <a:pt x="0" y="124665"/>
                  </a:lnTo>
                  <a:lnTo>
                    <a:pt x="124665" y="0"/>
                  </a:lnTo>
                  <a:lnTo>
                    <a:pt x="242674" y="118009"/>
                  </a:lnTo>
                  <a:lnTo>
                    <a:pt x="0" y="360684"/>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9" name="Freeform: Shape 54">
              <a:extLst>
                <a:ext uri="{FF2B5EF4-FFF2-40B4-BE49-F238E27FC236}">
                  <a16:creationId xmlns:a16="http://schemas.microsoft.com/office/drawing/2014/main" id="{EB5A16A6-1D30-EF35-8F3B-1B6C932C7D00}"/>
                </a:ext>
              </a:extLst>
            </p:cNvPr>
            <p:cNvSpPr/>
            <p:nvPr/>
          </p:nvSpPr>
          <p:spPr>
            <a:xfrm flipH="1">
              <a:off x="11757201" y="2159423"/>
              <a:ext cx="434799" cy="460523"/>
            </a:xfrm>
            <a:custGeom>
              <a:avLst/>
              <a:gdLst>
                <a:gd name="connsiteX0" fmla="*/ 434799 w 434799"/>
                <a:gd name="connsiteY0" fmla="*/ 118009 h 460523"/>
                <a:gd name="connsiteX1" fmla="*/ 354387 w 434799"/>
                <a:gd name="connsiteY1" fmla="*/ 198601 h 460523"/>
                <a:gd name="connsiteX2" fmla="*/ 283150 w 434799"/>
                <a:gd name="connsiteY2" fmla="*/ 269658 h 460523"/>
                <a:gd name="connsiteX3" fmla="*/ 282610 w 434799"/>
                <a:gd name="connsiteY3" fmla="*/ 270198 h 460523"/>
                <a:gd name="connsiteX4" fmla="*/ 92465 w 434799"/>
                <a:gd name="connsiteY4" fmla="*/ 460524 h 460523"/>
                <a:gd name="connsiteX5" fmla="*/ 0 w 434799"/>
                <a:gd name="connsiteY5" fmla="*/ 368059 h 460523"/>
                <a:gd name="connsiteX6" fmla="*/ 0 w 434799"/>
                <a:gd name="connsiteY6" fmla="*/ 316970 h 460523"/>
                <a:gd name="connsiteX7" fmla="*/ 10434 w 434799"/>
                <a:gd name="connsiteY7" fmla="*/ 306536 h 460523"/>
                <a:gd name="connsiteX8" fmla="*/ 164601 w 434799"/>
                <a:gd name="connsiteY8" fmla="*/ 152189 h 460523"/>
                <a:gd name="connsiteX9" fmla="*/ 165141 w 434799"/>
                <a:gd name="connsiteY9" fmla="*/ 151649 h 460523"/>
                <a:gd name="connsiteX10" fmla="*/ 236378 w 434799"/>
                <a:gd name="connsiteY10" fmla="*/ 80592 h 460523"/>
                <a:gd name="connsiteX11" fmla="*/ 316790 w 434799"/>
                <a:gd name="connsiteY11" fmla="*/ 0 h 460523"/>
                <a:gd name="connsiteX12" fmla="*/ 434799 w 434799"/>
                <a:gd name="connsiteY12" fmla="*/ 118009 h 46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4799" h="460523">
                  <a:moveTo>
                    <a:pt x="434799" y="118009"/>
                  </a:moveTo>
                  <a:lnTo>
                    <a:pt x="354387" y="198601"/>
                  </a:lnTo>
                  <a:lnTo>
                    <a:pt x="283150" y="269658"/>
                  </a:lnTo>
                  <a:lnTo>
                    <a:pt x="282610" y="270198"/>
                  </a:lnTo>
                  <a:lnTo>
                    <a:pt x="92465" y="460524"/>
                  </a:lnTo>
                  <a:lnTo>
                    <a:pt x="0" y="368059"/>
                  </a:lnTo>
                  <a:lnTo>
                    <a:pt x="0" y="316970"/>
                  </a:lnTo>
                  <a:lnTo>
                    <a:pt x="10434" y="306536"/>
                  </a:lnTo>
                  <a:lnTo>
                    <a:pt x="164601" y="152189"/>
                  </a:lnTo>
                  <a:lnTo>
                    <a:pt x="165141" y="151649"/>
                  </a:lnTo>
                  <a:lnTo>
                    <a:pt x="236378" y="80592"/>
                  </a:lnTo>
                  <a:lnTo>
                    <a:pt x="316790" y="0"/>
                  </a:lnTo>
                  <a:lnTo>
                    <a:pt x="434799" y="118009"/>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50" name="Freeform: Shape 55">
              <a:extLst>
                <a:ext uri="{FF2B5EF4-FFF2-40B4-BE49-F238E27FC236}">
                  <a16:creationId xmlns:a16="http://schemas.microsoft.com/office/drawing/2014/main" id="{2365DB64-5EF8-F092-36F1-32CE093CEDA7}"/>
                </a:ext>
              </a:extLst>
            </p:cNvPr>
            <p:cNvSpPr/>
            <p:nvPr/>
          </p:nvSpPr>
          <p:spPr>
            <a:xfrm flipH="1">
              <a:off x="7806503" y="354837"/>
              <a:ext cx="707695" cy="707695"/>
            </a:xfrm>
            <a:custGeom>
              <a:avLst/>
              <a:gdLst>
                <a:gd name="connsiteX0" fmla="*/ 41285 w 707695"/>
                <a:gd name="connsiteY0" fmla="*/ 41285 h 707695"/>
                <a:gd name="connsiteX1" fmla="*/ 41285 w 707695"/>
                <a:gd name="connsiteY1" fmla="*/ 41285 h 707695"/>
                <a:gd name="connsiteX2" fmla="*/ 240426 w 707695"/>
                <a:gd name="connsiteY2" fmla="*/ 41285 h 707695"/>
                <a:gd name="connsiteX3" fmla="*/ 666410 w 707695"/>
                <a:gd name="connsiteY3" fmla="*/ 467270 h 707695"/>
                <a:gd name="connsiteX4" fmla="*/ 666410 w 707695"/>
                <a:gd name="connsiteY4" fmla="*/ 666410 h 707695"/>
                <a:gd name="connsiteX5" fmla="*/ 666410 w 707695"/>
                <a:gd name="connsiteY5" fmla="*/ 666410 h 707695"/>
                <a:gd name="connsiteX6" fmla="*/ 467270 w 707695"/>
                <a:gd name="connsiteY6" fmla="*/ 666410 h 707695"/>
                <a:gd name="connsiteX7" fmla="*/ 41285 w 707695"/>
                <a:gd name="connsiteY7" fmla="*/ 240426 h 707695"/>
                <a:gd name="connsiteX8" fmla="*/ 41285 w 707695"/>
                <a:gd name="connsiteY8" fmla="*/ 41285 h 70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7695" h="707695">
                  <a:moveTo>
                    <a:pt x="41285" y="41285"/>
                  </a:moveTo>
                  <a:lnTo>
                    <a:pt x="41285" y="41285"/>
                  </a:lnTo>
                  <a:cubicBezTo>
                    <a:pt x="96332" y="-13762"/>
                    <a:pt x="185559" y="-13762"/>
                    <a:pt x="240426" y="41285"/>
                  </a:cubicBezTo>
                  <a:lnTo>
                    <a:pt x="666410" y="467270"/>
                  </a:lnTo>
                  <a:cubicBezTo>
                    <a:pt x="721457" y="522317"/>
                    <a:pt x="721457" y="611543"/>
                    <a:pt x="666410" y="666410"/>
                  </a:cubicBezTo>
                  <a:lnTo>
                    <a:pt x="666410" y="666410"/>
                  </a:lnTo>
                  <a:cubicBezTo>
                    <a:pt x="611363" y="721457"/>
                    <a:pt x="522137" y="721457"/>
                    <a:pt x="467270" y="666410"/>
                  </a:cubicBezTo>
                  <a:lnTo>
                    <a:pt x="41285" y="240426"/>
                  </a:lnTo>
                  <a:cubicBezTo>
                    <a:pt x="-13762" y="185379"/>
                    <a:pt x="-13762" y="96152"/>
                    <a:pt x="41285" y="41285"/>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6">
              <a:extLst>
                <a:ext uri="{FF2B5EF4-FFF2-40B4-BE49-F238E27FC236}">
                  <a16:creationId xmlns:a16="http://schemas.microsoft.com/office/drawing/2014/main" id="{30EDCCE0-0826-6A77-C28F-67B25222B174}"/>
                </a:ext>
              </a:extLst>
            </p:cNvPr>
            <p:cNvSpPr/>
            <p:nvPr/>
          </p:nvSpPr>
          <p:spPr>
            <a:xfrm flipH="1">
              <a:off x="11297757" y="5693582"/>
              <a:ext cx="554787" cy="554787"/>
            </a:xfrm>
            <a:custGeom>
              <a:avLst/>
              <a:gdLst>
                <a:gd name="connsiteX0" fmla="*/ 32381 w 554787"/>
                <a:gd name="connsiteY0" fmla="*/ 32380 h 554787"/>
                <a:gd name="connsiteX1" fmla="*/ 32381 w 554787"/>
                <a:gd name="connsiteY1" fmla="*/ 32380 h 554787"/>
                <a:gd name="connsiteX2" fmla="*/ 188527 w 554787"/>
                <a:gd name="connsiteY2" fmla="*/ 32380 h 554787"/>
                <a:gd name="connsiteX3" fmla="*/ 522406 w 554787"/>
                <a:gd name="connsiteY3" fmla="*/ 366260 h 554787"/>
                <a:gd name="connsiteX4" fmla="*/ 522406 w 554787"/>
                <a:gd name="connsiteY4" fmla="*/ 522407 h 554787"/>
                <a:gd name="connsiteX5" fmla="*/ 522406 w 554787"/>
                <a:gd name="connsiteY5" fmla="*/ 522407 h 554787"/>
                <a:gd name="connsiteX6" fmla="*/ 366260 w 554787"/>
                <a:gd name="connsiteY6" fmla="*/ 522407 h 554787"/>
                <a:gd name="connsiteX7" fmla="*/ 32381 w 554787"/>
                <a:gd name="connsiteY7" fmla="*/ 188527 h 554787"/>
                <a:gd name="connsiteX8" fmla="*/ 32381 w 554787"/>
                <a:gd name="connsiteY8" fmla="*/ 32380 h 55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7" h="554787">
                  <a:moveTo>
                    <a:pt x="32381" y="32380"/>
                  </a:moveTo>
                  <a:lnTo>
                    <a:pt x="32381" y="32380"/>
                  </a:lnTo>
                  <a:cubicBezTo>
                    <a:pt x="75555" y="-10793"/>
                    <a:pt x="145353" y="-10793"/>
                    <a:pt x="188527" y="32380"/>
                  </a:cubicBezTo>
                  <a:lnTo>
                    <a:pt x="522406" y="366260"/>
                  </a:lnTo>
                  <a:cubicBezTo>
                    <a:pt x="565581" y="409435"/>
                    <a:pt x="565581" y="479233"/>
                    <a:pt x="522406" y="522407"/>
                  </a:cubicBezTo>
                  <a:lnTo>
                    <a:pt x="522406" y="522407"/>
                  </a:lnTo>
                  <a:cubicBezTo>
                    <a:pt x="479232" y="565581"/>
                    <a:pt x="409434" y="565581"/>
                    <a:pt x="366260" y="522407"/>
                  </a:cubicBezTo>
                  <a:lnTo>
                    <a:pt x="32381" y="188527"/>
                  </a:lnTo>
                  <a:cubicBezTo>
                    <a:pt x="-10794" y="145353"/>
                    <a:pt x="-10794" y="75555"/>
                    <a:pt x="32381" y="32380"/>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52" name="Freeform: Shape 57">
              <a:extLst>
                <a:ext uri="{FF2B5EF4-FFF2-40B4-BE49-F238E27FC236}">
                  <a16:creationId xmlns:a16="http://schemas.microsoft.com/office/drawing/2014/main" id="{946FC67F-A3C9-609B-DBE6-60A87F5EF543}"/>
                </a:ext>
              </a:extLst>
            </p:cNvPr>
            <p:cNvSpPr/>
            <p:nvPr/>
          </p:nvSpPr>
          <p:spPr>
            <a:xfrm flipH="1">
              <a:off x="9049287" y="5732619"/>
              <a:ext cx="2108694" cy="1182429"/>
            </a:xfrm>
            <a:custGeom>
              <a:avLst/>
              <a:gdLst>
                <a:gd name="connsiteX0" fmla="*/ 2108695 w 2108694"/>
                <a:gd name="connsiteY0" fmla="*/ 1054347 h 1182429"/>
                <a:gd name="connsiteX1" fmla="*/ 2100959 w 2108694"/>
                <a:gd name="connsiteY1" fmla="*/ 1182430 h 1182429"/>
                <a:gd name="connsiteX2" fmla="*/ 7735 w 2108694"/>
                <a:gd name="connsiteY2" fmla="*/ 1182430 h 1182429"/>
                <a:gd name="connsiteX3" fmla="*/ 0 w 2108694"/>
                <a:gd name="connsiteY3" fmla="*/ 1054347 h 1182429"/>
                <a:gd name="connsiteX4" fmla="*/ 91565 w 2108694"/>
                <a:gd name="connsiteY4" fmla="*/ 624405 h 1182429"/>
                <a:gd name="connsiteX5" fmla="*/ 686468 w 2108694"/>
                <a:gd name="connsiteY5" fmla="*/ 66020 h 1182429"/>
                <a:gd name="connsiteX6" fmla="*/ 1054347 w 2108694"/>
                <a:gd name="connsiteY6" fmla="*/ 0 h 1182429"/>
                <a:gd name="connsiteX7" fmla="*/ 2108695 w 2108694"/>
                <a:gd name="connsiteY7" fmla="*/ 1054347 h 118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08694" h="1182429">
                  <a:moveTo>
                    <a:pt x="2108695" y="1054347"/>
                  </a:moveTo>
                  <a:cubicBezTo>
                    <a:pt x="2108695" y="1097701"/>
                    <a:pt x="2105996" y="1140515"/>
                    <a:pt x="2100959" y="1182430"/>
                  </a:cubicBezTo>
                  <a:lnTo>
                    <a:pt x="7735" y="1182430"/>
                  </a:lnTo>
                  <a:cubicBezTo>
                    <a:pt x="2698" y="1140515"/>
                    <a:pt x="0" y="1097701"/>
                    <a:pt x="0" y="1054347"/>
                  </a:cubicBezTo>
                  <a:cubicBezTo>
                    <a:pt x="0" y="901079"/>
                    <a:pt x="32560" y="755726"/>
                    <a:pt x="91565" y="624405"/>
                  </a:cubicBezTo>
                  <a:cubicBezTo>
                    <a:pt x="206336" y="367339"/>
                    <a:pt x="421127" y="164781"/>
                    <a:pt x="686468" y="66020"/>
                  </a:cubicBezTo>
                  <a:cubicBezTo>
                    <a:pt x="801059" y="23386"/>
                    <a:pt x="925005" y="0"/>
                    <a:pt x="1054347" y="0"/>
                  </a:cubicBezTo>
                  <a:cubicBezTo>
                    <a:pt x="1636658" y="0"/>
                    <a:pt x="2108695" y="472037"/>
                    <a:pt x="2108695" y="1054347"/>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Shape 58">
              <a:extLst>
                <a:ext uri="{FF2B5EF4-FFF2-40B4-BE49-F238E27FC236}">
                  <a16:creationId xmlns:a16="http://schemas.microsoft.com/office/drawing/2014/main" id="{9207EE5A-2C0E-F9AA-ACF6-8A44FE475955}"/>
                </a:ext>
              </a:extLst>
            </p:cNvPr>
            <p:cNvSpPr/>
            <p:nvPr/>
          </p:nvSpPr>
          <p:spPr>
            <a:xfrm flipH="1">
              <a:off x="6431498" y="3279971"/>
              <a:ext cx="480851" cy="480851"/>
            </a:xfrm>
            <a:custGeom>
              <a:avLst/>
              <a:gdLst>
                <a:gd name="connsiteX0" fmla="*/ 480492 w 480851"/>
                <a:gd name="connsiteY0" fmla="*/ 228103 h 480851"/>
                <a:gd name="connsiteX1" fmla="*/ 480492 w 480851"/>
                <a:gd name="connsiteY1" fmla="*/ 228103 h 480851"/>
                <a:gd name="connsiteX2" fmla="*/ 240336 w 480851"/>
                <a:gd name="connsiteY2" fmla="*/ 0 h 480851"/>
                <a:gd name="connsiteX3" fmla="*/ 105057 w 480851"/>
                <a:gd name="connsiteY3" fmla="*/ 41735 h 480851"/>
                <a:gd name="connsiteX4" fmla="*/ 103258 w 480851"/>
                <a:gd name="connsiteY4" fmla="*/ 42994 h 480851"/>
                <a:gd name="connsiteX5" fmla="*/ 0 w 480851"/>
                <a:gd name="connsiteY5" fmla="*/ 240516 h 480851"/>
                <a:gd name="connsiteX6" fmla="*/ 240336 w 480851"/>
                <a:gd name="connsiteY6" fmla="*/ 480851 h 480851"/>
                <a:gd name="connsiteX7" fmla="*/ 437857 w 480851"/>
                <a:gd name="connsiteY7" fmla="*/ 377593 h 480851"/>
                <a:gd name="connsiteX8" fmla="*/ 442715 w 480851"/>
                <a:gd name="connsiteY8" fmla="*/ 370038 h 480851"/>
                <a:gd name="connsiteX9" fmla="*/ 471677 w 480851"/>
                <a:gd name="connsiteY9" fmla="*/ 306176 h 480851"/>
                <a:gd name="connsiteX10" fmla="*/ 480852 w 480851"/>
                <a:gd name="connsiteY10" fmla="*/ 240516 h 480851"/>
                <a:gd name="connsiteX11" fmla="*/ 480492 w 480851"/>
                <a:gd name="connsiteY11" fmla="*/ 228103 h 480851"/>
                <a:gd name="connsiteX12" fmla="*/ 240336 w 480851"/>
                <a:gd name="connsiteY12" fmla="*/ 340356 h 480851"/>
                <a:gd name="connsiteX13" fmla="*/ 140496 w 480851"/>
                <a:gd name="connsiteY13" fmla="*/ 240516 h 480851"/>
                <a:gd name="connsiteX14" fmla="*/ 206696 w 480851"/>
                <a:gd name="connsiteY14" fmla="*/ 146432 h 480851"/>
                <a:gd name="connsiteX15" fmla="*/ 240336 w 480851"/>
                <a:gd name="connsiteY15" fmla="*/ 140496 h 480851"/>
                <a:gd name="connsiteX16" fmla="*/ 246093 w 480851"/>
                <a:gd name="connsiteY16" fmla="*/ 140856 h 480851"/>
                <a:gd name="connsiteX17" fmla="*/ 333160 w 480851"/>
                <a:gd name="connsiteY17" fmla="*/ 203638 h 480851"/>
                <a:gd name="connsiteX18" fmla="*/ 333160 w 480851"/>
                <a:gd name="connsiteY18" fmla="*/ 203638 h 480851"/>
                <a:gd name="connsiteX19" fmla="*/ 340356 w 480851"/>
                <a:gd name="connsiteY19" fmla="*/ 240516 h 480851"/>
                <a:gd name="connsiteX20" fmla="*/ 334419 w 480851"/>
                <a:gd name="connsiteY20" fmla="*/ 274156 h 480851"/>
                <a:gd name="connsiteX21" fmla="*/ 240336 w 480851"/>
                <a:gd name="connsiteY21" fmla="*/ 340356 h 48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0851" h="480851">
                  <a:moveTo>
                    <a:pt x="480492" y="228103"/>
                  </a:moveTo>
                  <a:lnTo>
                    <a:pt x="480492" y="228103"/>
                  </a:lnTo>
                  <a:cubicBezTo>
                    <a:pt x="474016" y="100919"/>
                    <a:pt x="368959" y="0"/>
                    <a:pt x="240336" y="0"/>
                  </a:cubicBezTo>
                  <a:cubicBezTo>
                    <a:pt x="190146" y="0"/>
                    <a:pt x="143554" y="15471"/>
                    <a:pt x="105057" y="41735"/>
                  </a:cubicBezTo>
                  <a:cubicBezTo>
                    <a:pt x="104338" y="42095"/>
                    <a:pt x="103798" y="42455"/>
                    <a:pt x="103258" y="42994"/>
                  </a:cubicBezTo>
                  <a:cubicBezTo>
                    <a:pt x="40836" y="86348"/>
                    <a:pt x="0" y="158665"/>
                    <a:pt x="0" y="240516"/>
                  </a:cubicBezTo>
                  <a:cubicBezTo>
                    <a:pt x="0" y="373276"/>
                    <a:pt x="107576" y="480851"/>
                    <a:pt x="240336" y="480851"/>
                  </a:cubicBezTo>
                  <a:cubicBezTo>
                    <a:pt x="322187" y="480851"/>
                    <a:pt x="394504" y="440016"/>
                    <a:pt x="437857" y="377593"/>
                  </a:cubicBezTo>
                  <a:cubicBezTo>
                    <a:pt x="439656" y="375075"/>
                    <a:pt x="441275" y="372556"/>
                    <a:pt x="442715" y="370038"/>
                  </a:cubicBezTo>
                  <a:cubicBezTo>
                    <a:pt x="455487" y="350610"/>
                    <a:pt x="465201" y="329022"/>
                    <a:pt x="471677" y="306176"/>
                  </a:cubicBezTo>
                  <a:cubicBezTo>
                    <a:pt x="477614" y="285309"/>
                    <a:pt x="480852" y="263362"/>
                    <a:pt x="480852" y="240516"/>
                  </a:cubicBezTo>
                  <a:cubicBezTo>
                    <a:pt x="480852" y="236378"/>
                    <a:pt x="480852" y="232241"/>
                    <a:pt x="480492" y="228103"/>
                  </a:cubicBezTo>
                  <a:close/>
                  <a:moveTo>
                    <a:pt x="240336" y="340356"/>
                  </a:moveTo>
                  <a:cubicBezTo>
                    <a:pt x="185289" y="340356"/>
                    <a:pt x="140496" y="295562"/>
                    <a:pt x="140496" y="240516"/>
                  </a:cubicBezTo>
                  <a:cubicBezTo>
                    <a:pt x="140496" y="197162"/>
                    <a:pt x="168199" y="160104"/>
                    <a:pt x="206696" y="146432"/>
                  </a:cubicBezTo>
                  <a:cubicBezTo>
                    <a:pt x="217130" y="142474"/>
                    <a:pt x="228463" y="140496"/>
                    <a:pt x="240336" y="140496"/>
                  </a:cubicBezTo>
                  <a:cubicBezTo>
                    <a:pt x="242315" y="140496"/>
                    <a:pt x="244114" y="140496"/>
                    <a:pt x="246093" y="140856"/>
                  </a:cubicBezTo>
                  <a:cubicBezTo>
                    <a:pt x="285849" y="143014"/>
                    <a:pt x="319308" y="168379"/>
                    <a:pt x="333160" y="203638"/>
                  </a:cubicBezTo>
                  <a:lnTo>
                    <a:pt x="333160" y="203638"/>
                  </a:lnTo>
                  <a:cubicBezTo>
                    <a:pt x="337837" y="215151"/>
                    <a:pt x="340356" y="227563"/>
                    <a:pt x="340356" y="240516"/>
                  </a:cubicBezTo>
                  <a:cubicBezTo>
                    <a:pt x="340356" y="252389"/>
                    <a:pt x="338377" y="263722"/>
                    <a:pt x="334419" y="274156"/>
                  </a:cubicBezTo>
                  <a:cubicBezTo>
                    <a:pt x="320748" y="312652"/>
                    <a:pt x="283690" y="340356"/>
                    <a:pt x="240336" y="340356"/>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54" name="Freeform: Shape 59">
              <a:extLst>
                <a:ext uri="{FF2B5EF4-FFF2-40B4-BE49-F238E27FC236}">
                  <a16:creationId xmlns:a16="http://schemas.microsoft.com/office/drawing/2014/main" id="{DF8301A3-596F-0BFE-D613-A73D490C21F0}"/>
                </a:ext>
              </a:extLst>
            </p:cNvPr>
            <p:cNvSpPr/>
            <p:nvPr/>
          </p:nvSpPr>
          <p:spPr>
            <a:xfrm flipH="1">
              <a:off x="11522263" y="3691204"/>
              <a:ext cx="419867" cy="419867"/>
            </a:xfrm>
            <a:custGeom>
              <a:avLst/>
              <a:gdLst>
                <a:gd name="connsiteX0" fmla="*/ 209934 w 419867"/>
                <a:gd name="connsiteY0" fmla="*/ 0 h 419867"/>
                <a:gd name="connsiteX1" fmla="*/ 0 w 419867"/>
                <a:gd name="connsiteY1" fmla="*/ 209934 h 419867"/>
                <a:gd name="connsiteX2" fmla="*/ 209934 w 419867"/>
                <a:gd name="connsiteY2" fmla="*/ 419868 h 419867"/>
                <a:gd name="connsiteX3" fmla="*/ 419868 w 419867"/>
                <a:gd name="connsiteY3" fmla="*/ 209934 h 419867"/>
                <a:gd name="connsiteX4" fmla="*/ 209934 w 419867"/>
                <a:gd name="connsiteY4" fmla="*/ 0 h 419867"/>
                <a:gd name="connsiteX5" fmla="*/ 209934 w 419867"/>
                <a:gd name="connsiteY5" fmla="*/ 297182 h 419867"/>
                <a:gd name="connsiteX6" fmla="*/ 122686 w 419867"/>
                <a:gd name="connsiteY6" fmla="*/ 209934 h 419867"/>
                <a:gd name="connsiteX7" fmla="*/ 209934 w 419867"/>
                <a:gd name="connsiteY7" fmla="*/ 122686 h 419867"/>
                <a:gd name="connsiteX8" fmla="*/ 297182 w 419867"/>
                <a:gd name="connsiteY8" fmla="*/ 209934 h 419867"/>
                <a:gd name="connsiteX9" fmla="*/ 209934 w 419867"/>
                <a:gd name="connsiteY9" fmla="*/ 297182 h 41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867" h="419867">
                  <a:moveTo>
                    <a:pt x="209934" y="0"/>
                  </a:moveTo>
                  <a:cubicBezTo>
                    <a:pt x="94084" y="0"/>
                    <a:pt x="0" y="93904"/>
                    <a:pt x="0" y="209934"/>
                  </a:cubicBezTo>
                  <a:cubicBezTo>
                    <a:pt x="0" y="325964"/>
                    <a:pt x="94084" y="419868"/>
                    <a:pt x="209934" y="419868"/>
                  </a:cubicBezTo>
                  <a:cubicBezTo>
                    <a:pt x="325784" y="419868"/>
                    <a:pt x="419868" y="325784"/>
                    <a:pt x="419868" y="209934"/>
                  </a:cubicBezTo>
                  <a:cubicBezTo>
                    <a:pt x="419868" y="94083"/>
                    <a:pt x="325964" y="0"/>
                    <a:pt x="209934" y="0"/>
                  </a:cubicBezTo>
                  <a:close/>
                  <a:moveTo>
                    <a:pt x="209934" y="297182"/>
                  </a:moveTo>
                  <a:cubicBezTo>
                    <a:pt x="161903" y="297182"/>
                    <a:pt x="122686" y="257965"/>
                    <a:pt x="122686" y="209934"/>
                  </a:cubicBezTo>
                  <a:cubicBezTo>
                    <a:pt x="122686" y="161903"/>
                    <a:pt x="161903" y="122686"/>
                    <a:pt x="209934" y="122686"/>
                  </a:cubicBezTo>
                  <a:cubicBezTo>
                    <a:pt x="257965" y="122686"/>
                    <a:pt x="297182" y="161723"/>
                    <a:pt x="297182" y="209934"/>
                  </a:cubicBezTo>
                  <a:cubicBezTo>
                    <a:pt x="297182" y="258145"/>
                    <a:pt x="258145" y="297182"/>
                    <a:pt x="209934" y="297182"/>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5" name="Freeform: Shape 61">
            <a:extLst>
              <a:ext uri="{FF2B5EF4-FFF2-40B4-BE49-F238E27FC236}">
                <a16:creationId xmlns:a16="http://schemas.microsoft.com/office/drawing/2014/main" id="{D15967A4-BAA2-82AC-F7BE-3E1413C52D41}"/>
              </a:ext>
            </a:extLst>
          </p:cNvPr>
          <p:cNvSpPr/>
          <p:nvPr userDrawn="1"/>
        </p:nvSpPr>
        <p:spPr>
          <a:xfrm>
            <a:off x="-21866" y="-18281"/>
            <a:ext cx="12213866"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alpha val="32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4147570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5">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1067BC7C-A773-9F81-5271-6D864B0795C1}"/>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gradFill flip="none" rotWithShape="1">
            <a:gsLst>
              <a:gs pos="0">
                <a:schemeClr val="bg2"/>
              </a:gs>
              <a:gs pos="79000">
                <a:schemeClr val="bg2">
                  <a:lumMod val="50000"/>
                </a:schemeClr>
              </a:gs>
            </a:gsLst>
            <a:lin ang="13500000" scaled="1"/>
            <a:tileRect/>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F7663A97-211B-4782-DB90-8D7208B8FC2B}"/>
              </a:ext>
            </a:extLst>
          </p:cNvPr>
          <p:cNvSpPr/>
          <p:nvPr userDrawn="1"/>
        </p:nvSpPr>
        <p:spPr bwMode="auto">
          <a:xfrm>
            <a:off x="0" y="3962400"/>
            <a:ext cx="7689741" cy="2297780"/>
          </a:xfrm>
          <a:custGeom>
            <a:avLst/>
            <a:gdLst>
              <a:gd name="connsiteX0" fmla="*/ 0 w 7689741"/>
              <a:gd name="connsiteY0" fmla="*/ 0 h 2297780"/>
              <a:gd name="connsiteX1" fmla="*/ 7689741 w 7689741"/>
              <a:gd name="connsiteY1" fmla="*/ 0 h 2297780"/>
              <a:gd name="connsiteX2" fmla="*/ 5376932 w 7689741"/>
              <a:gd name="connsiteY2" fmla="*/ 2297780 h 2297780"/>
              <a:gd name="connsiteX3" fmla="*/ 0 w 7689741"/>
              <a:gd name="connsiteY3" fmla="*/ 2297780 h 2297780"/>
              <a:gd name="connsiteX4" fmla="*/ 0 w 7689741"/>
              <a:gd name="connsiteY4" fmla="*/ 0 h 2297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9741" h="2297780">
                <a:moveTo>
                  <a:pt x="0" y="0"/>
                </a:moveTo>
                <a:lnTo>
                  <a:pt x="7689741" y="0"/>
                </a:lnTo>
                <a:lnTo>
                  <a:pt x="5376932" y="2297780"/>
                </a:lnTo>
                <a:lnTo>
                  <a:pt x="0" y="2297780"/>
                </a:lnTo>
                <a:lnTo>
                  <a:pt x="0" y="0"/>
                </a:lnTo>
                <a:close/>
              </a:path>
            </a:pathLst>
          </a:custGeom>
          <a:gradFill flip="none" rotWithShape="1">
            <a:gsLst>
              <a:gs pos="0">
                <a:schemeClr val="bg2">
                  <a:lumMod val="75000"/>
                </a:schemeClr>
              </a:gs>
              <a:gs pos="69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85586"/>
            <a:ext cx="6843656" cy="1661993"/>
          </a:xfrm>
          <a:noFill/>
        </p:spPr>
        <p:txBody>
          <a:bodyPr wrap="square" lIns="0" tIns="0" rIns="0" bIns="0" anchor="b" anchorCtr="0">
            <a:spAutoFit/>
          </a:bodyPr>
          <a:lstStyle>
            <a:lvl1pPr>
              <a:defRPr kumimoji="0" lang="en-US" sz="5400" b="0" i="0" u="none" strike="noStrike" kern="1200" cap="none" spc="0" normalizeH="0" baseline="0" dirty="0">
                <a:ln>
                  <a:noFill/>
                </a:ln>
                <a:solidFill>
                  <a:srgbClr val="50E6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4341585"/>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939193"/>
            <a:ext cx="5486400" cy="941796"/>
          </a:xfrm>
        </p:spPr>
        <p:txBody>
          <a:bodyPr/>
          <a:lstStyle>
            <a:lvl1pPr marL="0" indent="0">
              <a:spcBef>
                <a:spcPts val="24"/>
              </a:spcBef>
              <a:buNone/>
              <a:defRPr kumimoji="0" lang="en-US" sz="18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
        <p:nvSpPr>
          <p:cNvPr id="4" name="Free-form: Shape 3">
            <a:extLst>
              <a:ext uri="{FF2B5EF4-FFF2-40B4-BE49-F238E27FC236}">
                <a16:creationId xmlns:a16="http://schemas.microsoft.com/office/drawing/2014/main" id="{FFA50941-9749-E449-4B27-E57EEC8DD5F3}"/>
              </a:ext>
            </a:extLst>
          </p:cNvPr>
          <p:cNvSpPr/>
          <p:nvPr userDrawn="1"/>
        </p:nvSpPr>
        <p:spPr bwMode="auto">
          <a:xfrm>
            <a:off x="7436274" y="-3432"/>
            <a:ext cx="4427515" cy="6864864"/>
          </a:xfrm>
          <a:custGeom>
            <a:avLst/>
            <a:gdLst>
              <a:gd name="connsiteX0" fmla="*/ 1789133 w 4427515"/>
              <a:gd name="connsiteY0" fmla="*/ 861707 h 6864864"/>
              <a:gd name="connsiteX1" fmla="*/ 4427515 w 4427515"/>
              <a:gd name="connsiteY1" fmla="*/ 3493895 h 6864864"/>
              <a:gd name="connsiteX2" fmla="*/ 1048613 w 4427515"/>
              <a:gd name="connsiteY2" fmla="*/ 6864864 h 6864864"/>
              <a:gd name="connsiteX3" fmla="*/ 123215 w 4427515"/>
              <a:gd name="connsiteY3" fmla="*/ 6864864 h 6864864"/>
              <a:gd name="connsiteX4" fmla="*/ 3502117 w 4427515"/>
              <a:gd name="connsiteY4" fmla="*/ 3493895 h 6864864"/>
              <a:gd name="connsiteX5" fmla="*/ 1326978 w 4427515"/>
              <a:gd name="connsiteY5" fmla="*/ 1323862 h 6864864"/>
              <a:gd name="connsiteX6" fmla="*/ 0 w 4427515"/>
              <a:gd name="connsiteY6" fmla="*/ 0 h 6864864"/>
              <a:gd name="connsiteX7" fmla="*/ 925398 w 4427515"/>
              <a:gd name="connsiteY7" fmla="*/ 0 h 6864864"/>
              <a:gd name="connsiteX8" fmla="*/ 1146848 w 4427515"/>
              <a:gd name="connsiteY8" fmla="*/ 220930 h 6864864"/>
              <a:gd name="connsiteX9" fmla="*/ 684693 w 4427515"/>
              <a:gd name="connsiteY9" fmla="*/ 683085 h 686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27515" h="6864864">
                <a:moveTo>
                  <a:pt x="1789133" y="861707"/>
                </a:moveTo>
                <a:lnTo>
                  <a:pt x="4427515" y="3493895"/>
                </a:lnTo>
                <a:lnTo>
                  <a:pt x="1048613" y="6864864"/>
                </a:lnTo>
                <a:lnTo>
                  <a:pt x="123215" y="6864864"/>
                </a:lnTo>
                <a:lnTo>
                  <a:pt x="3502117" y="3493895"/>
                </a:lnTo>
                <a:lnTo>
                  <a:pt x="1326978" y="1323862"/>
                </a:lnTo>
                <a:close/>
                <a:moveTo>
                  <a:pt x="0" y="0"/>
                </a:moveTo>
                <a:lnTo>
                  <a:pt x="925398" y="0"/>
                </a:lnTo>
                <a:lnTo>
                  <a:pt x="1146848" y="220930"/>
                </a:lnTo>
                <a:lnTo>
                  <a:pt x="684693" y="683085"/>
                </a:lnTo>
                <a:close/>
              </a:path>
            </a:pathLst>
          </a:custGeom>
          <a:gradFill flip="none" rotWithShape="1">
            <a:gsLst>
              <a:gs pos="58000">
                <a:schemeClr val="bg2">
                  <a:lumMod val="75000"/>
                </a:schemeClr>
              </a:gs>
              <a:gs pos="100000">
                <a:schemeClr val="bg2">
                  <a:lumMod val="75000"/>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85FAB7B8-87AF-BFFD-9EF8-D4760A0DDFAA}"/>
              </a:ext>
            </a:extLst>
          </p:cNvPr>
          <p:cNvSpPr/>
          <p:nvPr userDrawn="1"/>
        </p:nvSpPr>
        <p:spPr bwMode="auto">
          <a:xfrm>
            <a:off x="4775200" y="-3432"/>
            <a:ext cx="7416800" cy="6861432"/>
          </a:xfrm>
          <a:custGeom>
            <a:avLst/>
            <a:gdLst>
              <a:gd name="connsiteX0" fmla="*/ 3910617 w 7416800"/>
              <a:gd name="connsiteY0" fmla="*/ 0 h 6861432"/>
              <a:gd name="connsiteX1" fmla="*/ 6331089 w 7416800"/>
              <a:gd name="connsiteY1" fmla="*/ 0 h 6861432"/>
              <a:gd name="connsiteX2" fmla="*/ 7416800 w 7416800"/>
              <a:gd name="connsiteY2" fmla="*/ 1078655 h 6861432"/>
              <a:gd name="connsiteX3" fmla="*/ 7416800 w 7416800"/>
              <a:gd name="connsiteY3" fmla="*/ 1897573 h 6861432"/>
              <a:gd name="connsiteX4" fmla="*/ 2420472 w 7416800"/>
              <a:gd name="connsiteY4" fmla="*/ 6861432 h 6861432"/>
              <a:gd name="connsiteX5" fmla="*/ 0 w 7416800"/>
              <a:gd name="connsiteY5" fmla="*/ 6861432 h 6861432"/>
              <a:gd name="connsiteX6" fmla="*/ 5408465 w 7416800"/>
              <a:gd name="connsiteY6" fmla="*/ 1488114 h 686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16800" h="6861432">
                <a:moveTo>
                  <a:pt x="3910617" y="0"/>
                </a:moveTo>
                <a:lnTo>
                  <a:pt x="6331089" y="0"/>
                </a:lnTo>
                <a:lnTo>
                  <a:pt x="7416800" y="1078655"/>
                </a:lnTo>
                <a:lnTo>
                  <a:pt x="7416800" y="1897573"/>
                </a:lnTo>
                <a:lnTo>
                  <a:pt x="2420472" y="6861432"/>
                </a:lnTo>
                <a:lnTo>
                  <a:pt x="0" y="6861432"/>
                </a:lnTo>
                <a:lnTo>
                  <a:pt x="5408465" y="1488114"/>
                </a:lnTo>
                <a:close/>
              </a:path>
            </a:pathLst>
          </a:custGeom>
          <a:gradFill flip="none" rotWithShape="1">
            <a:gsLst>
              <a:gs pos="0">
                <a:schemeClr val="bg2">
                  <a:lumMod val="50000"/>
                </a:schemeClr>
              </a:gs>
              <a:gs pos="100000">
                <a:schemeClr val="bg2">
                  <a:lumMod val="50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Diamond 12">
            <a:extLst>
              <a:ext uri="{FF2B5EF4-FFF2-40B4-BE49-F238E27FC236}">
                <a16:creationId xmlns:a16="http://schemas.microsoft.com/office/drawing/2014/main" id="{28C9EB09-87DA-8721-20A2-ED61E9585A23}"/>
              </a:ext>
            </a:extLst>
          </p:cNvPr>
          <p:cNvSpPr/>
          <p:nvPr userDrawn="1"/>
        </p:nvSpPr>
        <p:spPr bwMode="auto">
          <a:xfrm>
            <a:off x="7589180" y="4504882"/>
            <a:ext cx="1897720" cy="1897720"/>
          </a:xfrm>
          <a:prstGeom prst="diamond">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6F2B9B44-A761-B9A5-749A-5AF83CA02EC5}"/>
              </a:ext>
            </a:extLst>
          </p:cNvPr>
          <p:cNvSpPr/>
          <p:nvPr userDrawn="1"/>
        </p:nvSpPr>
        <p:spPr bwMode="auto">
          <a:xfrm>
            <a:off x="7975624" y="-3431"/>
            <a:ext cx="4216376" cy="4663101"/>
          </a:xfrm>
          <a:custGeom>
            <a:avLst/>
            <a:gdLst>
              <a:gd name="connsiteX0" fmla="*/ 1488113 w 4216376"/>
              <a:gd name="connsiteY0" fmla="*/ 0 h 4663101"/>
              <a:gd name="connsiteX1" fmla="*/ 4216376 w 4216376"/>
              <a:gd name="connsiteY1" fmla="*/ 0 h 4663101"/>
              <a:gd name="connsiteX2" fmla="*/ 4216376 w 4216376"/>
              <a:gd name="connsiteY2" fmla="*/ 3621713 h 4663101"/>
              <a:gd name="connsiteX3" fmla="*/ 3174988 w 4216376"/>
              <a:gd name="connsiteY3" fmla="*/ 4663101 h 4663101"/>
              <a:gd name="connsiteX4" fmla="*/ 0 w 4216376"/>
              <a:gd name="connsiteY4" fmla="*/ 1488113 h 4663101"/>
              <a:gd name="connsiteX5" fmla="*/ 382797 w 4216376"/>
              <a:gd name="connsiteY5" fmla="*/ 1105316 h 4663101"/>
              <a:gd name="connsiteX6" fmla="*/ 694485 w 4216376"/>
              <a:gd name="connsiteY6" fmla="*/ 1417004 h 4663101"/>
              <a:gd name="connsiteX7" fmla="*/ 1336016 w 4216376"/>
              <a:gd name="connsiteY7" fmla="*/ 775473 h 4663101"/>
              <a:gd name="connsiteX8" fmla="*/ 1024328 w 4216376"/>
              <a:gd name="connsiteY8" fmla="*/ 463785 h 4663101"/>
              <a:gd name="connsiteX0" fmla="*/ 4216376 w 4307816"/>
              <a:gd name="connsiteY0" fmla="*/ 0 h 4663101"/>
              <a:gd name="connsiteX1" fmla="*/ 4216376 w 4307816"/>
              <a:gd name="connsiteY1" fmla="*/ 3621713 h 4663101"/>
              <a:gd name="connsiteX2" fmla="*/ 3174988 w 4307816"/>
              <a:gd name="connsiteY2" fmla="*/ 4663101 h 4663101"/>
              <a:gd name="connsiteX3" fmla="*/ 0 w 4307816"/>
              <a:gd name="connsiteY3" fmla="*/ 1488113 h 4663101"/>
              <a:gd name="connsiteX4" fmla="*/ 382797 w 4307816"/>
              <a:gd name="connsiteY4" fmla="*/ 1105316 h 4663101"/>
              <a:gd name="connsiteX5" fmla="*/ 694485 w 4307816"/>
              <a:gd name="connsiteY5" fmla="*/ 1417004 h 4663101"/>
              <a:gd name="connsiteX6" fmla="*/ 1336016 w 4307816"/>
              <a:gd name="connsiteY6" fmla="*/ 775473 h 4663101"/>
              <a:gd name="connsiteX7" fmla="*/ 1024328 w 4307816"/>
              <a:gd name="connsiteY7" fmla="*/ 463785 h 4663101"/>
              <a:gd name="connsiteX8" fmla="*/ 1488113 w 4307816"/>
              <a:gd name="connsiteY8" fmla="*/ 0 h 4663101"/>
              <a:gd name="connsiteX9" fmla="*/ 4307816 w 4307816"/>
              <a:gd name="connsiteY9" fmla="*/ 91440 h 4663101"/>
              <a:gd name="connsiteX0" fmla="*/ 4216376 w 4216376"/>
              <a:gd name="connsiteY0" fmla="*/ 0 h 4663101"/>
              <a:gd name="connsiteX1" fmla="*/ 4216376 w 4216376"/>
              <a:gd name="connsiteY1" fmla="*/ 3621713 h 4663101"/>
              <a:gd name="connsiteX2" fmla="*/ 3174988 w 4216376"/>
              <a:gd name="connsiteY2" fmla="*/ 4663101 h 4663101"/>
              <a:gd name="connsiteX3" fmla="*/ 0 w 4216376"/>
              <a:gd name="connsiteY3" fmla="*/ 1488113 h 4663101"/>
              <a:gd name="connsiteX4" fmla="*/ 382797 w 4216376"/>
              <a:gd name="connsiteY4" fmla="*/ 1105316 h 4663101"/>
              <a:gd name="connsiteX5" fmla="*/ 694485 w 4216376"/>
              <a:gd name="connsiteY5" fmla="*/ 1417004 h 4663101"/>
              <a:gd name="connsiteX6" fmla="*/ 1336016 w 4216376"/>
              <a:gd name="connsiteY6" fmla="*/ 775473 h 4663101"/>
              <a:gd name="connsiteX7" fmla="*/ 1024328 w 4216376"/>
              <a:gd name="connsiteY7" fmla="*/ 463785 h 4663101"/>
              <a:gd name="connsiteX8" fmla="*/ 1488113 w 4216376"/>
              <a:gd name="connsiteY8" fmla="*/ 0 h 4663101"/>
              <a:gd name="connsiteX0" fmla="*/ 4216376 w 4216376"/>
              <a:gd name="connsiteY0" fmla="*/ 3621713 h 4663101"/>
              <a:gd name="connsiteX1" fmla="*/ 3174988 w 4216376"/>
              <a:gd name="connsiteY1" fmla="*/ 4663101 h 4663101"/>
              <a:gd name="connsiteX2" fmla="*/ 0 w 4216376"/>
              <a:gd name="connsiteY2" fmla="*/ 1488113 h 4663101"/>
              <a:gd name="connsiteX3" fmla="*/ 382797 w 4216376"/>
              <a:gd name="connsiteY3" fmla="*/ 1105316 h 4663101"/>
              <a:gd name="connsiteX4" fmla="*/ 694485 w 4216376"/>
              <a:gd name="connsiteY4" fmla="*/ 1417004 h 4663101"/>
              <a:gd name="connsiteX5" fmla="*/ 1336016 w 4216376"/>
              <a:gd name="connsiteY5" fmla="*/ 775473 h 4663101"/>
              <a:gd name="connsiteX6" fmla="*/ 1024328 w 4216376"/>
              <a:gd name="connsiteY6" fmla="*/ 463785 h 4663101"/>
              <a:gd name="connsiteX7" fmla="*/ 1488113 w 4216376"/>
              <a:gd name="connsiteY7" fmla="*/ 0 h 466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6376" h="4663101">
                <a:moveTo>
                  <a:pt x="4216376" y="3621713"/>
                </a:moveTo>
                <a:lnTo>
                  <a:pt x="3174988" y="4663101"/>
                </a:lnTo>
                <a:lnTo>
                  <a:pt x="0" y="1488113"/>
                </a:lnTo>
                <a:lnTo>
                  <a:pt x="382797" y="1105316"/>
                </a:lnTo>
                <a:lnTo>
                  <a:pt x="694485" y="1417004"/>
                </a:lnTo>
                <a:lnTo>
                  <a:pt x="1336016" y="775473"/>
                </a:lnTo>
                <a:lnTo>
                  <a:pt x="1024328" y="463785"/>
                </a:lnTo>
                <a:lnTo>
                  <a:pt x="1488113" y="0"/>
                </a:lnTo>
              </a:path>
            </a:pathLst>
          </a:custGeom>
          <a:noFill/>
          <a:ln w="1270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Diamond 14">
            <a:extLst>
              <a:ext uri="{FF2B5EF4-FFF2-40B4-BE49-F238E27FC236}">
                <a16:creationId xmlns:a16="http://schemas.microsoft.com/office/drawing/2014/main" id="{9C9F5CBC-58F1-15AF-119A-A1B8E949CF33}"/>
              </a:ext>
            </a:extLst>
          </p:cNvPr>
          <p:cNvSpPr/>
          <p:nvPr userDrawn="1"/>
        </p:nvSpPr>
        <p:spPr bwMode="auto">
          <a:xfrm>
            <a:off x="8028578" y="130511"/>
            <a:ext cx="1283062" cy="1283062"/>
          </a:xfrm>
          <a:prstGeom prst="diamond">
            <a:avLst/>
          </a:prstGeom>
          <a:noFill/>
          <a:ln w="1270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Diamond 15">
            <a:extLst>
              <a:ext uri="{FF2B5EF4-FFF2-40B4-BE49-F238E27FC236}">
                <a16:creationId xmlns:a16="http://schemas.microsoft.com/office/drawing/2014/main" id="{987EA32E-C453-21B7-9E4A-DB92C0B0EBD5}"/>
              </a:ext>
            </a:extLst>
          </p:cNvPr>
          <p:cNvSpPr/>
          <p:nvPr userDrawn="1"/>
        </p:nvSpPr>
        <p:spPr bwMode="auto">
          <a:xfrm>
            <a:off x="9969522" y="3726553"/>
            <a:ext cx="2362178" cy="2362178"/>
          </a:xfrm>
          <a:prstGeom prst="diamond">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4FED8837-EA82-0134-1B2A-985F3BAB653E}"/>
              </a:ext>
            </a:extLst>
          </p:cNvPr>
          <p:cNvSpPr/>
          <p:nvPr userDrawn="1"/>
        </p:nvSpPr>
        <p:spPr bwMode="auto">
          <a:xfrm>
            <a:off x="9566574" y="5987398"/>
            <a:ext cx="1150822" cy="874035"/>
          </a:xfrm>
          <a:custGeom>
            <a:avLst/>
            <a:gdLst>
              <a:gd name="connsiteX0" fmla="*/ 575411 w 1150822"/>
              <a:gd name="connsiteY0" fmla="*/ 0 h 874035"/>
              <a:gd name="connsiteX1" fmla="*/ 1150822 w 1150822"/>
              <a:gd name="connsiteY1" fmla="*/ 575411 h 874035"/>
              <a:gd name="connsiteX2" fmla="*/ 852198 w 1150822"/>
              <a:gd name="connsiteY2" fmla="*/ 874035 h 874035"/>
              <a:gd name="connsiteX3" fmla="*/ 298624 w 1150822"/>
              <a:gd name="connsiteY3" fmla="*/ 874035 h 874035"/>
              <a:gd name="connsiteX4" fmla="*/ 0 w 1150822"/>
              <a:gd name="connsiteY4" fmla="*/ 575411 h 874035"/>
              <a:gd name="connsiteX0" fmla="*/ 298624 w 1150822"/>
              <a:gd name="connsiteY0" fmla="*/ 874035 h 965475"/>
              <a:gd name="connsiteX1" fmla="*/ 0 w 1150822"/>
              <a:gd name="connsiteY1" fmla="*/ 575411 h 965475"/>
              <a:gd name="connsiteX2" fmla="*/ 575411 w 1150822"/>
              <a:gd name="connsiteY2" fmla="*/ 0 h 965475"/>
              <a:gd name="connsiteX3" fmla="*/ 1150822 w 1150822"/>
              <a:gd name="connsiteY3" fmla="*/ 575411 h 965475"/>
              <a:gd name="connsiteX4" fmla="*/ 852198 w 1150822"/>
              <a:gd name="connsiteY4" fmla="*/ 874035 h 965475"/>
              <a:gd name="connsiteX5" fmla="*/ 390064 w 1150822"/>
              <a:gd name="connsiteY5" fmla="*/ 965475 h 965475"/>
              <a:gd name="connsiteX0" fmla="*/ 298624 w 1150822"/>
              <a:gd name="connsiteY0" fmla="*/ 874035 h 874035"/>
              <a:gd name="connsiteX1" fmla="*/ 0 w 1150822"/>
              <a:gd name="connsiteY1" fmla="*/ 575411 h 874035"/>
              <a:gd name="connsiteX2" fmla="*/ 575411 w 1150822"/>
              <a:gd name="connsiteY2" fmla="*/ 0 h 874035"/>
              <a:gd name="connsiteX3" fmla="*/ 1150822 w 1150822"/>
              <a:gd name="connsiteY3" fmla="*/ 575411 h 874035"/>
              <a:gd name="connsiteX4" fmla="*/ 852198 w 1150822"/>
              <a:gd name="connsiteY4" fmla="*/ 874035 h 874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822" h="874035">
                <a:moveTo>
                  <a:pt x="298624" y="874035"/>
                </a:moveTo>
                <a:lnTo>
                  <a:pt x="0" y="575411"/>
                </a:lnTo>
                <a:lnTo>
                  <a:pt x="575411" y="0"/>
                </a:lnTo>
                <a:lnTo>
                  <a:pt x="1150822" y="575411"/>
                </a:lnTo>
                <a:lnTo>
                  <a:pt x="852198" y="874035"/>
                </a:lnTo>
              </a:path>
            </a:pathLst>
          </a:custGeom>
          <a:noFill/>
          <a:ln w="1270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08339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 2 (Light)">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4894" y="2182948"/>
            <a:ext cx="5486400" cy="1107996"/>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36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398497"/>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4894" y="597820"/>
            <a:ext cx="3068320" cy="292608"/>
          </a:xfrm>
          <a:prstGeom prst="rect">
            <a:avLst/>
          </a:prstGeom>
        </p:spPr>
      </p:pic>
      <p:sp>
        <p:nvSpPr>
          <p:cNvPr id="3" name="Rectangle 2">
            <a:extLst>
              <a:ext uri="{FF2B5EF4-FFF2-40B4-BE49-F238E27FC236}">
                <a16:creationId xmlns:a16="http://schemas.microsoft.com/office/drawing/2014/main" id="{87691690-36F4-A761-184E-4D8B145236EF}"/>
              </a:ext>
            </a:extLst>
          </p:cNvPr>
          <p:cNvSpPr/>
          <p:nvPr userDrawn="1"/>
        </p:nvSpPr>
        <p:spPr bwMode="auto">
          <a:xfrm>
            <a:off x="0" y="3582124"/>
            <a:ext cx="8932366" cy="4224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Freeform: Shape 13">
            <a:extLst>
              <a:ext uri="{FF2B5EF4-FFF2-40B4-BE49-F238E27FC236}">
                <a16:creationId xmlns:a16="http://schemas.microsoft.com/office/drawing/2014/main" id="{06615309-9057-852B-2CB7-FA4544F6C1F8}"/>
              </a:ext>
            </a:extLst>
          </p:cNvPr>
          <p:cNvSpPr/>
          <p:nvPr userDrawn="1"/>
        </p:nvSpPr>
        <p:spPr>
          <a:xfrm>
            <a:off x="6622699" y="2422546"/>
            <a:ext cx="5569302" cy="4499880"/>
          </a:xfrm>
          <a:custGeom>
            <a:avLst/>
            <a:gdLst>
              <a:gd name="connsiteX0" fmla="*/ 2720111 w 2720111"/>
              <a:gd name="connsiteY0" fmla="*/ 521894 h 2197793"/>
              <a:gd name="connsiteX1" fmla="*/ 2720111 w 2720111"/>
              <a:gd name="connsiteY1" fmla="*/ 2197794 h 2197793"/>
              <a:gd name="connsiteX2" fmla="*/ 0 w 2720111"/>
              <a:gd name="connsiteY2" fmla="*/ 2197794 h 2197793"/>
              <a:gd name="connsiteX3" fmla="*/ 2198006 w 2720111"/>
              <a:gd name="connsiteY3" fmla="*/ 0 h 2197793"/>
              <a:gd name="connsiteX4" fmla="*/ 2720111 w 2720111"/>
              <a:gd name="connsiteY4" fmla="*/ 521894 h 219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111" h="2197793">
                <a:moveTo>
                  <a:pt x="2720111" y="521894"/>
                </a:moveTo>
                <a:lnTo>
                  <a:pt x="2720111" y="2197794"/>
                </a:lnTo>
                <a:lnTo>
                  <a:pt x="0" y="2197794"/>
                </a:lnTo>
                <a:lnTo>
                  <a:pt x="2198006" y="0"/>
                </a:lnTo>
                <a:lnTo>
                  <a:pt x="2720111" y="521894"/>
                </a:lnTo>
                <a:close/>
              </a:path>
            </a:pathLst>
          </a:custGeom>
          <a:gradFill>
            <a:gsLst>
              <a:gs pos="0">
                <a:schemeClr val="bg2"/>
              </a:gs>
              <a:gs pos="50000">
                <a:schemeClr val="bg2">
                  <a:lumMod val="75000"/>
                </a:schemeClr>
              </a:gs>
              <a:gs pos="100000">
                <a:schemeClr val="bg2">
                  <a:lumMod val="50000"/>
                </a:schemeClr>
              </a:gs>
            </a:gsLst>
            <a:lin ang="18939364"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14">
            <a:extLst>
              <a:ext uri="{FF2B5EF4-FFF2-40B4-BE49-F238E27FC236}">
                <a16:creationId xmlns:a16="http://schemas.microsoft.com/office/drawing/2014/main" id="{15B1E47C-0B6D-B977-1542-9E0224F05FAF}"/>
              </a:ext>
            </a:extLst>
          </p:cNvPr>
          <p:cNvSpPr/>
          <p:nvPr userDrawn="1"/>
        </p:nvSpPr>
        <p:spPr>
          <a:xfrm>
            <a:off x="11125181" y="1353992"/>
            <a:ext cx="1066820" cy="2133642"/>
          </a:xfrm>
          <a:custGeom>
            <a:avLst/>
            <a:gdLst>
              <a:gd name="connsiteX0" fmla="*/ 521048 w 521047"/>
              <a:gd name="connsiteY0" fmla="*/ 0 h 1042095"/>
              <a:gd name="connsiteX1" fmla="*/ 521048 w 521047"/>
              <a:gd name="connsiteY1" fmla="*/ 1042096 h 1042095"/>
              <a:gd name="connsiteX2" fmla="*/ 0 w 521047"/>
              <a:gd name="connsiteY2" fmla="*/ 521048 h 1042095"/>
              <a:gd name="connsiteX3" fmla="*/ 521048 w 521047"/>
              <a:gd name="connsiteY3" fmla="*/ 0 h 1042095"/>
            </a:gdLst>
            <a:ahLst/>
            <a:cxnLst>
              <a:cxn ang="0">
                <a:pos x="connsiteX0" y="connsiteY0"/>
              </a:cxn>
              <a:cxn ang="0">
                <a:pos x="connsiteX1" y="connsiteY1"/>
              </a:cxn>
              <a:cxn ang="0">
                <a:pos x="connsiteX2" y="connsiteY2"/>
              </a:cxn>
              <a:cxn ang="0">
                <a:pos x="connsiteX3" y="connsiteY3"/>
              </a:cxn>
            </a:cxnLst>
            <a:rect l="l" t="t" r="r" b="b"/>
            <a:pathLst>
              <a:path w="521047" h="1042095">
                <a:moveTo>
                  <a:pt x="521048" y="0"/>
                </a:moveTo>
                <a:lnTo>
                  <a:pt x="521048" y="1042096"/>
                </a:lnTo>
                <a:lnTo>
                  <a:pt x="0" y="521048"/>
                </a:lnTo>
                <a:lnTo>
                  <a:pt x="521048" y="0"/>
                </a:lnTo>
                <a:close/>
              </a:path>
            </a:pathLst>
          </a:custGeom>
          <a:gradFill>
            <a:gsLst>
              <a:gs pos="0">
                <a:schemeClr val="bg2">
                  <a:lumMod val="20000"/>
                  <a:lumOff val="80000"/>
                </a:schemeClr>
              </a:gs>
              <a:gs pos="63000">
                <a:schemeClr val="bg2">
                  <a:lumMod val="60000"/>
                  <a:lumOff val="40000"/>
                </a:schemeClr>
              </a:gs>
            </a:gsLst>
            <a:lin ang="13500000" scaled="1"/>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5">
            <a:extLst>
              <a:ext uri="{FF2B5EF4-FFF2-40B4-BE49-F238E27FC236}">
                <a16:creationId xmlns:a16="http://schemas.microsoft.com/office/drawing/2014/main" id="{6985CF81-637B-5A8C-68C6-0BD66131EB61}"/>
              </a:ext>
            </a:extLst>
          </p:cNvPr>
          <p:cNvSpPr/>
          <p:nvPr userDrawn="1"/>
        </p:nvSpPr>
        <p:spPr>
          <a:xfrm>
            <a:off x="5301192" y="32485"/>
            <a:ext cx="6890809" cy="6889941"/>
          </a:xfrm>
          <a:custGeom>
            <a:avLst/>
            <a:gdLst>
              <a:gd name="connsiteX0" fmla="*/ 0 w 3365550"/>
              <a:gd name="connsiteY0" fmla="*/ 3365127 h 3365126"/>
              <a:gd name="connsiteX1" fmla="*/ 645439 w 3365550"/>
              <a:gd name="connsiteY1" fmla="*/ 3365127 h 3365126"/>
              <a:gd name="connsiteX2" fmla="*/ 3365550 w 3365550"/>
              <a:gd name="connsiteY2" fmla="*/ 645439 h 3365126"/>
              <a:gd name="connsiteX3" fmla="*/ 3365550 w 3365550"/>
              <a:gd name="connsiteY3" fmla="*/ 0 h 3365126"/>
              <a:gd name="connsiteX4" fmla="*/ 0 w 3365550"/>
              <a:gd name="connsiteY4" fmla="*/ 3365127 h 3365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550" h="3365126">
                <a:moveTo>
                  <a:pt x="0" y="3365127"/>
                </a:moveTo>
                <a:lnTo>
                  <a:pt x="645439" y="3365127"/>
                </a:lnTo>
                <a:lnTo>
                  <a:pt x="3365550" y="645439"/>
                </a:lnTo>
                <a:lnTo>
                  <a:pt x="3365550" y="0"/>
                </a:lnTo>
                <a:lnTo>
                  <a:pt x="0" y="3365127"/>
                </a:lnTo>
                <a:close/>
              </a:path>
            </a:pathLst>
          </a:custGeom>
          <a:solidFill>
            <a:schemeClr val="bg2">
              <a:lumMod val="20000"/>
              <a:lumOff val="80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6">
            <a:extLst>
              <a:ext uri="{FF2B5EF4-FFF2-40B4-BE49-F238E27FC236}">
                <a16:creationId xmlns:a16="http://schemas.microsoft.com/office/drawing/2014/main" id="{34FFCCB2-8B0D-E903-03D8-07A6431C42B4}"/>
              </a:ext>
            </a:extLst>
          </p:cNvPr>
          <p:cNvSpPr/>
          <p:nvPr userDrawn="1"/>
        </p:nvSpPr>
        <p:spPr>
          <a:xfrm>
            <a:off x="6013706" y="744999"/>
            <a:ext cx="6178295" cy="6177429"/>
          </a:xfrm>
          <a:custGeom>
            <a:avLst/>
            <a:gdLst>
              <a:gd name="connsiteX0" fmla="*/ 3017551 w 3017550"/>
              <a:gd name="connsiteY0" fmla="*/ 0 h 3017127"/>
              <a:gd name="connsiteX1" fmla="*/ 3017551 w 3017550"/>
              <a:gd name="connsiteY1" fmla="*/ 629361 h 3017127"/>
              <a:gd name="connsiteX2" fmla="*/ 629785 w 3017550"/>
              <a:gd name="connsiteY2" fmla="*/ 3017127 h 3017127"/>
              <a:gd name="connsiteX3" fmla="*/ 0 w 3017550"/>
              <a:gd name="connsiteY3" fmla="*/ 3017127 h 3017127"/>
              <a:gd name="connsiteX4" fmla="*/ 3017551 w 3017550"/>
              <a:gd name="connsiteY4" fmla="*/ 0 h 3017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7550" h="3017127">
                <a:moveTo>
                  <a:pt x="3017551" y="0"/>
                </a:moveTo>
                <a:lnTo>
                  <a:pt x="3017551" y="629361"/>
                </a:lnTo>
                <a:lnTo>
                  <a:pt x="629785" y="3017127"/>
                </a:lnTo>
                <a:lnTo>
                  <a:pt x="0" y="3017127"/>
                </a:lnTo>
                <a:lnTo>
                  <a:pt x="3017551" y="0"/>
                </a:lnTo>
                <a:close/>
              </a:path>
            </a:pathLst>
          </a:custGeom>
          <a:solidFill>
            <a:schemeClr val="accent2">
              <a:alpha val="30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17">
            <a:extLst>
              <a:ext uri="{FF2B5EF4-FFF2-40B4-BE49-F238E27FC236}">
                <a16:creationId xmlns:a16="http://schemas.microsoft.com/office/drawing/2014/main" id="{303CED94-978D-A6B3-1FAE-EE2A373145F8}"/>
              </a:ext>
            </a:extLst>
          </p:cNvPr>
          <p:cNvSpPr/>
          <p:nvPr userDrawn="1"/>
        </p:nvSpPr>
        <p:spPr>
          <a:xfrm>
            <a:off x="7915187" y="0"/>
            <a:ext cx="4276814" cy="6758701"/>
          </a:xfrm>
          <a:custGeom>
            <a:avLst/>
            <a:gdLst>
              <a:gd name="connsiteX0" fmla="*/ 2088846 w 2088845"/>
              <a:gd name="connsiteY0" fmla="*/ 0 h 3301027"/>
              <a:gd name="connsiteX1" fmla="*/ 1212182 w 2088845"/>
              <a:gd name="connsiteY1" fmla="*/ 0 h 3301027"/>
              <a:gd name="connsiteX2" fmla="*/ 0 w 2088845"/>
              <a:gd name="connsiteY2" fmla="*/ 1212182 h 3301027"/>
              <a:gd name="connsiteX3" fmla="*/ 2088846 w 2088845"/>
              <a:gd name="connsiteY3" fmla="*/ 3301027 h 3301027"/>
              <a:gd name="connsiteX4" fmla="*/ 2088846 w 2088845"/>
              <a:gd name="connsiteY4" fmla="*/ 2388612 h 3301027"/>
              <a:gd name="connsiteX5" fmla="*/ 912416 w 2088845"/>
              <a:gd name="connsiteY5" fmla="*/ 1212182 h 3301027"/>
              <a:gd name="connsiteX6" fmla="*/ 2088846 w 2088845"/>
              <a:gd name="connsiteY6" fmla="*/ 35964 h 3301027"/>
              <a:gd name="connsiteX7" fmla="*/ 2088846 w 2088845"/>
              <a:gd name="connsiteY7" fmla="*/ 0 h 330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8845" h="3301027">
                <a:moveTo>
                  <a:pt x="2088846" y="0"/>
                </a:moveTo>
                <a:lnTo>
                  <a:pt x="1212182" y="0"/>
                </a:lnTo>
                <a:lnTo>
                  <a:pt x="0" y="1212182"/>
                </a:lnTo>
                <a:lnTo>
                  <a:pt x="2088846" y="3301027"/>
                </a:lnTo>
                <a:lnTo>
                  <a:pt x="2088846" y="2388612"/>
                </a:lnTo>
                <a:lnTo>
                  <a:pt x="912416" y="1212182"/>
                </a:lnTo>
                <a:lnTo>
                  <a:pt x="2088846" y="35964"/>
                </a:lnTo>
                <a:lnTo>
                  <a:pt x="2088846" y="0"/>
                </a:lnTo>
                <a:close/>
              </a:path>
            </a:pathLst>
          </a:custGeom>
          <a:solidFill>
            <a:schemeClr val="bg2"/>
          </a:soli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8">
            <a:extLst>
              <a:ext uri="{FF2B5EF4-FFF2-40B4-BE49-F238E27FC236}">
                <a16:creationId xmlns:a16="http://schemas.microsoft.com/office/drawing/2014/main" id="{9A37D814-1ED8-3FA8-04EC-F3776DBB6EC5}"/>
              </a:ext>
            </a:extLst>
          </p:cNvPr>
          <p:cNvSpPr/>
          <p:nvPr userDrawn="1"/>
        </p:nvSpPr>
        <p:spPr>
          <a:xfrm>
            <a:off x="8584498" y="-110662"/>
            <a:ext cx="2811070" cy="1877223"/>
          </a:xfrm>
          <a:custGeom>
            <a:avLst/>
            <a:gdLst>
              <a:gd name="connsiteX0" fmla="*/ 1372960 w 1372959"/>
              <a:gd name="connsiteY0" fmla="*/ 460333 h 916857"/>
              <a:gd name="connsiteX1" fmla="*/ 916647 w 1372959"/>
              <a:gd name="connsiteY1" fmla="*/ 916858 h 916857"/>
              <a:gd name="connsiteX2" fmla="*/ 0 w 1372959"/>
              <a:gd name="connsiteY2" fmla="*/ 0 h 916857"/>
              <a:gd name="connsiteX3" fmla="*/ 912627 w 1372959"/>
              <a:gd name="connsiteY3" fmla="*/ 0 h 916857"/>
              <a:gd name="connsiteX4" fmla="*/ 1372960 w 1372959"/>
              <a:gd name="connsiteY4" fmla="*/ 460333 h 916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959" h="916857">
                <a:moveTo>
                  <a:pt x="1372960" y="460333"/>
                </a:moveTo>
                <a:lnTo>
                  <a:pt x="916647" y="916858"/>
                </a:lnTo>
                <a:lnTo>
                  <a:pt x="0" y="0"/>
                </a:lnTo>
                <a:lnTo>
                  <a:pt x="912627" y="0"/>
                </a:lnTo>
                <a:lnTo>
                  <a:pt x="1372960" y="460333"/>
                </a:lnTo>
                <a:close/>
              </a:path>
            </a:pathLst>
          </a:custGeom>
          <a:solidFill>
            <a:schemeClr val="accent1"/>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9">
            <a:extLst>
              <a:ext uri="{FF2B5EF4-FFF2-40B4-BE49-F238E27FC236}">
                <a16:creationId xmlns:a16="http://schemas.microsoft.com/office/drawing/2014/main" id="{048EE216-B380-DCBB-4D5A-28CCD259FE2D}"/>
              </a:ext>
            </a:extLst>
          </p:cNvPr>
          <p:cNvSpPr/>
          <p:nvPr userDrawn="1"/>
        </p:nvSpPr>
        <p:spPr>
          <a:xfrm>
            <a:off x="7589900" y="0"/>
            <a:ext cx="3271932" cy="2338084"/>
          </a:xfrm>
          <a:custGeom>
            <a:avLst/>
            <a:gdLst>
              <a:gd name="connsiteX0" fmla="*/ 1598049 w 1598049"/>
              <a:gd name="connsiteY0" fmla="*/ 685634 h 1141947"/>
              <a:gd name="connsiteX1" fmla="*/ 1141524 w 1598049"/>
              <a:gd name="connsiteY1" fmla="*/ 1141947 h 1141947"/>
              <a:gd name="connsiteX2" fmla="*/ 0 w 1598049"/>
              <a:gd name="connsiteY2" fmla="*/ 0 h 1141947"/>
              <a:gd name="connsiteX3" fmla="*/ 912416 w 1598049"/>
              <a:gd name="connsiteY3" fmla="*/ 0 h 1141947"/>
              <a:gd name="connsiteX4" fmla="*/ 1598049 w 1598049"/>
              <a:gd name="connsiteY4" fmla="*/ 685634 h 1141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8049" h="1141947">
                <a:moveTo>
                  <a:pt x="1598049" y="685634"/>
                </a:moveTo>
                <a:lnTo>
                  <a:pt x="1141524" y="1141947"/>
                </a:lnTo>
                <a:lnTo>
                  <a:pt x="0" y="0"/>
                </a:lnTo>
                <a:lnTo>
                  <a:pt x="912416" y="0"/>
                </a:lnTo>
                <a:lnTo>
                  <a:pt x="1598049" y="685634"/>
                </a:lnTo>
                <a:close/>
              </a:path>
            </a:pathLst>
          </a:custGeom>
          <a:solidFill>
            <a:schemeClr val="bg1">
              <a:lumMod val="95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B2583B6A-9D33-6E0B-EE11-C4EA9408F207}"/>
              </a:ext>
            </a:extLst>
          </p:cNvPr>
          <p:cNvSpPr/>
          <p:nvPr userDrawn="1"/>
        </p:nvSpPr>
        <p:spPr bwMode="auto">
          <a:xfrm>
            <a:off x="604894" y="1952646"/>
            <a:ext cx="1033406" cy="11745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604894" y="3639437"/>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Tree>
    <p:extLst>
      <p:ext uri="{BB962C8B-B14F-4D97-AF65-F5344CB8AC3E}">
        <p14:creationId xmlns:p14="http://schemas.microsoft.com/office/powerpoint/2010/main" val="1577226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 3 (Light)">
    <p:bg>
      <p:bgPr>
        <a:solidFill>
          <a:schemeClr val="bg1"/>
        </a:solidFill>
        <a:effectLst/>
      </p:bgPr>
    </p:bg>
    <p:spTree>
      <p:nvGrpSpPr>
        <p:cNvPr id="1" name=""/>
        <p:cNvGrpSpPr/>
        <p:nvPr/>
      </p:nvGrpSpPr>
      <p:grpSpPr>
        <a:xfrm>
          <a:off x="0" y="0"/>
          <a:ext cx="0" cy="0"/>
          <a:chOff x="0" y="0"/>
          <a:chExt cx="0" cy="0"/>
        </a:xfrm>
      </p:grpSpPr>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4894" y="597820"/>
            <a:ext cx="3068320" cy="292608"/>
          </a:xfrm>
          <a:prstGeom prst="rect">
            <a:avLst/>
          </a:prstGeom>
        </p:spPr>
      </p:pic>
      <p:pic>
        <p:nvPicPr>
          <p:cNvPr id="4" name="Graphic 3">
            <a:extLst>
              <a:ext uri="{FF2B5EF4-FFF2-40B4-BE49-F238E27FC236}">
                <a16:creationId xmlns:a16="http://schemas.microsoft.com/office/drawing/2014/main" id="{E083E474-2D93-03F6-E624-8032165EA877}"/>
              </a:ext>
            </a:extLst>
          </p:cNvPr>
          <p:cNvPicPr>
            <a:picLocks noChangeAspect="1"/>
          </p:cNvPicPr>
          <p:nvPr userDrawn="1"/>
        </p:nvPicPr>
        <p:blipFill>
          <a:blip r:embed="rId4">
            <a:grayscl/>
            <a:alphaModFix amt="4000"/>
            <a:extLst>
              <a:ext uri="{96DAC541-7B7A-43D3-8B79-37D633B846F1}">
                <asvg:svgBlip xmlns:asvg="http://schemas.microsoft.com/office/drawing/2016/SVG/main" r:embed="rId5"/>
              </a:ext>
            </a:extLst>
          </a:blip>
          <a:srcRect l="42275" r="2049"/>
          <a:stretch>
            <a:fillRect/>
          </a:stretch>
        </p:blipFill>
        <p:spPr>
          <a:xfrm rot="18415104" flipH="1">
            <a:off x="1641996" y="482334"/>
            <a:ext cx="12175124" cy="7556328"/>
          </a:xfrm>
          <a:custGeom>
            <a:avLst/>
            <a:gdLst>
              <a:gd name="connsiteX0" fmla="*/ 0 w 12175124"/>
              <a:gd name="connsiteY0" fmla="*/ 4787786 h 7556328"/>
              <a:gd name="connsiteX1" fmla="*/ 3597176 w 12175124"/>
              <a:gd name="connsiteY1" fmla="*/ 0 h 7556328"/>
              <a:gd name="connsiteX2" fmla="*/ 12175124 w 12175124"/>
              <a:gd name="connsiteY2" fmla="*/ 0 h 7556328"/>
              <a:gd name="connsiteX3" fmla="*/ 6497877 w 12175124"/>
              <a:gd name="connsiteY3" fmla="*/ 7556328 h 7556328"/>
              <a:gd name="connsiteX4" fmla="*/ 3684886 w 12175124"/>
              <a:gd name="connsiteY4" fmla="*/ 7556328 h 7556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5124" h="7556328">
                <a:moveTo>
                  <a:pt x="0" y="4787786"/>
                </a:moveTo>
                <a:lnTo>
                  <a:pt x="3597176" y="0"/>
                </a:lnTo>
                <a:lnTo>
                  <a:pt x="12175124" y="0"/>
                </a:lnTo>
                <a:lnTo>
                  <a:pt x="6497877" y="7556328"/>
                </a:lnTo>
                <a:lnTo>
                  <a:pt x="3684886" y="7556328"/>
                </a:lnTo>
                <a:close/>
              </a:path>
            </a:pathLst>
          </a:custGeom>
        </p:spPr>
      </p:pic>
      <p:sp>
        <p:nvSpPr>
          <p:cNvPr id="6" name="Free-form: Shape 5">
            <a:extLst>
              <a:ext uri="{FF2B5EF4-FFF2-40B4-BE49-F238E27FC236}">
                <a16:creationId xmlns:a16="http://schemas.microsoft.com/office/drawing/2014/main" id="{6CE446BC-1085-B6B0-C786-19B8B12A4D7F}"/>
              </a:ext>
            </a:extLst>
          </p:cNvPr>
          <p:cNvSpPr/>
          <p:nvPr userDrawn="1"/>
        </p:nvSpPr>
        <p:spPr bwMode="auto">
          <a:xfrm flipH="1">
            <a:off x="2270754" y="1643743"/>
            <a:ext cx="9052565" cy="4365172"/>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 name="connsiteX0" fmla="*/ 0 w 4343400"/>
              <a:gd name="connsiteY0" fmla="*/ 1473200 h 1473200"/>
              <a:gd name="connsiteX1" fmla="*/ 0 w 4343400"/>
              <a:gd name="connsiteY1" fmla="*/ 0 h 1473200"/>
              <a:gd name="connsiteX2" fmla="*/ 4343400 w 4343400"/>
              <a:gd name="connsiteY2" fmla="*/ 0 h 1473200"/>
            </a:gdLst>
            <a:ahLst/>
            <a:cxnLst>
              <a:cxn ang="0">
                <a:pos x="connsiteX0" y="connsiteY0"/>
              </a:cxn>
              <a:cxn ang="0">
                <a:pos x="connsiteX1" y="connsiteY1"/>
              </a:cxn>
              <a:cxn ang="0">
                <a:pos x="connsiteX2" y="connsiteY2"/>
              </a:cxn>
            </a:cxnLst>
            <a:rect l="l" t="t" r="r" b="b"/>
            <a:pathLst>
              <a:path w="4343400" h="1473200">
                <a:moveTo>
                  <a:pt x="0" y="1473200"/>
                </a:moveTo>
                <a:lnTo>
                  <a:pt x="0" y="0"/>
                </a:lnTo>
                <a:lnTo>
                  <a:pt x="4343400" y="0"/>
                </a:lnTo>
              </a:path>
            </a:pathLst>
          </a:custGeom>
          <a:noFill/>
          <a:ln w="6350" cap="rnd">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E7A7ACAA-7CED-14F7-AC14-7AA34C19D311}"/>
              </a:ext>
            </a:extLst>
          </p:cNvPr>
          <p:cNvGrpSpPr/>
          <p:nvPr userDrawn="1"/>
        </p:nvGrpSpPr>
        <p:grpSpPr>
          <a:xfrm>
            <a:off x="0" y="1857798"/>
            <a:ext cx="1999622" cy="1111528"/>
            <a:chOff x="0" y="2143857"/>
            <a:chExt cx="1647336" cy="915703"/>
          </a:xfrm>
          <a:solidFill>
            <a:schemeClr val="bg1">
              <a:lumMod val="95000"/>
            </a:schemeClr>
          </a:solidFill>
        </p:grpSpPr>
        <p:grpSp>
          <p:nvGrpSpPr>
            <p:cNvPr id="10" name="Group 9">
              <a:extLst>
                <a:ext uri="{FF2B5EF4-FFF2-40B4-BE49-F238E27FC236}">
                  <a16:creationId xmlns:a16="http://schemas.microsoft.com/office/drawing/2014/main" id="{E2512CC7-AD4E-0DD6-8761-D76C2A813F2A}"/>
                </a:ext>
              </a:extLst>
            </p:cNvPr>
            <p:cNvGrpSpPr/>
            <p:nvPr/>
          </p:nvGrpSpPr>
          <p:grpSpPr>
            <a:xfrm>
              <a:off x="0" y="2356582"/>
              <a:ext cx="1647336" cy="64803"/>
              <a:chOff x="0" y="2352485"/>
              <a:chExt cx="1647336" cy="64803"/>
            </a:xfrm>
            <a:grpFill/>
          </p:grpSpPr>
          <p:sp>
            <p:nvSpPr>
              <p:cNvPr id="59" name="Oval 58">
                <a:extLst>
                  <a:ext uri="{FF2B5EF4-FFF2-40B4-BE49-F238E27FC236}">
                    <a16:creationId xmlns:a16="http://schemas.microsoft.com/office/drawing/2014/main" id="{7D1A037A-CEE9-2F20-DF1C-FE9A26019C81}"/>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DF523661-AD4B-7473-22A0-B07EA8B18CF3}"/>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D7654F09-F922-54EE-5ACC-2CC4276C0081}"/>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92DC399E-ADEC-2741-B9A4-F77133432C07}"/>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37F024E9-2BC9-7874-F21F-F1FB66F4D29D}"/>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856C7F18-DBDF-B629-6760-5BFA92ABD735}"/>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875D8325-05BE-6DD7-48E8-AE19A5E4DAB0}"/>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AF0CDA91-46B4-40C5-08A8-BDEF8F9C3EFA}"/>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4159C8F1-3866-08AA-DBAF-818D9708969E}"/>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644C65B9-4B78-DAC3-651F-296244D876C7}"/>
                </a:ext>
              </a:extLst>
            </p:cNvPr>
            <p:cNvGrpSpPr/>
            <p:nvPr/>
          </p:nvGrpSpPr>
          <p:grpSpPr>
            <a:xfrm>
              <a:off x="0" y="2569307"/>
              <a:ext cx="1647336" cy="64803"/>
              <a:chOff x="0" y="2561113"/>
              <a:chExt cx="1647336" cy="64803"/>
            </a:xfrm>
            <a:grpFill/>
          </p:grpSpPr>
          <p:sp>
            <p:nvSpPr>
              <p:cNvPr id="50" name="Oval 49">
                <a:extLst>
                  <a:ext uri="{FF2B5EF4-FFF2-40B4-BE49-F238E27FC236}">
                    <a16:creationId xmlns:a16="http://schemas.microsoft.com/office/drawing/2014/main" id="{370DA5D0-7931-BA78-691D-22693942D2F1}"/>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144060AF-5E99-705C-C0AF-FD220E66652B}"/>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FA9EDADF-22C1-2331-0DFC-DCE8152D8B13}"/>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77139504-DCE6-64B8-7ABD-3BC6274888E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15831C21-7379-8654-824E-36019B733E20}"/>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C33713FC-1CC6-65A0-1D2C-53DCFB92EB23}"/>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589A2EBB-E46D-C79F-A772-103A88493792}"/>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F84CFAA5-C901-DA64-4301-65BA55DC4C9D}"/>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69416453-1319-5703-E4B1-0A398B3E0B6D}"/>
                  </a:ext>
                </a:extLst>
              </p:cNvPr>
              <p:cNvSpPr/>
              <p:nvPr/>
            </p:nvSpPr>
            <p:spPr bwMode="auto">
              <a:xfrm>
                <a:off x="98908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75A2E959-5DAD-6810-E70E-9671474C360D}"/>
                </a:ext>
              </a:extLst>
            </p:cNvPr>
            <p:cNvGrpSpPr/>
            <p:nvPr/>
          </p:nvGrpSpPr>
          <p:grpSpPr>
            <a:xfrm>
              <a:off x="0" y="2143857"/>
              <a:ext cx="1647336" cy="64803"/>
              <a:chOff x="0" y="2143857"/>
              <a:chExt cx="1647336" cy="64803"/>
            </a:xfrm>
            <a:grpFill/>
          </p:grpSpPr>
          <p:sp>
            <p:nvSpPr>
              <p:cNvPr id="41" name="Oval 40">
                <a:extLst>
                  <a:ext uri="{FF2B5EF4-FFF2-40B4-BE49-F238E27FC236}">
                    <a16:creationId xmlns:a16="http://schemas.microsoft.com/office/drawing/2014/main" id="{B1B60CB3-E051-F18F-795E-153B8661E04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6271ED59-18AD-BB11-8A40-A541A46B6139}"/>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2F75A833-1FC3-0C71-D380-178DE4E68234}"/>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9359B67-5F1E-C317-4147-B24F70374053}"/>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E1DFDF77-C56B-EC48-3D58-E2FA5B4C70D9}"/>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8697244E-D21C-88A8-45B8-CA3EB8709BD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A175BF42-5005-B157-631B-0B595EC9616C}"/>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80422301-E306-48BD-F945-2277A2B79120}"/>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61A3776E-AAA8-7800-0579-EF76E368C1C1}"/>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571FE104-AA7C-F4DD-0D9E-16503144E9ED}"/>
                </a:ext>
              </a:extLst>
            </p:cNvPr>
            <p:cNvGrpSpPr/>
            <p:nvPr/>
          </p:nvGrpSpPr>
          <p:grpSpPr>
            <a:xfrm>
              <a:off x="0" y="2782032"/>
              <a:ext cx="1647336" cy="64803"/>
              <a:chOff x="0" y="2769740"/>
              <a:chExt cx="1647336" cy="64803"/>
            </a:xfrm>
            <a:grpFill/>
          </p:grpSpPr>
          <p:sp>
            <p:nvSpPr>
              <p:cNvPr id="32" name="Oval 31">
                <a:extLst>
                  <a:ext uri="{FF2B5EF4-FFF2-40B4-BE49-F238E27FC236}">
                    <a16:creationId xmlns:a16="http://schemas.microsoft.com/office/drawing/2014/main" id="{6924F270-20EF-8D3E-76E4-1CAF47DA6635}"/>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A15D63E-D7D9-E34E-6F28-D4F872328FB9}"/>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B82A9B26-6CB2-45FF-7246-994DE57B0D89}"/>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442BF673-03E6-EAD0-B88D-C9F38479DBF0}"/>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A6854C4D-5BEC-6D4F-ECBE-F03E194F873B}"/>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72171685-4DEE-80AE-132E-1CC58526A8F0}"/>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C2794D7F-8B05-3220-8CE0-43A58AD6B735}"/>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C3063A3B-F5B3-6E4B-DDEC-9CBDA798577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56FC5BEE-F537-1E52-3E02-57FA4B7C0510}"/>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B1FBEC8-40BE-023E-91A9-D70930DD690C}"/>
                </a:ext>
              </a:extLst>
            </p:cNvPr>
            <p:cNvGrpSpPr/>
            <p:nvPr/>
          </p:nvGrpSpPr>
          <p:grpSpPr>
            <a:xfrm>
              <a:off x="0" y="2994757"/>
              <a:ext cx="1647336" cy="64803"/>
              <a:chOff x="0" y="2143857"/>
              <a:chExt cx="1647336" cy="64803"/>
            </a:xfrm>
            <a:grpFill/>
          </p:grpSpPr>
          <p:sp>
            <p:nvSpPr>
              <p:cNvPr id="23" name="Oval 22">
                <a:extLst>
                  <a:ext uri="{FF2B5EF4-FFF2-40B4-BE49-F238E27FC236}">
                    <a16:creationId xmlns:a16="http://schemas.microsoft.com/office/drawing/2014/main" id="{98BFA0E7-9905-1252-EBE8-76FCBF97AD10}"/>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C8F93444-FFA0-43BE-C787-E7B51B253934}"/>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965CA70D-90F3-B548-EA12-F97CED7F6CD2}"/>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06289A8A-8F59-C6F4-28CD-1DEC69061374}"/>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1A4F0D-74E8-C59E-C01E-4E2CF6A18FD6}"/>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93D4A81-BF06-97B2-195F-EFC0B53A652D}"/>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28FC3D0B-D9CC-DACA-37A3-D15CCD2DA283}"/>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3DC35A6C-6E3F-8360-7826-37FFD02B131E}"/>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D40D6CF0-2C1F-B050-8392-64AB3C98C70C}"/>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C5AB2085-3A36-4EBA-9969-F87F875F093B}"/>
              </a:ext>
            </a:extLst>
          </p:cNvPr>
          <p:cNvGrpSpPr/>
          <p:nvPr userDrawn="1"/>
        </p:nvGrpSpPr>
        <p:grpSpPr>
          <a:xfrm>
            <a:off x="11016820" y="5720920"/>
            <a:ext cx="870379" cy="870379"/>
            <a:chOff x="11016820" y="5720920"/>
            <a:chExt cx="870379" cy="870379"/>
          </a:xfrm>
        </p:grpSpPr>
        <p:sp>
          <p:nvSpPr>
            <p:cNvPr id="70" name="Oval 69">
              <a:extLst>
                <a:ext uri="{FF2B5EF4-FFF2-40B4-BE49-F238E27FC236}">
                  <a16:creationId xmlns:a16="http://schemas.microsoft.com/office/drawing/2014/main" id="{FA747C3B-5F40-2626-1407-17F8DB341DC1}"/>
                </a:ext>
              </a:extLst>
            </p:cNvPr>
            <p:cNvSpPr/>
            <p:nvPr/>
          </p:nvSpPr>
          <p:spPr bwMode="auto">
            <a:xfrm>
              <a:off x="11798515"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29466268-1797-C5F9-8A26-B22B1038B38A}"/>
                </a:ext>
              </a:extLst>
            </p:cNvPr>
            <p:cNvSpPr/>
            <p:nvPr/>
          </p:nvSpPr>
          <p:spPr bwMode="auto">
            <a:xfrm>
              <a:off x="11798515"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741AE4AE-4314-E957-3475-46F126D7762C}"/>
                </a:ext>
              </a:extLst>
            </p:cNvPr>
            <p:cNvSpPr/>
            <p:nvPr/>
          </p:nvSpPr>
          <p:spPr bwMode="auto">
            <a:xfrm>
              <a:off x="11798515"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4D6E5199-B1E6-C0F7-307E-A0BA56C15E5D}"/>
                </a:ext>
              </a:extLst>
            </p:cNvPr>
            <p:cNvSpPr/>
            <p:nvPr/>
          </p:nvSpPr>
          <p:spPr bwMode="auto">
            <a:xfrm>
              <a:off x="11798515"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2E240D5B-FD26-8CB5-C1A7-4CBB6A665454}"/>
                </a:ext>
              </a:extLst>
            </p:cNvPr>
            <p:cNvSpPr/>
            <p:nvPr/>
          </p:nvSpPr>
          <p:spPr bwMode="auto">
            <a:xfrm rot="5400000">
              <a:off x="1153795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8352D7E5-1D42-095A-6264-E22CABA65399}"/>
                </a:ext>
              </a:extLst>
            </p:cNvPr>
            <p:cNvSpPr/>
            <p:nvPr/>
          </p:nvSpPr>
          <p:spPr bwMode="auto">
            <a:xfrm rot="5400000">
              <a:off x="11277384"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32CB5A7-1F46-6D3E-6BF0-9D04171733BE}"/>
                </a:ext>
              </a:extLst>
            </p:cNvPr>
            <p:cNvSpPr/>
            <p:nvPr/>
          </p:nvSpPr>
          <p:spPr bwMode="auto">
            <a:xfrm rot="5400000">
              <a:off x="1101682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5AF8893D-3C15-3BD6-D997-D639559D308A}"/>
                </a:ext>
              </a:extLst>
            </p:cNvPr>
            <p:cNvSpPr/>
            <p:nvPr/>
          </p:nvSpPr>
          <p:spPr bwMode="auto">
            <a:xfrm rot="5400000">
              <a:off x="1153795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CBC42C8E-D62B-7792-7EB7-D7352C9645DA}"/>
                </a:ext>
              </a:extLst>
            </p:cNvPr>
            <p:cNvSpPr/>
            <p:nvPr/>
          </p:nvSpPr>
          <p:spPr bwMode="auto">
            <a:xfrm rot="5400000">
              <a:off x="11277384"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D64392F9-3C23-70DD-56F4-DCAA1F8A4B10}"/>
                </a:ext>
              </a:extLst>
            </p:cNvPr>
            <p:cNvSpPr/>
            <p:nvPr/>
          </p:nvSpPr>
          <p:spPr bwMode="auto">
            <a:xfrm rot="5400000">
              <a:off x="11537950"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3D96143-81DE-9835-79A0-8BEDCED415FF}"/>
                </a:ext>
              </a:extLst>
            </p:cNvPr>
            <p:cNvSpPr/>
            <p:nvPr/>
          </p:nvSpPr>
          <p:spPr bwMode="auto">
            <a:xfrm rot="5400000">
              <a:off x="1101682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2EF2A520-8CE1-BAAA-B1E9-9B9E9E95BA0A}"/>
                </a:ext>
              </a:extLst>
            </p:cNvPr>
            <p:cNvSpPr/>
            <p:nvPr/>
          </p:nvSpPr>
          <p:spPr bwMode="auto">
            <a:xfrm rot="5400000">
              <a:off x="11537950"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82" name="Free-form: Shape 81">
            <a:extLst>
              <a:ext uri="{FF2B5EF4-FFF2-40B4-BE49-F238E27FC236}">
                <a16:creationId xmlns:a16="http://schemas.microsoft.com/office/drawing/2014/main" id="{DAF02231-77D6-1273-D9CC-2C5922C98250}"/>
              </a:ext>
            </a:extLst>
          </p:cNvPr>
          <p:cNvSpPr/>
          <p:nvPr userDrawn="1"/>
        </p:nvSpPr>
        <p:spPr bwMode="auto">
          <a:xfrm>
            <a:off x="1714499" y="1498600"/>
            <a:ext cx="5829301" cy="1829924"/>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Lst>
            <a:ahLst/>
            <a:cxnLst>
              <a:cxn ang="0">
                <a:pos x="connsiteX0" y="connsiteY0"/>
              </a:cxn>
              <a:cxn ang="0">
                <a:pos x="connsiteX1" y="connsiteY1"/>
              </a:cxn>
              <a:cxn ang="0">
                <a:pos x="connsiteX2" y="connsiteY2"/>
              </a:cxn>
              <a:cxn ang="0">
                <a:pos x="connsiteX3" y="connsiteY3"/>
              </a:cxn>
            </a:cxnLst>
            <a:rect l="l" t="t" r="r" b="b"/>
            <a:pathLst>
              <a:path w="4343400" h="1473200">
                <a:moveTo>
                  <a:pt x="0" y="1473200"/>
                </a:moveTo>
                <a:lnTo>
                  <a:pt x="0" y="0"/>
                </a:lnTo>
                <a:lnTo>
                  <a:pt x="4343400" y="0"/>
                </a:lnTo>
                <a:lnTo>
                  <a:pt x="4343400" y="304800"/>
                </a:lnTo>
              </a:path>
            </a:pathLst>
          </a:custGeom>
          <a:noFill/>
          <a:ln w="635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E78E5A3B-573D-8EAA-2EDC-2A58D18893A4}"/>
              </a:ext>
            </a:extLst>
          </p:cNvPr>
          <p:cNvGrpSpPr/>
          <p:nvPr userDrawn="1"/>
        </p:nvGrpSpPr>
        <p:grpSpPr>
          <a:xfrm>
            <a:off x="1714499" y="4027444"/>
            <a:ext cx="600855" cy="789824"/>
            <a:chOff x="1463597" y="3871131"/>
            <a:chExt cx="545832" cy="717497"/>
          </a:xfrm>
        </p:grpSpPr>
        <p:sp>
          <p:nvSpPr>
            <p:cNvPr id="87" name="Graphic 317">
              <a:extLst>
                <a:ext uri="{FF2B5EF4-FFF2-40B4-BE49-F238E27FC236}">
                  <a16:creationId xmlns:a16="http://schemas.microsoft.com/office/drawing/2014/main" id="{2FFDB439-2F7B-3B1E-CE78-BA7807C99AA0}"/>
                </a:ext>
              </a:extLst>
            </p:cNvPr>
            <p:cNvSpPr/>
            <p:nvPr/>
          </p:nvSpPr>
          <p:spPr>
            <a:xfrm rot="16200000">
              <a:off x="1428057" y="4007257"/>
              <a:ext cx="717497" cy="445246"/>
            </a:xfrm>
            <a:custGeom>
              <a:avLst/>
              <a:gdLst>
                <a:gd name="connsiteX0" fmla="*/ 358722 w 717497"/>
                <a:gd name="connsiteY0" fmla="*/ 0 h 445246"/>
                <a:gd name="connsiteX1" fmla="*/ 673142 w 717497"/>
                <a:gd name="connsiteY1" fmla="*/ 0 h 445246"/>
                <a:gd name="connsiteX2" fmla="*/ 706385 w 717497"/>
                <a:gd name="connsiteY2" fmla="*/ 73533 h 445246"/>
                <a:gd name="connsiteX3" fmla="*/ 565034 w 717497"/>
                <a:gd name="connsiteY3" fmla="*/ 233934 h 445246"/>
                <a:gd name="connsiteX4" fmla="*/ 392060 w 717497"/>
                <a:gd name="connsiteY4" fmla="*/ 430244 h 445246"/>
                <a:gd name="connsiteX5" fmla="*/ 325575 w 717497"/>
                <a:gd name="connsiteY5" fmla="*/ 430244 h 445246"/>
                <a:gd name="connsiteX6" fmla="*/ 152506 w 717497"/>
                <a:gd name="connsiteY6" fmla="*/ 234029 h 445246"/>
                <a:gd name="connsiteX7" fmla="*/ 11155 w 717497"/>
                <a:gd name="connsiteY7" fmla="*/ 73533 h 445246"/>
                <a:gd name="connsiteX8" fmla="*/ 44397 w 717497"/>
                <a:gd name="connsiteY8" fmla="*/ 0 h 445246"/>
                <a:gd name="connsiteX9" fmla="*/ 358722 w 717497"/>
                <a:gd name="connsiteY9" fmla="*/ 0 h 44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97" h="445246">
                  <a:moveTo>
                    <a:pt x="358722" y="0"/>
                  </a:moveTo>
                  <a:lnTo>
                    <a:pt x="673142" y="0"/>
                  </a:lnTo>
                  <a:cubicBezTo>
                    <a:pt x="711242" y="0"/>
                    <a:pt x="731531" y="44958"/>
                    <a:pt x="706385" y="73533"/>
                  </a:cubicBezTo>
                  <a:lnTo>
                    <a:pt x="565034" y="233934"/>
                  </a:lnTo>
                  <a:lnTo>
                    <a:pt x="392060" y="430244"/>
                  </a:lnTo>
                  <a:cubicBezTo>
                    <a:pt x="374438" y="450247"/>
                    <a:pt x="343196" y="450247"/>
                    <a:pt x="325575" y="430244"/>
                  </a:cubicBezTo>
                  <a:lnTo>
                    <a:pt x="152506" y="234029"/>
                  </a:lnTo>
                  <a:lnTo>
                    <a:pt x="11155" y="73533"/>
                  </a:lnTo>
                  <a:cubicBezTo>
                    <a:pt x="-14086" y="44958"/>
                    <a:pt x="6297" y="0"/>
                    <a:pt x="44397" y="0"/>
                  </a:cubicBezTo>
                  <a:lnTo>
                    <a:pt x="358722" y="0"/>
                  </a:lnTo>
                  <a:close/>
                </a:path>
              </a:pathLst>
            </a:custGeom>
            <a:solidFill>
              <a:schemeClr val="bg1">
                <a:lumMod val="95000"/>
              </a:schemeClr>
            </a:solidFill>
            <a:ln w="50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Graphic 318">
              <a:extLst>
                <a:ext uri="{FF2B5EF4-FFF2-40B4-BE49-F238E27FC236}">
                  <a16:creationId xmlns:a16="http://schemas.microsoft.com/office/drawing/2014/main" id="{5EAF443F-3B09-AFA5-713A-8E51763F6818}"/>
                </a:ext>
              </a:extLst>
            </p:cNvPr>
            <p:cNvSpPr/>
            <p:nvPr/>
          </p:nvSpPr>
          <p:spPr>
            <a:xfrm rot="16200000">
              <a:off x="1353386" y="4049637"/>
              <a:ext cx="580908" cy="360486"/>
            </a:xfrm>
            <a:custGeom>
              <a:avLst/>
              <a:gdLst>
                <a:gd name="connsiteX0" fmla="*/ 358722 w 717497"/>
                <a:gd name="connsiteY0" fmla="*/ 0 h 445246"/>
                <a:gd name="connsiteX1" fmla="*/ 673142 w 717497"/>
                <a:gd name="connsiteY1" fmla="*/ 0 h 445246"/>
                <a:gd name="connsiteX2" fmla="*/ 706385 w 717497"/>
                <a:gd name="connsiteY2" fmla="*/ 73533 h 445246"/>
                <a:gd name="connsiteX3" fmla="*/ 565034 w 717497"/>
                <a:gd name="connsiteY3" fmla="*/ 233934 h 445246"/>
                <a:gd name="connsiteX4" fmla="*/ 392060 w 717497"/>
                <a:gd name="connsiteY4" fmla="*/ 430244 h 445246"/>
                <a:gd name="connsiteX5" fmla="*/ 325575 w 717497"/>
                <a:gd name="connsiteY5" fmla="*/ 430244 h 445246"/>
                <a:gd name="connsiteX6" fmla="*/ 152506 w 717497"/>
                <a:gd name="connsiteY6" fmla="*/ 234029 h 445246"/>
                <a:gd name="connsiteX7" fmla="*/ 11155 w 717497"/>
                <a:gd name="connsiteY7" fmla="*/ 73533 h 445246"/>
                <a:gd name="connsiteX8" fmla="*/ 44397 w 717497"/>
                <a:gd name="connsiteY8" fmla="*/ 0 h 445246"/>
                <a:gd name="connsiteX9" fmla="*/ 358722 w 717497"/>
                <a:gd name="connsiteY9" fmla="*/ 0 h 44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97" h="445246">
                  <a:moveTo>
                    <a:pt x="358722" y="0"/>
                  </a:moveTo>
                  <a:lnTo>
                    <a:pt x="673142" y="0"/>
                  </a:lnTo>
                  <a:cubicBezTo>
                    <a:pt x="711242" y="0"/>
                    <a:pt x="731531" y="44958"/>
                    <a:pt x="706385" y="73533"/>
                  </a:cubicBezTo>
                  <a:lnTo>
                    <a:pt x="565034" y="233934"/>
                  </a:lnTo>
                  <a:lnTo>
                    <a:pt x="392060" y="430244"/>
                  </a:lnTo>
                  <a:cubicBezTo>
                    <a:pt x="374438" y="450247"/>
                    <a:pt x="343196" y="450247"/>
                    <a:pt x="325575" y="430244"/>
                  </a:cubicBezTo>
                  <a:lnTo>
                    <a:pt x="152506" y="234029"/>
                  </a:lnTo>
                  <a:lnTo>
                    <a:pt x="11155" y="73533"/>
                  </a:lnTo>
                  <a:cubicBezTo>
                    <a:pt x="-14086" y="44958"/>
                    <a:pt x="6297" y="0"/>
                    <a:pt x="44397" y="0"/>
                  </a:cubicBezTo>
                  <a:lnTo>
                    <a:pt x="358722" y="0"/>
                  </a:lnTo>
                  <a:close/>
                </a:path>
              </a:pathLst>
            </a:custGeom>
            <a:noFill/>
            <a:ln w="12700"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9" name="Free-form: Shape 88">
            <a:extLst>
              <a:ext uri="{FF2B5EF4-FFF2-40B4-BE49-F238E27FC236}">
                <a16:creationId xmlns:a16="http://schemas.microsoft.com/office/drawing/2014/main" id="{7C11D0DB-B1BF-9C66-06DE-20BB7B89491F}"/>
              </a:ext>
            </a:extLst>
          </p:cNvPr>
          <p:cNvSpPr/>
          <p:nvPr userDrawn="1"/>
        </p:nvSpPr>
        <p:spPr bwMode="auto">
          <a:xfrm>
            <a:off x="2" y="5647174"/>
            <a:ext cx="2699684" cy="1210826"/>
          </a:xfrm>
          <a:custGeom>
            <a:avLst/>
            <a:gdLst>
              <a:gd name="connsiteX0" fmla="*/ 447685 w 3175561"/>
              <a:gd name="connsiteY0" fmla="*/ 0 h 1424260"/>
              <a:gd name="connsiteX1" fmla="*/ 3016378 w 3175561"/>
              <a:gd name="connsiteY1" fmla="*/ 1211388 h 1424260"/>
              <a:gd name="connsiteX2" fmla="*/ 3175561 w 3175561"/>
              <a:gd name="connsiteY2" fmla="*/ 1424260 h 1424260"/>
              <a:gd name="connsiteX3" fmla="*/ 2245404 w 3175561"/>
              <a:gd name="connsiteY3" fmla="*/ 1424260 h 1424260"/>
              <a:gd name="connsiteX4" fmla="*/ 2115220 w 3175561"/>
              <a:gd name="connsiteY4" fmla="*/ 1305941 h 1424260"/>
              <a:gd name="connsiteX5" fmla="*/ 447685 w 3175561"/>
              <a:gd name="connsiteY5" fmla="*/ 707311 h 1424260"/>
              <a:gd name="connsiteX6" fmla="*/ 179649 w 3175561"/>
              <a:gd name="connsiteY6" fmla="*/ 720846 h 1424260"/>
              <a:gd name="connsiteX7" fmla="*/ 0 w 3175561"/>
              <a:gd name="connsiteY7" fmla="*/ 748264 h 1424260"/>
              <a:gd name="connsiteX8" fmla="*/ 0 w 3175561"/>
              <a:gd name="connsiteY8" fmla="*/ 30825 h 1424260"/>
              <a:gd name="connsiteX9" fmla="*/ 107331 w 3175561"/>
              <a:gd name="connsiteY9" fmla="*/ 17187 h 1424260"/>
              <a:gd name="connsiteX10" fmla="*/ 447685 w 3175561"/>
              <a:gd name="connsiteY10" fmla="*/ 0 h 142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75561" h="1424260">
                <a:moveTo>
                  <a:pt x="447685" y="0"/>
                </a:moveTo>
                <a:cubicBezTo>
                  <a:pt x="1481822" y="0"/>
                  <a:pt x="2405820" y="471563"/>
                  <a:pt x="3016378" y="1211388"/>
                </a:cubicBezTo>
                <a:lnTo>
                  <a:pt x="3175561" y="1424260"/>
                </a:lnTo>
                <a:lnTo>
                  <a:pt x="2245404" y="1424260"/>
                </a:lnTo>
                <a:lnTo>
                  <a:pt x="2115220" y="1305941"/>
                </a:lnTo>
                <a:cubicBezTo>
                  <a:pt x="1662065" y="931964"/>
                  <a:pt x="1081110" y="707311"/>
                  <a:pt x="447685" y="707311"/>
                </a:cubicBezTo>
                <a:cubicBezTo>
                  <a:pt x="357196" y="707311"/>
                  <a:pt x="267777" y="711896"/>
                  <a:pt x="179649" y="720846"/>
                </a:cubicBezTo>
                <a:lnTo>
                  <a:pt x="0" y="748264"/>
                </a:lnTo>
                <a:lnTo>
                  <a:pt x="0" y="30825"/>
                </a:lnTo>
                <a:lnTo>
                  <a:pt x="107331" y="17187"/>
                </a:lnTo>
                <a:cubicBezTo>
                  <a:pt x="219237" y="5822"/>
                  <a:pt x="332781" y="0"/>
                  <a:pt x="447685" y="0"/>
                </a:cubicBezTo>
                <a:close/>
              </a:path>
            </a:pathLst>
          </a:custGeom>
          <a:pattFill prst="wdDnDiag">
            <a:fgClr>
              <a:srgbClr val="D8E9F6"/>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270758" y="2124717"/>
            <a:ext cx="5829297" cy="1354217"/>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2619375" y="4268468"/>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FFFFFF">
                    <a:lumMod val="50000"/>
                  </a:srgbClr>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2619375" y="4859638"/>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40943046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2" name="Rectangle: Rounded Corners 81">
            <a:extLst>
              <a:ext uri="{FF2B5EF4-FFF2-40B4-BE49-F238E27FC236}">
                <a16:creationId xmlns:a16="http://schemas.microsoft.com/office/drawing/2014/main" id="{29C65921-FD7F-B796-44F6-E9E410683CD9}"/>
              </a:ext>
            </a:extLst>
          </p:cNvPr>
          <p:cNvSpPr/>
          <p:nvPr userDrawn="1"/>
        </p:nvSpPr>
        <p:spPr bwMode="auto">
          <a:xfrm>
            <a:off x="0" y="2328"/>
            <a:ext cx="4025900" cy="6857997"/>
          </a:xfrm>
          <a:prstGeom prst="roundRect">
            <a:avLst>
              <a:gd name="adj"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Arrow: U-Turn 4">
            <a:extLst>
              <a:ext uri="{FF2B5EF4-FFF2-40B4-BE49-F238E27FC236}">
                <a16:creationId xmlns:a16="http://schemas.microsoft.com/office/drawing/2014/main" id="{9813402F-4AE0-5DF2-8034-09DE25CC529B}"/>
              </a:ext>
            </a:extLst>
          </p:cNvPr>
          <p:cNvSpPr/>
          <p:nvPr userDrawn="1"/>
        </p:nvSpPr>
        <p:spPr bwMode="auto">
          <a:xfrm rot="5400000">
            <a:off x="1718628" y="2893060"/>
            <a:ext cx="5686424" cy="1071880"/>
          </a:xfrm>
          <a:prstGeom prst="uturnArrow">
            <a:avLst>
              <a:gd name="adj1" fmla="val 25000"/>
              <a:gd name="adj2" fmla="val 0"/>
              <a:gd name="adj3" fmla="val 25000"/>
              <a:gd name="adj4" fmla="val 10792"/>
              <a:gd name="adj5" fmla="val 10000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4A001AE1-8659-BE68-D13E-1749B7C6F739}"/>
              </a:ext>
            </a:extLst>
          </p:cNvPr>
          <p:cNvGrpSpPr/>
          <p:nvPr userDrawn="1"/>
        </p:nvGrpSpPr>
        <p:grpSpPr>
          <a:xfrm>
            <a:off x="4655194" y="1191140"/>
            <a:ext cx="875440" cy="693220"/>
            <a:chOff x="4655194" y="1191140"/>
            <a:chExt cx="875440" cy="693220"/>
          </a:xfrm>
        </p:grpSpPr>
        <p:sp>
          <p:nvSpPr>
            <p:cNvPr id="9" name="Oval 8">
              <a:extLst>
                <a:ext uri="{FF2B5EF4-FFF2-40B4-BE49-F238E27FC236}">
                  <a16:creationId xmlns:a16="http://schemas.microsoft.com/office/drawing/2014/main" id="{B25ED429-AE6A-B1A3-13DF-0807FF238451}"/>
                </a:ext>
              </a:extLst>
            </p:cNvPr>
            <p:cNvSpPr/>
            <p:nvPr/>
          </p:nvSpPr>
          <p:spPr bwMode="auto">
            <a:xfrm>
              <a:off x="4746304" y="1191140"/>
              <a:ext cx="693220" cy="69322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20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10" name="TextBox 9">
              <a:extLst>
                <a:ext uri="{FF2B5EF4-FFF2-40B4-BE49-F238E27FC236}">
                  <a16:creationId xmlns:a16="http://schemas.microsoft.com/office/drawing/2014/main" id="{4A86AB34-4D15-7377-D025-110BE01996D4}"/>
                </a:ext>
              </a:extLst>
            </p:cNvPr>
            <p:cNvSpPr txBox="1"/>
            <p:nvPr/>
          </p:nvSpPr>
          <p:spPr>
            <a:xfrm>
              <a:off x="4655194" y="1353084"/>
              <a:ext cx="875440"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1</a:t>
              </a:r>
            </a:p>
          </p:txBody>
        </p:sp>
      </p:grpSp>
      <p:grpSp>
        <p:nvGrpSpPr>
          <p:cNvPr id="12" name="Group 11">
            <a:extLst>
              <a:ext uri="{FF2B5EF4-FFF2-40B4-BE49-F238E27FC236}">
                <a16:creationId xmlns:a16="http://schemas.microsoft.com/office/drawing/2014/main" id="{BEE9EF4B-403F-24CD-7476-4B9CEC30288B}"/>
              </a:ext>
            </a:extLst>
          </p:cNvPr>
          <p:cNvGrpSpPr/>
          <p:nvPr/>
        </p:nvGrpSpPr>
        <p:grpSpPr>
          <a:xfrm>
            <a:off x="4655194" y="2491228"/>
            <a:ext cx="875439" cy="693220"/>
            <a:chOff x="4542890" y="2973275"/>
            <a:chExt cx="1122682" cy="889000"/>
          </a:xfrm>
        </p:grpSpPr>
        <p:sp>
          <p:nvSpPr>
            <p:cNvPr id="14" name="Oval 13">
              <a:extLst>
                <a:ext uri="{FF2B5EF4-FFF2-40B4-BE49-F238E27FC236}">
                  <a16:creationId xmlns:a16="http://schemas.microsoft.com/office/drawing/2014/main" id="{826C87C4-A125-7CE6-E5A4-CA32960ED41A}"/>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15" name="TextBox 14">
              <a:extLst>
                <a:ext uri="{FF2B5EF4-FFF2-40B4-BE49-F238E27FC236}">
                  <a16:creationId xmlns:a16="http://schemas.microsoft.com/office/drawing/2014/main" id="{ABE076AC-7D9B-0DF2-53A3-6CE0BDEA6EF6}"/>
                </a:ext>
              </a:extLst>
            </p:cNvPr>
            <p:cNvSpPr txBox="1"/>
            <p:nvPr/>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2</a:t>
              </a:r>
            </a:p>
          </p:txBody>
        </p:sp>
      </p:grpSp>
      <p:grpSp>
        <p:nvGrpSpPr>
          <p:cNvPr id="18" name="Group 17">
            <a:extLst>
              <a:ext uri="{FF2B5EF4-FFF2-40B4-BE49-F238E27FC236}">
                <a16:creationId xmlns:a16="http://schemas.microsoft.com/office/drawing/2014/main" id="{02665FB2-6199-D848-B7A0-CB7398D06B75}"/>
              </a:ext>
            </a:extLst>
          </p:cNvPr>
          <p:cNvGrpSpPr/>
          <p:nvPr userDrawn="1"/>
        </p:nvGrpSpPr>
        <p:grpSpPr>
          <a:xfrm>
            <a:off x="82210" y="487355"/>
            <a:ext cx="1999622" cy="1111528"/>
            <a:chOff x="0" y="2143857"/>
            <a:chExt cx="1647336" cy="915703"/>
          </a:xfrm>
          <a:solidFill>
            <a:schemeClr val="accent1">
              <a:lumMod val="20000"/>
              <a:lumOff val="80000"/>
            </a:schemeClr>
          </a:solidFill>
        </p:grpSpPr>
        <p:grpSp>
          <p:nvGrpSpPr>
            <p:cNvPr id="19" name="Group 18">
              <a:extLst>
                <a:ext uri="{FF2B5EF4-FFF2-40B4-BE49-F238E27FC236}">
                  <a16:creationId xmlns:a16="http://schemas.microsoft.com/office/drawing/2014/main" id="{90C3E72C-BC08-E613-5F40-3CCF61D54557}"/>
                </a:ext>
              </a:extLst>
            </p:cNvPr>
            <p:cNvGrpSpPr/>
            <p:nvPr/>
          </p:nvGrpSpPr>
          <p:grpSpPr>
            <a:xfrm>
              <a:off x="0" y="2356582"/>
              <a:ext cx="1647336" cy="64803"/>
              <a:chOff x="0" y="2352485"/>
              <a:chExt cx="1647336" cy="64803"/>
            </a:xfrm>
            <a:grpFill/>
          </p:grpSpPr>
          <p:sp>
            <p:nvSpPr>
              <p:cNvPr id="60" name="Oval 59">
                <a:extLst>
                  <a:ext uri="{FF2B5EF4-FFF2-40B4-BE49-F238E27FC236}">
                    <a16:creationId xmlns:a16="http://schemas.microsoft.com/office/drawing/2014/main" id="{A90DAD7A-43C3-0B7B-06F0-B83E4BC2982F}"/>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C826D7C4-3E96-7653-78A8-963550094E62}"/>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8B7CD4CB-B826-FC84-67D7-CBF3F39C5EAF}"/>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F35B59A6-6763-B8B1-90AE-7C1C223A150B}"/>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9D6474B4-6827-9BF9-FAF2-E1795B70A592}"/>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20741D26-8134-B07C-5729-7489D8773DB2}"/>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D63A4E95-2F66-BFE2-4B98-F21E0E241CA6}"/>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A31585C-BEE0-6E48-7C99-D4F3E7FB0B0F}"/>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E580A55-B12F-81CE-4C39-011911B47C96}"/>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0C0FE0B3-F9C8-2DCE-1AD7-2D310541667A}"/>
                </a:ext>
              </a:extLst>
            </p:cNvPr>
            <p:cNvGrpSpPr/>
            <p:nvPr/>
          </p:nvGrpSpPr>
          <p:grpSpPr>
            <a:xfrm>
              <a:off x="0" y="2569307"/>
              <a:ext cx="1647336" cy="64804"/>
              <a:chOff x="0" y="2561113"/>
              <a:chExt cx="1647336" cy="64804"/>
            </a:xfrm>
            <a:grpFill/>
          </p:grpSpPr>
          <p:sp>
            <p:nvSpPr>
              <p:cNvPr id="51" name="Oval 50">
                <a:extLst>
                  <a:ext uri="{FF2B5EF4-FFF2-40B4-BE49-F238E27FC236}">
                    <a16:creationId xmlns:a16="http://schemas.microsoft.com/office/drawing/2014/main" id="{5F539D38-BAC6-E106-8351-378D03B95ECB}"/>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37CD3226-D29E-43DE-5EDC-EE4C81470C07}"/>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FF45FBE0-18FE-403A-20BA-C7B34EB2C81C}"/>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761FDE27-595C-FFC5-51E2-A1ED4B275F9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E209AC06-E726-AB85-14F5-6B00239D701A}"/>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16558105-8E50-3399-15D7-31043E9AD44E}"/>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AA12D00-9BAD-5E66-25AF-C256F8A82720}"/>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1E39797-6B0D-14A9-60AB-0801F02D8959}"/>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513D16B7-D349-AA7B-93A4-4F2737B66013}"/>
                  </a:ext>
                </a:extLst>
              </p:cNvPr>
              <p:cNvSpPr/>
              <p:nvPr/>
            </p:nvSpPr>
            <p:spPr bwMode="auto">
              <a:xfrm>
                <a:off x="989083" y="2561114"/>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151B41DB-F6F9-349B-2F3E-A7D471C23451}"/>
                </a:ext>
              </a:extLst>
            </p:cNvPr>
            <p:cNvGrpSpPr/>
            <p:nvPr/>
          </p:nvGrpSpPr>
          <p:grpSpPr>
            <a:xfrm>
              <a:off x="0" y="2143857"/>
              <a:ext cx="1647336" cy="64803"/>
              <a:chOff x="0" y="2143857"/>
              <a:chExt cx="1647336" cy="64803"/>
            </a:xfrm>
            <a:grpFill/>
          </p:grpSpPr>
          <p:sp>
            <p:nvSpPr>
              <p:cNvPr id="42" name="Oval 41">
                <a:extLst>
                  <a:ext uri="{FF2B5EF4-FFF2-40B4-BE49-F238E27FC236}">
                    <a16:creationId xmlns:a16="http://schemas.microsoft.com/office/drawing/2014/main" id="{E2EC5D2A-A54B-10AB-1E7F-6D4E2CB71DA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F7142276-15F4-0710-1242-1121E7122CD8}"/>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0D36DC4-3C12-7C0F-D16A-D8703E6BDBB1}"/>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8ACC0488-9DB0-DA62-1B25-0127C8FE9827}"/>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66B78467-3055-9EA7-0D52-D646B9BD7953}"/>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7513A2EF-5D16-E2C7-FD52-025F7D40CF1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684A6D68-14DB-96DF-A697-DA0D78888DA2}"/>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B7386B6C-CA37-6018-FD08-8A8E49F5C3C1}"/>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6AC8E9AC-E8EE-0CD7-248D-ACA0A76B920F}"/>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6033F52-E3A6-1680-DC0D-D620CD1DA149}"/>
                </a:ext>
              </a:extLst>
            </p:cNvPr>
            <p:cNvGrpSpPr/>
            <p:nvPr/>
          </p:nvGrpSpPr>
          <p:grpSpPr>
            <a:xfrm>
              <a:off x="0" y="2782032"/>
              <a:ext cx="1647336" cy="64803"/>
              <a:chOff x="0" y="2769740"/>
              <a:chExt cx="1647336" cy="64803"/>
            </a:xfrm>
            <a:grpFill/>
          </p:grpSpPr>
          <p:sp>
            <p:nvSpPr>
              <p:cNvPr id="33" name="Oval 32">
                <a:extLst>
                  <a:ext uri="{FF2B5EF4-FFF2-40B4-BE49-F238E27FC236}">
                    <a16:creationId xmlns:a16="http://schemas.microsoft.com/office/drawing/2014/main" id="{751A4015-A7FF-D134-974D-1EB42EF2821A}"/>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4FA86999-E837-FCDB-A569-94D7AC160918}"/>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E2DC6340-3A97-7491-6E84-4D8D919FA7AA}"/>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CC5E774E-5267-777B-E099-4AA24D882CCB}"/>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066CC9F6-B651-F2D5-C726-DBB970B82C48}"/>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DEB603B9-F1AD-A280-D081-930CA5045ED3}"/>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37A75424-081A-21D0-FD3F-24A0F7B93067}"/>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F54AD13A-8999-2AD7-ACB0-8A7885185A5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892072C5-EFDC-BF8F-5FF4-90ED48601C2F}"/>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1C1D9B22-F84B-76EC-EAD6-E8E51C8A99B2}"/>
                </a:ext>
              </a:extLst>
            </p:cNvPr>
            <p:cNvGrpSpPr/>
            <p:nvPr/>
          </p:nvGrpSpPr>
          <p:grpSpPr>
            <a:xfrm>
              <a:off x="0" y="2994757"/>
              <a:ext cx="1647336" cy="64803"/>
              <a:chOff x="0" y="2143857"/>
              <a:chExt cx="1647336" cy="64803"/>
            </a:xfrm>
            <a:grpFill/>
          </p:grpSpPr>
          <p:sp>
            <p:nvSpPr>
              <p:cNvPr id="24" name="Oval 23">
                <a:extLst>
                  <a:ext uri="{FF2B5EF4-FFF2-40B4-BE49-F238E27FC236}">
                    <a16:creationId xmlns:a16="http://schemas.microsoft.com/office/drawing/2014/main" id="{F7544CC5-44C3-3B85-469B-EC335C813333}"/>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38D28A50-3AFC-B551-9745-3C2A16D8F6DA}"/>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C9A610-2142-CAC9-B135-417591FE0CE7}"/>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32838E-BCBA-A6CC-9F23-4EBF3D2FFD61}"/>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C6883B0-59EF-596C-A3F3-94671C4E4082}"/>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A5978B37-DDC4-4B1C-987A-E4C3539B68CE}"/>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0D680B7-0E1F-1FA3-7E94-93B924F96FF8}"/>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76895536-276A-D448-DA48-E142A73E6D29}"/>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ECD4F65B-6DC0-8341-E2DD-9326858C8588}"/>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7EFACC46-D7C6-A9C9-A713-51BBDF6E0826}"/>
              </a:ext>
            </a:extLst>
          </p:cNvPr>
          <p:cNvGrpSpPr/>
          <p:nvPr userDrawn="1"/>
        </p:nvGrpSpPr>
        <p:grpSpPr>
          <a:xfrm>
            <a:off x="10348517" y="5559865"/>
            <a:ext cx="1843479" cy="1298140"/>
            <a:chOff x="10348517" y="5559865"/>
            <a:chExt cx="1843479" cy="1298140"/>
          </a:xfrm>
        </p:grpSpPr>
        <p:grpSp>
          <p:nvGrpSpPr>
            <p:cNvPr id="70" name="Graphic 8">
              <a:extLst>
                <a:ext uri="{FF2B5EF4-FFF2-40B4-BE49-F238E27FC236}">
                  <a16:creationId xmlns:a16="http://schemas.microsoft.com/office/drawing/2014/main" id="{352583EF-A44C-30BC-DF51-A58388043305}"/>
                </a:ext>
              </a:extLst>
            </p:cNvPr>
            <p:cNvGrpSpPr/>
            <p:nvPr/>
          </p:nvGrpSpPr>
          <p:grpSpPr>
            <a:xfrm flipH="1">
              <a:off x="10348517" y="5687417"/>
              <a:ext cx="1563963" cy="1170588"/>
              <a:chOff x="5302292" y="8602600"/>
              <a:chExt cx="1381243" cy="1033826"/>
            </a:xfrm>
          </p:grpSpPr>
          <p:sp>
            <p:nvSpPr>
              <p:cNvPr id="76" name="Freeform: Shape 75">
                <a:extLst>
                  <a:ext uri="{FF2B5EF4-FFF2-40B4-BE49-F238E27FC236}">
                    <a16:creationId xmlns:a16="http://schemas.microsoft.com/office/drawing/2014/main" id="{275B7312-75C1-319A-B5F7-65094F88892C}"/>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BA8C487D-BDBE-F196-E82A-BEF7FD134ED6}"/>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3813152B-3F53-FB86-B069-1A6D1F434A56}"/>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C916D3A-E314-69C1-0E7E-EC479B137F8A}"/>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 name="Graphic 8">
              <a:extLst>
                <a:ext uri="{FF2B5EF4-FFF2-40B4-BE49-F238E27FC236}">
                  <a16:creationId xmlns:a16="http://schemas.microsoft.com/office/drawing/2014/main" id="{10392A2F-ABC4-CCDE-715B-1A1C9DD77AA2}"/>
                </a:ext>
              </a:extLst>
            </p:cNvPr>
            <p:cNvGrpSpPr/>
            <p:nvPr/>
          </p:nvGrpSpPr>
          <p:grpSpPr>
            <a:xfrm flipH="1">
              <a:off x="11280562" y="5559865"/>
              <a:ext cx="911434" cy="1298132"/>
              <a:chOff x="5055426" y="8489952"/>
              <a:chExt cx="804949" cy="1146469"/>
            </a:xfrm>
          </p:grpSpPr>
          <p:sp>
            <p:nvSpPr>
              <p:cNvPr id="72" name="Freeform: Shape 71">
                <a:extLst>
                  <a:ext uri="{FF2B5EF4-FFF2-40B4-BE49-F238E27FC236}">
                    <a16:creationId xmlns:a16="http://schemas.microsoft.com/office/drawing/2014/main" id="{DA1BE768-C446-2BBC-8B4B-82BB8537E644}"/>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6B75C75-110C-F534-F18D-2EC1E6583E06}"/>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1F3A462-2CFA-EC34-F2E5-2DD79D1BA341}"/>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6FD0968-77A6-E12D-A940-20167CABAB77}"/>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0" name="TextBox 79">
            <a:extLst>
              <a:ext uri="{FF2B5EF4-FFF2-40B4-BE49-F238E27FC236}">
                <a16:creationId xmlns:a16="http://schemas.microsoft.com/office/drawing/2014/main" id="{CF4122C2-0364-1B55-B2B7-9EFB1BF42341}"/>
              </a:ext>
            </a:extLst>
          </p:cNvPr>
          <p:cNvSpPr txBox="1"/>
          <p:nvPr userDrawn="1"/>
        </p:nvSpPr>
        <p:spPr>
          <a:xfrm>
            <a:off x="361661" y="3013502"/>
            <a:ext cx="3130970" cy="830997"/>
          </a:xfrm>
          <a:prstGeom prst="rect">
            <a:avLst/>
          </a:prstGeom>
          <a:noFill/>
        </p:spPr>
        <p:txBody>
          <a:bodyPr wrap="square" lIns="0" tIns="0" rIns="0" bIns="0" rtlCol="0">
            <a:spAutoFit/>
          </a:bodyPr>
          <a:lstStyle/>
          <a:p>
            <a:pPr algn="l"/>
            <a:r>
              <a:rPr lang="en-US" sz="5400" b="1">
                <a:solidFill>
                  <a:schemeClr val="tx2"/>
                </a:solidFill>
                <a:latin typeface="+mj-lt"/>
              </a:rPr>
              <a:t>Agenda</a:t>
            </a:r>
          </a:p>
        </p:txBody>
      </p:sp>
      <p:grpSp>
        <p:nvGrpSpPr>
          <p:cNvPr id="87" name="Group 86">
            <a:extLst>
              <a:ext uri="{FF2B5EF4-FFF2-40B4-BE49-F238E27FC236}">
                <a16:creationId xmlns:a16="http://schemas.microsoft.com/office/drawing/2014/main" id="{BFBAC349-3C49-7052-471D-B4179B5F42E5}"/>
              </a:ext>
            </a:extLst>
          </p:cNvPr>
          <p:cNvGrpSpPr/>
          <p:nvPr userDrawn="1"/>
        </p:nvGrpSpPr>
        <p:grpSpPr>
          <a:xfrm>
            <a:off x="4655192" y="3791316"/>
            <a:ext cx="875439" cy="693220"/>
            <a:chOff x="4542888" y="2973275"/>
            <a:chExt cx="1122682" cy="889000"/>
          </a:xfrm>
        </p:grpSpPr>
        <p:sp>
          <p:nvSpPr>
            <p:cNvPr id="89" name="Oval 88">
              <a:extLst>
                <a:ext uri="{FF2B5EF4-FFF2-40B4-BE49-F238E27FC236}">
                  <a16:creationId xmlns:a16="http://schemas.microsoft.com/office/drawing/2014/main" id="{4FA8D70B-7D7D-CBAB-81D5-170BDE9AB1B5}"/>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90" name="TextBox 89">
              <a:extLst>
                <a:ext uri="{FF2B5EF4-FFF2-40B4-BE49-F238E27FC236}">
                  <a16:creationId xmlns:a16="http://schemas.microsoft.com/office/drawing/2014/main" id="{E8898D7D-F01D-5294-4D87-F3517D23372B}"/>
                </a:ext>
              </a:extLst>
            </p:cNvPr>
            <p:cNvSpPr txBox="1"/>
            <p:nvPr userDrawn="1"/>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3</a:t>
              </a:r>
            </a:p>
          </p:txBody>
        </p:sp>
      </p:grpSp>
      <p:grpSp>
        <p:nvGrpSpPr>
          <p:cNvPr id="97" name="Group 96">
            <a:extLst>
              <a:ext uri="{FF2B5EF4-FFF2-40B4-BE49-F238E27FC236}">
                <a16:creationId xmlns:a16="http://schemas.microsoft.com/office/drawing/2014/main" id="{DBA52503-C894-6277-EE31-EF57BB111575}"/>
              </a:ext>
            </a:extLst>
          </p:cNvPr>
          <p:cNvGrpSpPr/>
          <p:nvPr/>
        </p:nvGrpSpPr>
        <p:grpSpPr>
          <a:xfrm>
            <a:off x="4655194" y="5091403"/>
            <a:ext cx="875439" cy="693220"/>
            <a:chOff x="4542890" y="2973275"/>
            <a:chExt cx="1122682" cy="889000"/>
          </a:xfrm>
        </p:grpSpPr>
        <p:sp>
          <p:nvSpPr>
            <p:cNvPr id="99" name="Oval 98">
              <a:extLst>
                <a:ext uri="{FF2B5EF4-FFF2-40B4-BE49-F238E27FC236}">
                  <a16:creationId xmlns:a16="http://schemas.microsoft.com/office/drawing/2014/main" id="{CDA04284-D495-8C1F-0D82-E5D538A6315A}"/>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100" name="TextBox 99">
              <a:extLst>
                <a:ext uri="{FF2B5EF4-FFF2-40B4-BE49-F238E27FC236}">
                  <a16:creationId xmlns:a16="http://schemas.microsoft.com/office/drawing/2014/main" id="{645464B5-B1A2-C821-0236-3B1982AB0DB1}"/>
                </a:ext>
              </a:extLst>
            </p:cNvPr>
            <p:cNvSpPr txBox="1"/>
            <p:nvPr/>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4</a:t>
              </a:r>
            </a:p>
          </p:txBody>
        </p:sp>
      </p:grpSp>
      <p:sp>
        <p:nvSpPr>
          <p:cNvPr id="101" name="Text Placeholder 2">
            <a:extLst>
              <a:ext uri="{FF2B5EF4-FFF2-40B4-BE49-F238E27FC236}">
                <a16:creationId xmlns:a16="http://schemas.microsoft.com/office/drawing/2014/main" id="{E8EC1362-0CB6-2ADF-991C-4E36B45C0928}"/>
              </a:ext>
            </a:extLst>
          </p:cNvPr>
          <p:cNvSpPr>
            <a:spLocks noGrp="1"/>
          </p:cNvSpPr>
          <p:nvPr>
            <p:ph type="body" sz="quarter" idx="10"/>
          </p:nvPr>
        </p:nvSpPr>
        <p:spPr>
          <a:xfrm>
            <a:off x="5656602" y="1399251"/>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102" name="Text Placeholder 2">
            <a:extLst>
              <a:ext uri="{FF2B5EF4-FFF2-40B4-BE49-F238E27FC236}">
                <a16:creationId xmlns:a16="http://schemas.microsoft.com/office/drawing/2014/main" id="{DB300B4E-15B0-3EC4-2E0C-DB32B767F4E3}"/>
              </a:ext>
            </a:extLst>
          </p:cNvPr>
          <p:cNvSpPr>
            <a:spLocks noGrp="1"/>
          </p:cNvSpPr>
          <p:nvPr>
            <p:ph type="body" sz="quarter" idx="11"/>
          </p:nvPr>
        </p:nvSpPr>
        <p:spPr>
          <a:xfrm>
            <a:off x="5656602" y="2689079"/>
            <a:ext cx="6070600" cy="307777"/>
          </a:xfrm>
        </p:spPr>
        <p:txBody>
          <a:bodyPr/>
          <a:lstStyle>
            <a:lvl1pPr marL="0" indent="0">
              <a:buNone/>
              <a:defRPr sz="2000">
                <a:solidFill>
                  <a:schemeClr val="tx2"/>
                </a:solidFill>
                <a:latin typeface="+mj-lt"/>
              </a:defRPr>
            </a:lvl1pPr>
          </a:lstStyle>
          <a:p>
            <a:pPr lvl="0"/>
            <a:r>
              <a:rPr lang="en-US"/>
              <a:t>Click to edit Master text styles</a:t>
            </a:r>
          </a:p>
        </p:txBody>
      </p:sp>
      <p:sp>
        <p:nvSpPr>
          <p:cNvPr id="103" name="Text Placeholder 2">
            <a:extLst>
              <a:ext uri="{FF2B5EF4-FFF2-40B4-BE49-F238E27FC236}">
                <a16:creationId xmlns:a16="http://schemas.microsoft.com/office/drawing/2014/main" id="{AD6785CC-4508-96E8-DD76-F2BEDCFF29E3}"/>
              </a:ext>
            </a:extLst>
          </p:cNvPr>
          <p:cNvSpPr>
            <a:spLocks noGrp="1"/>
          </p:cNvSpPr>
          <p:nvPr>
            <p:ph type="body" sz="quarter" idx="12"/>
          </p:nvPr>
        </p:nvSpPr>
        <p:spPr>
          <a:xfrm>
            <a:off x="5656602" y="4009685"/>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104" name="Text Placeholder 2">
            <a:extLst>
              <a:ext uri="{FF2B5EF4-FFF2-40B4-BE49-F238E27FC236}">
                <a16:creationId xmlns:a16="http://schemas.microsoft.com/office/drawing/2014/main" id="{D3E17AB8-A8BA-A7E1-7A4F-836B74379087}"/>
              </a:ext>
            </a:extLst>
          </p:cNvPr>
          <p:cNvSpPr>
            <a:spLocks noGrp="1"/>
          </p:cNvSpPr>
          <p:nvPr>
            <p:ph type="body" sz="quarter" idx="13"/>
          </p:nvPr>
        </p:nvSpPr>
        <p:spPr>
          <a:xfrm>
            <a:off x="5656602" y="5299514"/>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236520319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Custom">
    <p:spTree>
      <p:nvGrpSpPr>
        <p:cNvPr id="1" name=""/>
        <p:cNvGrpSpPr/>
        <p:nvPr/>
      </p:nvGrpSpPr>
      <p:grpSpPr>
        <a:xfrm>
          <a:off x="0" y="0"/>
          <a:ext cx="0" cy="0"/>
          <a:chOff x="0" y="0"/>
          <a:chExt cx="0" cy="0"/>
        </a:xfrm>
      </p:grpSpPr>
      <p:sp>
        <p:nvSpPr>
          <p:cNvPr id="82" name="Rectangle: Rounded Corners 81">
            <a:extLst>
              <a:ext uri="{FF2B5EF4-FFF2-40B4-BE49-F238E27FC236}">
                <a16:creationId xmlns:a16="http://schemas.microsoft.com/office/drawing/2014/main" id="{29C65921-FD7F-B796-44F6-E9E410683CD9}"/>
              </a:ext>
            </a:extLst>
          </p:cNvPr>
          <p:cNvSpPr/>
          <p:nvPr userDrawn="1"/>
        </p:nvSpPr>
        <p:spPr bwMode="auto">
          <a:xfrm>
            <a:off x="0" y="2328"/>
            <a:ext cx="4025900" cy="6857997"/>
          </a:xfrm>
          <a:prstGeom prst="roundRect">
            <a:avLst>
              <a:gd name="adj"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Arrow: U-Turn 4">
            <a:extLst>
              <a:ext uri="{FF2B5EF4-FFF2-40B4-BE49-F238E27FC236}">
                <a16:creationId xmlns:a16="http://schemas.microsoft.com/office/drawing/2014/main" id="{9813402F-4AE0-5DF2-8034-09DE25CC529B}"/>
              </a:ext>
            </a:extLst>
          </p:cNvPr>
          <p:cNvSpPr/>
          <p:nvPr userDrawn="1"/>
        </p:nvSpPr>
        <p:spPr bwMode="auto">
          <a:xfrm rot="5400000">
            <a:off x="1718628" y="2893060"/>
            <a:ext cx="5686424" cy="1071880"/>
          </a:xfrm>
          <a:prstGeom prst="uturnArrow">
            <a:avLst>
              <a:gd name="adj1" fmla="val 25000"/>
              <a:gd name="adj2" fmla="val 0"/>
              <a:gd name="adj3" fmla="val 25000"/>
              <a:gd name="adj4" fmla="val 10792"/>
              <a:gd name="adj5" fmla="val 10000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02665FB2-6199-D848-B7A0-CB7398D06B75}"/>
              </a:ext>
            </a:extLst>
          </p:cNvPr>
          <p:cNvGrpSpPr/>
          <p:nvPr userDrawn="1"/>
        </p:nvGrpSpPr>
        <p:grpSpPr>
          <a:xfrm>
            <a:off x="82210" y="487355"/>
            <a:ext cx="1999622" cy="1111528"/>
            <a:chOff x="0" y="2143857"/>
            <a:chExt cx="1647336" cy="915703"/>
          </a:xfrm>
          <a:solidFill>
            <a:schemeClr val="accent1">
              <a:lumMod val="20000"/>
              <a:lumOff val="80000"/>
            </a:schemeClr>
          </a:solidFill>
        </p:grpSpPr>
        <p:grpSp>
          <p:nvGrpSpPr>
            <p:cNvPr id="19" name="Group 18">
              <a:extLst>
                <a:ext uri="{FF2B5EF4-FFF2-40B4-BE49-F238E27FC236}">
                  <a16:creationId xmlns:a16="http://schemas.microsoft.com/office/drawing/2014/main" id="{90C3E72C-BC08-E613-5F40-3CCF61D54557}"/>
                </a:ext>
              </a:extLst>
            </p:cNvPr>
            <p:cNvGrpSpPr/>
            <p:nvPr/>
          </p:nvGrpSpPr>
          <p:grpSpPr>
            <a:xfrm>
              <a:off x="0" y="2356582"/>
              <a:ext cx="1647336" cy="64803"/>
              <a:chOff x="0" y="2352485"/>
              <a:chExt cx="1647336" cy="64803"/>
            </a:xfrm>
            <a:grpFill/>
          </p:grpSpPr>
          <p:sp>
            <p:nvSpPr>
              <p:cNvPr id="60" name="Oval 59">
                <a:extLst>
                  <a:ext uri="{FF2B5EF4-FFF2-40B4-BE49-F238E27FC236}">
                    <a16:creationId xmlns:a16="http://schemas.microsoft.com/office/drawing/2014/main" id="{A90DAD7A-43C3-0B7B-06F0-B83E4BC2982F}"/>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C826D7C4-3E96-7653-78A8-963550094E62}"/>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8B7CD4CB-B826-FC84-67D7-CBF3F39C5EAF}"/>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F35B59A6-6763-B8B1-90AE-7C1C223A150B}"/>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9D6474B4-6827-9BF9-FAF2-E1795B70A592}"/>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20741D26-8134-B07C-5729-7489D8773DB2}"/>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D63A4E95-2F66-BFE2-4B98-F21E0E241CA6}"/>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A31585C-BEE0-6E48-7C99-D4F3E7FB0B0F}"/>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E580A55-B12F-81CE-4C39-011911B47C96}"/>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0C0FE0B3-F9C8-2DCE-1AD7-2D310541667A}"/>
                </a:ext>
              </a:extLst>
            </p:cNvPr>
            <p:cNvGrpSpPr/>
            <p:nvPr/>
          </p:nvGrpSpPr>
          <p:grpSpPr>
            <a:xfrm>
              <a:off x="0" y="2569307"/>
              <a:ext cx="1647336" cy="64804"/>
              <a:chOff x="0" y="2561113"/>
              <a:chExt cx="1647336" cy="64804"/>
            </a:xfrm>
            <a:grpFill/>
          </p:grpSpPr>
          <p:sp>
            <p:nvSpPr>
              <p:cNvPr id="51" name="Oval 50">
                <a:extLst>
                  <a:ext uri="{FF2B5EF4-FFF2-40B4-BE49-F238E27FC236}">
                    <a16:creationId xmlns:a16="http://schemas.microsoft.com/office/drawing/2014/main" id="{5F539D38-BAC6-E106-8351-378D03B95ECB}"/>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37CD3226-D29E-43DE-5EDC-EE4C81470C07}"/>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FF45FBE0-18FE-403A-20BA-C7B34EB2C81C}"/>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761FDE27-595C-FFC5-51E2-A1ED4B275F9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E209AC06-E726-AB85-14F5-6B00239D701A}"/>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16558105-8E50-3399-15D7-31043E9AD44E}"/>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AA12D00-9BAD-5E66-25AF-C256F8A82720}"/>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1E39797-6B0D-14A9-60AB-0801F02D8959}"/>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513D16B7-D349-AA7B-93A4-4F2737B66013}"/>
                  </a:ext>
                </a:extLst>
              </p:cNvPr>
              <p:cNvSpPr/>
              <p:nvPr/>
            </p:nvSpPr>
            <p:spPr bwMode="auto">
              <a:xfrm>
                <a:off x="989083" y="2561114"/>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151B41DB-F6F9-349B-2F3E-A7D471C23451}"/>
                </a:ext>
              </a:extLst>
            </p:cNvPr>
            <p:cNvGrpSpPr/>
            <p:nvPr/>
          </p:nvGrpSpPr>
          <p:grpSpPr>
            <a:xfrm>
              <a:off x="0" y="2143857"/>
              <a:ext cx="1647336" cy="64803"/>
              <a:chOff x="0" y="2143857"/>
              <a:chExt cx="1647336" cy="64803"/>
            </a:xfrm>
            <a:grpFill/>
          </p:grpSpPr>
          <p:sp>
            <p:nvSpPr>
              <p:cNvPr id="42" name="Oval 41">
                <a:extLst>
                  <a:ext uri="{FF2B5EF4-FFF2-40B4-BE49-F238E27FC236}">
                    <a16:creationId xmlns:a16="http://schemas.microsoft.com/office/drawing/2014/main" id="{E2EC5D2A-A54B-10AB-1E7F-6D4E2CB71DA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F7142276-15F4-0710-1242-1121E7122CD8}"/>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0D36DC4-3C12-7C0F-D16A-D8703E6BDBB1}"/>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8ACC0488-9DB0-DA62-1B25-0127C8FE9827}"/>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66B78467-3055-9EA7-0D52-D646B9BD7953}"/>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7513A2EF-5D16-E2C7-FD52-025F7D40CF1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684A6D68-14DB-96DF-A697-DA0D78888DA2}"/>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B7386B6C-CA37-6018-FD08-8A8E49F5C3C1}"/>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6AC8E9AC-E8EE-0CD7-248D-ACA0A76B920F}"/>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6033F52-E3A6-1680-DC0D-D620CD1DA149}"/>
                </a:ext>
              </a:extLst>
            </p:cNvPr>
            <p:cNvGrpSpPr/>
            <p:nvPr/>
          </p:nvGrpSpPr>
          <p:grpSpPr>
            <a:xfrm>
              <a:off x="0" y="2782032"/>
              <a:ext cx="1647336" cy="64803"/>
              <a:chOff x="0" y="2769740"/>
              <a:chExt cx="1647336" cy="64803"/>
            </a:xfrm>
            <a:grpFill/>
          </p:grpSpPr>
          <p:sp>
            <p:nvSpPr>
              <p:cNvPr id="33" name="Oval 32">
                <a:extLst>
                  <a:ext uri="{FF2B5EF4-FFF2-40B4-BE49-F238E27FC236}">
                    <a16:creationId xmlns:a16="http://schemas.microsoft.com/office/drawing/2014/main" id="{751A4015-A7FF-D134-974D-1EB42EF2821A}"/>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4FA86999-E837-FCDB-A569-94D7AC160918}"/>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E2DC6340-3A97-7491-6E84-4D8D919FA7AA}"/>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CC5E774E-5267-777B-E099-4AA24D882CCB}"/>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066CC9F6-B651-F2D5-C726-DBB970B82C48}"/>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DEB603B9-F1AD-A280-D081-930CA5045ED3}"/>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37A75424-081A-21D0-FD3F-24A0F7B93067}"/>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F54AD13A-8999-2AD7-ACB0-8A7885185A5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892072C5-EFDC-BF8F-5FF4-90ED48601C2F}"/>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1C1D9B22-F84B-76EC-EAD6-E8E51C8A99B2}"/>
                </a:ext>
              </a:extLst>
            </p:cNvPr>
            <p:cNvGrpSpPr/>
            <p:nvPr/>
          </p:nvGrpSpPr>
          <p:grpSpPr>
            <a:xfrm>
              <a:off x="0" y="2994757"/>
              <a:ext cx="1647336" cy="64803"/>
              <a:chOff x="0" y="2143857"/>
              <a:chExt cx="1647336" cy="64803"/>
            </a:xfrm>
            <a:grpFill/>
          </p:grpSpPr>
          <p:sp>
            <p:nvSpPr>
              <p:cNvPr id="24" name="Oval 23">
                <a:extLst>
                  <a:ext uri="{FF2B5EF4-FFF2-40B4-BE49-F238E27FC236}">
                    <a16:creationId xmlns:a16="http://schemas.microsoft.com/office/drawing/2014/main" id="{F7544CC5-44C3-3B85-469B-EC335C813333}"/>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38D28A50-3AFC-B551-9745-3C2A16D8F6DA}"/>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C9A610-2142-CAC9-B135-417591FE0CE7}"/>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32838E-BCBA-A6CC-9F23-4EBF3D2FFD61}"/>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C6883B0-59EF-596C-A3F3-94671C4E4082}"/>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A5978B37-DDC4-4B1C-987A-E4C3539B68CE}"/>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0D680B7-0E1F-1FA3-7E94-93B924F96FF8}"/>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76895536-276A-D448-DA48-E142A73E6D29}"/>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ECD4F65B-6DC0-8341-E2DD-9326858C8588}"/>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7EFACC46-D7C6-A9C9-A713-51BBDF6E0826}"/>
              </a:ext>
            </a:extLst>
          </p:cNvPr>
          <p:cNvGrpSpPr/>
          <p:nvPr userDrawn="1"/>
        </p:nvGrpSpPr>
        <p:grpSpPr>
          <a:xfrm>
            <a:off x="10348517" y="5559865"/>
            <a:ext cx="1843479" cy="1298140"/>
            <a:chOff x="10348517" y="5559865"/>
            <a:chExt cx="1843479" cy="1298140"/>
          </a:xfrm>
        </p:grpSpPr>
        <p:grpSp>
          <p:nvGrpSpPr>
            <p:cNvPr id="70" name="Graphic 8">
              <a:extLst>
                <a:ext uri="{FF2B5EF4-FFF2-40B4-BE49-F238E27FC236}">
                  <a16:creationId xmlns:a16="http://schemas.microsoft.com/office/drawing/2014/main" id="{352583EF-A44C-30BC-DF51-A58388043305}"/>
                </a:ext>
              </a:extLst>
            </p:cNvPr>
            <p:cNvGrpSpPr/>
            <p:nvPr/>
          </p:nvGrpSpPr>
          <p:grpSpPr>
            <a:xfrm flipH="1">
              <a:off x="10348517" y="5687417"/>
              <a:ext cx="1563963" cy="1170588"/>
              <a:chOff x="5302292" y="8602600"/>
              <a:chExt cx="1381243" cy="1033826"/>
            </a:xfrm>
          </p:grpSpPr>
          <p:sp>
            <p:nvSpPr>
              <p:cNvPr id="76" name="Freeform: Shape 75">
                <a:extLst>
                  <a:ext uri="{FF2B5EF4-FFF2-40B4-BE49-F238E27FC236}">
                    <a16:creationId xmlns:a16="http://schemas.microsoft.com/office/drawing/2014/main" id="{275B7312-75C1-319A-B5F7-65094F88892C}"/>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BA8C487D-BDBE-F196-E82A-BEF7FD134ED6}"/>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3813152B-3F53-FB86-B069-1A6D1F434A56}"/>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C916D3A-E314-69C1-0E7E-EC479B137F8A}"/>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 name="Graphic 8">
              <a:extLst>
                <a:ext uri="{FF2B5EF4-FFF2-40B4-BE49-F238E27FC236}">
                  <a16:creationId xmlns:a16="http://schemas.microsoft.com/office/drawing/2014/main" id="{10392A2F-ABC4-CCDE-715B-1A1C9DD77AA2}"/>
                </a:ext>
              </a:extLst>
            </p:cNvPr>
            <p:cNvGrpSpPr/>
            <p:nvPr/>
          </p:nvGrpSpPr>
          <p:grpSpPr>
            <a:xfrm flipH="1">
              <a:off x="11280562" y="5559865"/>
              <a:ext cx="911434" cy="1298132"/>
              <a:chOff x="5055426" y="8489952"/>
              <a:chExt cx="804949" cy="1146469"/>
            </a:xfrm>
          </p:grpSpPr>
          <p:sp>
            <p:nvSpPr>
              <p:cNvPr id="72" name="Freeform: Shape 71">
                <a:extLst>
                  <a:ext uri="{FF2B5EF4-FFF2-40B4-BE49-F238E27FC236}">
                    <a16:creationId xmlns:a16="http://schemas.microsoft.com/office/drawing/2014/main" id="{DA1BE768-C446-2BBC-8B4B-82BB8537E644}"/>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6B75C75-110C-F534-F18D-2EC1E6583E06}"/>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1F3A462-2CFA-EC34-F2E5-2DD79D1BA341}"/>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6FD0968-77A6-E12D-A940-20167CABAB77}"/>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0" name="TextBox 79">
            <a:extLst>
              <a:ext uri="{FF2B5EF4-FFF2-40B4-BE49-F238E27FC236}">
                <a16:creationId xmlns:a16="http://schemas.microsoft.com/office/drawing/2014/main" id="{CF4122C2-0364-1B55-B2B7-9EFB1BF42341}"/>
              </a:ext>
            </a:extLst>
          </p:cNvPr>
          <p:cNvSpPr txBox="1"/>
          <p:nvPr userDrawn="1"/>
        </p:nvSpPr>
        <p:spPr>
          <a:xfrm>
            <a:off x="361661" y="3013502"/>
            <a:ext cx="3130970" cy="830997"/>
          </a:xfrm>
          <a:prstGeom prst="rect">
            <a:avLst/>
          </a:prstGeom>
          <a:noFill/>
        </p:spPr>
        <p:txBody>
          <a:bodyPr wrap="square" lIns="0" tIns="0" rIns="0" bIns="0" rtlCol="0">
            <a:spAutoFit/>
          </a:bodyPr>
          <a:lstStyle/>
          <a:p>
            <a:pPr algn="l"/>
            <a:r>
              <a:rPr lang="en-US" sz="5400" b="1">
                <a:solidFill>
                  <a:schemeClr val="tx2"/>
                </a:solidFill>
                <a:latin typeface="+mj-lt"/>
              </a:rPr>
              <a:t>Agenda</a:t>
            </a:r>
          </a:p>
        </p:txBody>
      </p:sp>
      <p:sp>
        <p:nvSpPr>
          <p:cNvPr id="88" name="Text Placeholder 2">
            <a:extLst>
              <a:ext uri="{FF2B5EF4-FFF2-40B4-BE49-F238E27FC236}">
                <a16:creationId xmlns:a16="http://schemas.microsoft.com/office/drawing/2014/main" id="{80CA7126-A722-4A6D-94E4-86D5D8B0DACC}"/>
              </a:ext>
            </a:extLst>
          </p:cNvPr>
          <p:cNvSpPr>
            <a:spLocks noGrp="1"/>
          </p:cNvSpPr>
          <p:nvPr>
            <p:ph type="body" sz="quarter" idx="10"/>
          </p:nvPr>
        </p:nvSpPr>
        <p:spPr>
          <a:xfrm>
            <a:off x="5656602" y="1399251"/>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89" name="Text Placeholder 2">
            <a:extLst>
              <a:ext uri="{FF2B5EF4-FFF2-40B4-BE49-F238E27FC236}">
                <a16:creationId xmlns:a16="http://schemas.microsoft.com/office/drawing/2014/main" id="{C91922D3-B3BD-6E24-7894-81A764EE130D}"/>
              </a:ext>
            </a:extLst>
          </p:cNvPr>
          <p:cNvSpPr>
            <a:spLocks noGrp="1"/>
          </p:cNvSpPr>
          <p:nvPr>
            <p:ph type="body" sz="quarter" idx="11"/>
          </p:nvPr>
        </p:nvSpPr>
        <p:spPr>
          <a:xfrm>
            <a:off x="5656602" y="2689079"/>
            <a:ext cx="6070600" cy="307777"/>
          </a:xfrm>
        </p:spPr>
        <p:txBody>
          <a:bodyPr/>
          <a:lstStyle>
            <a:lvl1pPr marL="0" indent="0">
              <a:buNone/>
              <a:defRPr sz="2000">
                <a:solidFill>
                  <a:schemeClr val="tx2"/>
                </a:solidFill>
                <a:latin typeface="+mj-lt"/>
              </a:defRPr>
            </a:lvl1pPr>
          </a:lstStyle>
          <a:p>
            <a:pPr lvl="0"/>
            <a:r>
              <a:rPr lang="en-US"/>
              <a:t>Click to edit Master text styles</a:t>
            </a:r>
          </a:p>
        </p:txBody>
      </p:sp>
      <p:sp>
        <p:nvSpPr>
          <p:cNvPr id="90" name="Text Placeholder 2">
            <a:extLst>
              <a:ext uri="{FF2B5EF4-FFF2-40B4-BE49-F238E27FC236}">
                <a16:creationId xmlns:a16="http://schemas.microsoft.com/office/drawing/2014/main" id="{D0BA5C99-C35F-4CB1-F304-4E0A03ADA13D}"/>
              </a:ext>
            </a:extLst>
          </p:cNvPr>
          <p:cNvSpPr>
            <a:spLocks noGrp="1"/>
          </p:cNvSpPr>
          <p:nvPr>
            <p:ph type="body" sz="quarter" idx="12"/>
          </p:nvPr>
        </p:nvSpPr>
        <p:spPr>
          <a:xfrm>
            <a:off x="5656602" y="4009685"/>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91" name="Text Placeholder 2">
            <a:extLst>
              <a:ext uri="{FF2B5EF4-FFF2-40B4-BE49-F238E27FC236}">
                <a16:creationId xmlns:a16="http://schemas.microsoft.com/office/drawing/2014/main" id="{01D53BFC-2D97-154F-8FFE-EE1BE62B5442}"/>
              </a:ext>
            </a:extLst>
          </p:cNvPr>
          <p:cNvSpPr>
            <a:spLocks noGrp="1"/>
          </p:cNvSpPr>
          <p:nvPr>
            <p:ph type="body" sz="quarter" idx="13"/>
          </p:nvPr>
        </p:nvSpPr>
        <p:spPr>
          <a:xfrm>
            <a:off x="5656602" y="5299514"/>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74316042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ED844777-CE79-0284-5BE2-894F11F01939}"/>
              </a:ext>
            </a:extLst>
          </p:cNvPr>
          <p:cNvSpPr/>
          <p:nvPr userDrawn="1"/>
        </p:nvSpPr>
        <p:spPr>
          <a:xfrm>
            <a:off x="531361" y="4955412"/>
            <a:ext cx="1462540" cy="1390022"/>
          </a:xfrm>
          <a:custGeom>
            <a:avLst/>
            <a:gdLst>
              <a:gd name="connsiteX0" fmla="*/ 1182547 w 1182546"/>
              <a:gd name="connsiteY0" fmla="*/ 595820 h 1191639"/>
              <a:gd name="connsiteX1" fmla="*/ 591273 w 1182546"/>
              <a:gd name="connsiteY1" fmla="*/ 1191640 h 1191639"/>
              <a:gd name="connsiteX2" fmla="*/ 0 w 1182546"/>
              <a:gd name="connsiteY2" fmla="*/ 595820 h 1191639"/>
              <a:gd name="connsiteX3" fmla="*/ 591273 w 1182546"/>
              <a:gd name="connsiteY3" fmla="*/ 0 h 1191639"/>
              <a:gd name="connsiteX4" fmla="*/ 1182547 w 1182546"/>
              <a:gd name="connsiteY4" fmla="*/ 595820 h 119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546" h="1191639">
                <a:moveTo>
                  <a:pt x="1182547" y="595820"/>
                </a:moveTo>
                <a:cubicBezTo>
                  <a:pt x="1182547" y="924882"/>
                  <a:pt x="917825" y="1191640"/>
                  <a:pt x="591273" y="1191640"/>
                </a:cubicBezTo>
                <a:cubicBezTo>
                  <a:pt x="264721" y="1191640"/>
                  <a:pt x="0" y="924882"/>
                  <a:pt x="0" y="595820"/>
                </a:cubicBezTo>
                <a:cubicBezTo>
                  <a:pt x="0" y="266758"/>
                  <a:pt x="264721" y="0"/>
                  <a:pt x="591273" y="0"/>
                </a:cubicBezTo>
                <a:cubicBezTo>
                  <a:pt x="917825" y="0"/>
                  <a:pt x="1182547" y="266758"/>
                  <a:pt x="1182547" y="595820"/>
                </a:cubicBezTo>
                <a:close/>
              </a:path>
            </a:pathLst>
          </a:custGeom>
          <a:pattFill prst="wdDnDiag">
            <a:fgClr>
              <a:schemeClr val="accent2">
                <a:lumMod val="20000"/>
                <a:lumOff val="80000"/>
              </a:schemeClr>
            </a:fgClr>
            <a:bgClr>
              <a:schemeClr val="bg1"/>
            </a:bgClr>
          </a:pattFill>
          <a:ln w="14405" cap="flat">
            <a:noFill/>
            <a:prstDash val="solid"/>
            <a:miter/>
          </a:ln>
        </p:spPr>
        <p:txBody>
          <a:bodyPr rtlCol="0" anchor="ctr"/>
          <a:lstStyle/>
          <a:p>
            <a:endParaRPr lang="en-US"/>
          </a:p>
        </p:txBody>
      </p:sp>
      <p:sp>
        <p:nvSpPr>
          <p:cNvPr id="4" name="Freeform: Shape 3">
            <a:extLst>
              <a:ext uri="{FF2B5EF4-FFF2-40B4-BE49-F238E27FC236}">
                <a16:creationId xmlns:a16="http://schemas.microsoft.com/office/drawing/2014/main" id="{0AF8181F-29BE-6A80-09A3-61738088E5A7}"/>
              </a:ext>
            </a:extLst>
          </p:cNvPr>
          <p:cNvSpPr/>
          <p:nvPr userDrawn="1"/>
        </p:nvSpPr>
        <p:spPr>
          <a:xfrm flipV="1">
            <a:off x="1" y="2085662"/>
            <a:ext cx="12191998" cy="3282750"/>
          </a:xfrm>
          <a:custGeom>
            <a:avLst/>
            <a:gdLst>
              <a:gd name="connsiteX0" fmla="*/ 225390 w 12191998"/>
              <a:gd name="connsiteY0" fmla="*/ 3282750 h 3282750"/>
              <a:gd name="connsiteX1" fmla="*/ 9880096 w 12191998"/>
              <a:gd name="connsiteY1" fmla="*/ 3282750 h 3282750"/>
              <a:gd name="connsiteX2" fmla="*/ 10320199 w 12191998"/>
              <a:gd name="connsiteY2" fmla="*/ 3100060 h 3282750"/>
              <a:gd name="connsiteX3" fmla="*/ 12191998 w 12191998"/>
              <a:gd name="connsiteY3" fmla="*/ 1221634 h 3282750"/>
              <a:gd name="connsiteX4" fmla="*/ 12191998 w 12191998"/>
              <a:gd name="connsiteY4" fmla="*/ 1523 h 3282750"/>
              <a:gd name="connsiteX5" fmla="*/ 11409355 w 12191998"/>
              <a:gd name="connsiteY5" fmla="*/ 1523 h 3282750"/>
              <a:gd name="connsiteX6" fmla="*/ 11410872 w 12191998"/>
              <a:gd name="connsiteY6" fmla="*/ 0 h 3282750"/>
              <a:gd name="connsiteX7" fmla="*/ 9138442 w 12191998"/>
              <a:gd name="connsiteY7" fmla="*/ 0 h 3282750"/>
              <a:gd name="connsiteX8" fmla="*/ 6866012 w 12191998"/>
              <a:gd name="connsiteY8" fmla="*/ 0 h 3282750"/>
              <a:gd name="connsiteX9" fmla="*/ 5045748 w 12191998"/>
              <a:gd name="connsiteY9" fmla="*/ 0 h 3282750"/>
              <a:gd name="connsiteX10" fmla="*/ 4593580 w 12191998"/>
              <a:gd name="connsiteY10" fmla="*/ 0 h 3282750"/>
              <a:gd name="connsiteX11" fmla="*/ 2773318 w 12191998"/>
              <a:gd name="connsiteY11" fmla="*/ 0 h 3282750"/>
              <a:gd name="connsiteX12" fmla="*/ 500887 w 12191998"/>
              <a:gd name="connsiteY12" fmla="*/ 0 h 3282750"/>
              <a:gd name="connsiteX13" fmla="*/ 0 w 12191998"/>
              <a:gd name="connsiteY13" fmla="*/ 0 h 3282750"/>
              <a:gd name="connsiteX14" fmla="*/ 0 w 12191998"/>
              <a:gd name="connsiteY14" fmla="*/ 3282749 h 3282750"/>
              <a:gd name="connsiteX15" fmla="*/ 225390 w 12191998"/>
              <a:gd name="connsiteY15" fmla="*/ 3282749 h 32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1998" h="3282750">
                <a:moveTo>
                  <a:pt x="225390" y="3282750"/>
                </a:moveTo>
                <a:lnTo>
                  <a:pt x="9880096" y="3282750"/>
                </a:lnTo>
                <a:cubicBezTo>
                  <a:pt x="10045266" y="3282750"/>
                  <a:pt x="10203546" y="3217012"/>
                  <a:pt x="10320199" y="3100060"/>
                </a:cubicBezTo>
                <a:lnTo>
                  <a:pt x="12191998" y="1221634"/>
                </a:lnTo>
                <a:lnTo>
                  <a:pt x="12191998" y="1523"/>
                </a:lnTo>
                <a:lnTo>
                  <a:pt x="11409355" y="1523"/>
                </a:lnTo>
                <a:lnTo>
                  <a:pt x="11410872" y="0"/>
                </a:lnTo>
                <a:lnTo>
                  <a:pt x="9138442" y="0"/>
                </a:lnTo>
                <a:lnTo>
                  <a:pt x="6866012" y="0"/>
                </a:lnTo>
                <a:lnTo>
                  <a:pt x="5045748" y="0"/>
                </a:lnTo>
                <a:lnTo>
                  <a:pt x="4593580" y="0"/>
                </a:lnTo>
                <a:lnTo>
                  <a:pt x="2773318" y="0"/>
                </a:lnTo>
                <a:lnTo>
                  <a:pt x="500887" y="0"/>
                </a:lnTo>
                <a:lnTo>
                  <a:pt x="0" y="0"/>
                </a:lnTo>
                <a:lnTo>
                  <a:pt x="0" y="3282749"/>
                </a:lnTo>
                <a:lnTo>
                  <a:pt x="225390" y="3282749"/>
                </a:lnTo>
                <a:close/>
              </a:path>
            </a:pathLst>
          </a:custGeom>
          <a:solidFill>
            <a:schemeClr val="bg1">
              <a:lumMod val="95000"/>
            </a:schemeClr>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 name="Freeform: Shape 4">
            <a:extLst>
              <a:ext uri="{FF2B5EF4-FFF2-40B4-BE49-F238E27FC236}">
                <a16:creationId xmlns:a16="http://schemas.microsoft.com/office/drawing/2014/main" id="{B3C25D0A-1F33-776E-6F3E-6A0A063F92B0}"/>
              </a:ext>
            </a:extLst>
          </p:cNvPr>
          <p:cNvSpPr/>
          <p:nvPr userDrawn="1"/>
        </p:nvSpPr>
        <p:spPr>
          <a:xfrm flipV="1">
            <a:off x="7329714" y="0"/>
            <a:ext cx="4862286" cy="3709134"/>
          </a:xfrm>
          <a:custGeom>
            <a:avLst/>
            <a:gdLst>
              <a:gd name="connsiteX0" fmla="*/ 5285805 w 5285804"/>
              <a:gd name="connsiteY0" fmla="*/ 0 h 4032209"/>
              <a:gd name="connsiteX1" fmla="*/ 5285805 w 5285804"/>
              <a:gd name="connsiteY1" fmla="*/ 4032209 h 4032209"/>
              <a:gd name="connsiteX2" fmla="*/ 0 w 5285804"/>
              <a:gd name="connsiteY2" fmla="*/ 4032209 h 4032209"/>
              <a:gd name="connsiteX3" fmla="*/ 0 w 5285804"/>
              <a:gd name="connsiteY3" fmla="*/ 3667624 h 4032209"/>
              <a:gd name="connsiteX4" fmla="*/ 1241008 w 5285804"/>
              <a:gd name="connsiteY4" fmla="*/ 2150979 h 4032209"/>
              <a:gd name="connsiteX5" fmla="*/ 1533020 w 5285804"/>
              <a:gd name="connsiteY5" fmla="*/ 2122817 h 4032209"/>
              <a:gd name="connsiteX6" fmla="*/ 2777955 w 5285804"/>
              <a:gd name="connsiteY6" fmla="*/ 2122817 h 4032209"/>
              <a:gd name="connsiteX7" fmla="*/ 3592354 w 5285804"/>
              <a:gd name="connsiteY7" fmla="*/ 1773606 h 4032209"/>
              <a:gd name="connsiteX8" fmla="*/ 4093289 w 5285804"/>
              <a:gd name="connsiteY8" fmla="*/ 1249029 h 4032209"/>
              <a:gd name="connsiteX9" fmla="*/ 4216408 w 5285804"/>
              <a:gd name="connsiteY9" fmla="*/ 1120092 h 4032209"/>
              <a:gd name="connsiteX10" fmla="*/ 5285503 w 5285804"/>
              <a:gd name="connsiteY10" fmla="*/ 305 h 4032209"/>
              <a:gd name="connsiteX11" fmla="*/ 5285805 w 5285804"/>
              <a:gd name="connsiteY11" fmla="*/ 0 h 403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5804" h="4032209">
                <a:moveTo>
                  <a:pt x="5285805" y="0"/>
                </a:moveTo>
                <a:lnTo>
                  <a:pt x="5285805" y="4032209"/>
                </a:lnTo>
                <a:lnTo>
                  <a:pt x="0" y="4032209"/>
                </a:lnTo>
                <a:lnTo>
                  <a:pt x="0" y="3667624"/>
                </a:lnTo>
                <a:cubicBezTo>
                  <a:pt x="0" y="2915010"/>
                  <a:pt x="534019" y="2288288"/>
                  <a:pt x="1241008" y="2150979"/>
                </a:cubicBezTo>
                <a:cubicBezTo>
                  <a:pt x="1335576" y="2132407"/>
                  <a:pt x="1433165" y="2122817"/>
                  <a:pt x="1533020" y="2122817"/>
                </a:cubicBezTo>
                <a:lnTo>
                  <a:pt x="2777955" y="2122817"/>
                </a:lnTo>
                <a:cubicBezTo>
                  <a:pt x="3085224" y="2122817"/>
                  <a:pt x="3379199" y="1996772"/>
                  <a:pt x="3592354" y="1773606"/>
                </a:cubicBezTo>
                <a:lnTo>
                  <a:pt x="4093289" y="1249029"/>
                </a:lnTo>
                <a:lnTo>
                  <a:pt x="4216408" y="1120092"/>
                </a:lnTo>
                <a:lnTo>
                  <a:pt x="5285503" y="305"/>
                </a:lnTo>
                <a:lnTo>
                  <a:pt x="5285805" y="0"/>
                </a:lnTo>
                <a:close/>
              </a:path>
            </a:pathLst>
          </a:custGeom>
          <a:solidFill>
            <a:schemeClr val="bg2">
              <a:lumMod val="20000"/>
              <a:lumOff val="80000"/>
              <a:alpha val="30000"/>
            </a:schemeClr>
          </a:solidFill>
          <a:ln w="14405"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0652A53A-E401-C01D-5589-E40F2FCFFE2A}"/>
              </a:ext>
            </a:extLst>
          </p:cNvPr>
          <p:cNvGrpSpPr/>
          <p:nvPr userDrawn="1"/>
        </p:nvGrpSpPr>
        <p:grpSpPr>
          <a:xfrm>
            <a:off x="10348517" y="5559865"/>
            <a:ext cx="1843479" cy="1298140"/>
            <a:chOff x="10348517" y="5559865"/>
            <a:chExt cx="1843479" cy="1298140"/>
          </a:xfrm>
        </p:grpSpPr>
        <p:grpSp>
          <p:nvGrpSpPr>
            <p:cNvPr id="10" name="Graphic 8">
              <a:extLst>
                <a:ext uri="{FF2B5EF4-FFF2-40B4-BE49-F238E27FC236}">
                  <a16:creationId xmlns:a16="http://schemas.microsoft.com/office/drawing/2014/main" id="{F8016201-D7C6-68F7-DEA4-AD786CC9681A}"/>
                </a:ext>
              </a:extLst>
            </p:cNvPr>
            <p:cNvGrpSpPr/>
            <p:nvPr/>
          </p:nvGrpSpPr>
          <p:grpSpPr>
            <a:xfrm flipH="1">
              <a:off x="10348517" y="5687417"/>
              <a:ext cx="1563963" cy="1170588"/>
              <a:chOff x="5302292" y="8602600"/>
              <a:chExt cx="1381243" cy="1033826"/>
            </a:xfrm>
          </p:grpSpPr>
          <p:sp>
            <p:nvSpPr>
              <p:cNvPr id="16" name="Freeform: Shape 15">
                <a:extLst>
                  <a:ext uri="{FF2B5EF4-FFF2-40B4-BE49-F238E27FC236}">
                    <a16:creationId xmlns:a16="http://schemas.microsoft.com/office/drawing/2014/main" id="{2C93684E-892F-CA9D-9DE8-79F3C0DE070D}"/>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F6FE72EB-4EE6-3B97-4A09-5A81889ACEEB}"/>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726AF702-A088-3F6E-FBA1-B7AA82AD143C}"/>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47DF3AA3-8EA8-90A3-ECB5-80DBADEB446A}"/>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1">
                    <a:lumMod val="85000"/>
                  </a:schemeClr>
                </a:solidFill>
                <a:prstDash val="solid"/>
                <a:miter/>
              </a:ln>
            </p:spPr>
            <p:txBody>
              <a:bodyPr rtlCol="0" anchor="ctr"/>
              <a:lstStyle/>
              <a:p>
                <a:endParaRPr lang="en-US"/>
              </a:p>
            </p:txBody>
          </p:sp>
        </p:grpSp>
        <p:grpSp>
          <p:nvGrpSpPr>
            <p:cNvPr id="11" name="Graphic 8">
              <a:extLst>
                <a:ext uri="{FF2B5EF4-FFF2-40B4-BE49-F238E27FC236}">
                  <a16:creationId xmlns:a16="http://schemas.microsoft.com/office/drawing/2014/main" id="{AC3289CF-09B3-7069-4B76-09588AF84DDF}"/>
                </a:ext>
              </a:extLst>
            </p:cNvPr>
            <p:cNvGrpSpPr/>
            <p:nvPr/>
          </p:nvGrpSpPr>
          <p:grpSpPr>
            <a:xfrm flipH="1">
              <a:off x="11280562" y="5559865"/>
              <a:ext cx="911434" cy="1298132"/>
              <a:chOff x="5055426" y="8489952"/>
              <a:chExt cx="804949" cy="1146469"/>
            </a:xfrm>
          </p:grpSpPr>
          <p:sp>
            <p:nvSpPr>
              <p:cNvPr id="12" name="Freeform: Shape 11">
                <a:extLst>
                  <a:ext uri="{FF2B5EF4-FFF2-40B4-BE49-F238E27FC236}">
                    <a16:creationId xmlns:a16="http://schemas.microsoft.com/office/drawing/2014/main" id="{7A33D4D5-8187-BD37-1867-EBA824583467}"/>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w="12700" cap="flat">
                <a:solidFill>
                  <a:schemeClr val="bg1">
                    <a:lumMod val="85000"/>
                  </a:schemeClr>
                </a:solid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E8E5DF6-B228-1927-D581-550B588CDB68}"/>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w="12700" cap="flat">
                <a:solidFill>
                  <a:schemeClr val="bg1">
                    <a:lumMod val="85000"/>
                  </a:schemeClr>
                </a:solid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F4889C4-3E2A-6838-32BC-1A667153D4EF}"/>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A5CCD32A-5E75-A627-E14D-6F44D12504A3}"/>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w="12700" cap="flat">
                <a:solidFill>
                  <a:schemeClr val="bg1">
                    <a:lumMod val="85000"/>
                  </a:schemeClr>
                </a:solidFill>
                <a:prstDash val="solid"/>
                <a:miter/>
              </a:ln>
            </p:spPr>
            <p:txBody>
              <a:bodyPr rtlCol="0" anchor="ctr"/>
              <a:lstStyle/>
              <a:p>
                <a:endParaRPr lang="en-US"/>
              </a:p>
            </p:txBody>
          </p:sp>
        </p:grpSp>
      </p:grpSp>
      <p:pic>
        <p:nvPicPr>
          <p:cNvPr id="20" name="Graphic 19">
            <a:extLst>
              <a:ext uri="{FF2B5EF4-FFF2-40B4-BE49-F238E27FC236}">
                <a16:creationId xmlns:a16="http://schemas.microsoft.com/office/drawing/2014/main" id="{CF0D4489-DE7F-FE2F-298A-D109E1B47D0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19161" y="2357437"/>
            <a:ext cx="5866264" cy="423863"/>
          </a:xfrm>
          <a:prstGeom prst="rect">
            <a:avLst/>
          </a:prstGeom>
        </p:spPr>
      </p:pic>
      <p:sp>
        <p:nvSpPr>
          <p:cNvPr id="2" name="Title 1">
            <a:extLst>
              <a:ext uri="{FF2B5EF4-FFF2-40B4-BE49-F238E27FC236}">
                <a16:creationId xmlns:a16="http://schemas.microsoft.com/office/drawing/2014/main" id="{F1136817-8D12-7A19-C49E-B7812A53F312}"/>
              </a:ext>
            </a:extLst>
          </p:cNvPr>
          <p:cNvSpPr>
            <a:spLocks noGrp="1"/>
          </p:cNvSpPr>
          <p:nvPr>
            <p:ph type="title"/>
          </p:nvPr>
        </p:nvSpPr>
        <p:spPr>
          <a:xfrm>
            <a:off x="604894" y="3388484"/>
            <a:ext cx="11018520" cy="677108"/>
          </a:xfrm>
        </p:spPr>
        <p:txBody>
          <a:bodyPr anchor="ctr"/>
          <a:lstStyle>
            <a:lvl1pPr>
              <a:defRPr sz="4400">
                <a:solidFill>
                  <a:schemeClr val="bg2"/>
                </a:solidFill>
              </a:defRPr>
            </a:lvl1pPr>
          </a:lstStyle>
          <a:p>
            <a:r>
              <a:rPr lang="en-US"/>
              <a:t>Click to edit Master title style</a:t>
            </a:r>
          </a:p>
        </p:txBody>
      </p:sp>
    </p:spTree>
    <p:extLst>
      <p:ext uri="{BB962C8B-B14F-4D97-AF65-F5344CB8AC3E}">
        <p14:creationId xmlns:p14="http://schemas.microsoft.com/office/powerpoint/2010/main" val="2316839985"/>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rvice Experience">
    <p:spTree>
      <p:nvGrpSpPr>
        <p:cNvPr id="1" name=""/>
        <p:cNvGrpSpPr/>
        <p:nvPr/>
      </p:nvGrpSpPr>
      <p:grpSpPr>
        <a:xfrm>
          <a:off x="0" y="0"/>
          <a:ext cx="0" cy="0"/>
          <a:chOff x="0" y="0"/>
          <a:chExt cx="0" cy="0"/>
        </a:xfrm>
      </p:grpSpPr>
      <p:sp>
        <p:nvSpPr>
          <p:cNvPr id="65" name="Text Placeholder 64">
            <a:extLst>
              <a:ext uri="{FF2B5EF4-FFF2-40B4-BE49-F238E27FC236}">
                <a16:creationId xmlns:a16="http://schemas.microsoft.com/office/drawing/2014/main" id="{1A5378FA-E20A-AEE6-943C-6237A15CE89C}"/>
              </a:ext>
            </a:extLst>
          </p:cNvPr>
          <p:cNvSpPr>
            <a:spLocks noGrp="1"/>
          </p:cNvSpPr>
          <p:nvPr>
            <p:ph type="body" sz="quarter" idx="10"/>
          </p:nvPr>
        </p:nvSpPr>
        <p:spPr>
          <a:xfrm>
            <a:off x="588263" y="1303528"/>
            <a:ext cx="9736094" cy="1719074"/>
          </a:xfrm>
          <a:prstGeom prst="roundRect">
            <a:avLst>
              <a:gd name="adj" fmla="val 7802"/>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lgn="ctr">
              <a:buNone/>
              <a:defRPr kumimoji="0" lang="en-US" sz="2000" b="0" i="0" u="none" strike="noStrike" cap="none" normalizeH="0" dirty="0" smtClean="0">
                <a:ln>
                  <a:noFill/>
                </a:ln>
                <a:solidFill>
                  <a:srgbClr val="F8F8F8"/>
                </a:solidFill>
                <a:effectLst/>
                <a:uLnTx/>
                <a:uFillTx/>
                <a:latin typeface="+mn-lt"/>
              </a:defRPr>
            </a:lvl1pPr>
            <a:lvl2pPr>
              <a:defRPr lang="en-US" sz="1800" dirty="0" smtClean="0">
                <a:solidFill>
                  <a:sysClr val="windowText" lastClr="000000"/>
                </a:solidFill>
              </a:defRPr>
            </a:lvl2pPr>
            <a:lvl3pPr>
              <a:defRPr lang="en-US" sz="1800" dirty="0" smtClean="0">
                <a:solidFill>
                  <a:sysClr val="windowText" lastClr="000000"/>
                </a:solidFill>
              </a:defRPr>
            </a:lvl3pPr>
            <a:lvl4pPr>
              <a:defRPr lang="en-US" sz="1800" dirty="0" smtClean="0">
                <a:solidFill>
                  <a:sysClr val="windowText" lastClr="000000"/>
                </a:solidFill>
              </a:defRPr>
            </a:lvl4pPr>
            <a:lvl5pPr>
              <a:defRPr lang="en-US" sz="1800" dirty="0">
                <a:solidFill>
                  <a:sysClr val="windowText" lastClr="000000"/>
                </a:solidFill>
              </a:defRPr>
            </a:lvl5pPr>
          </a:lstStyle>
          <a:p>
            <a:pPr marL="228600" lvl="0" indent="-228600" defTabSz="932472" fontAlgn="base">
              <a:lnSpc>
                <a:spcPct val="110000"/>
              </a:lnSpc>
              <a:spcBef>
                <a:spcPct val="0"/>
              </a:spcBef>
              <a:spcAft>
                <a:spcPct val="0"/>
              </a:spcAft>
              <a:buSzTx/>
            </a:pPr>
            <a:endParaRPr lang="en-US"/>
          </a:p>
        </p:txBody>
      </p:sp>
      <p:sp>
        <p:nvSpPr>
          <p:cNvPr id="88" name="Text Placeholder 64">
            <a:extLst>
              <a:ext uri="{FF2B5EF4-FFF2-40B4-BE49-F238E27FC236}">
                <a16:creationId xmlns:a16="http://schemas.microsoft.com/office/drawing/2014/main" id="{6C8466A7-95B5-6740-955E-ECB144EDE9B6}"/>
              </a:ext>
            </a:extLst>
          </p:cNvPr>
          <p:cNvSpPr>
            <a:spLocks noGrp="1"/>
          </p:cNvSpPr>
          <p:nvPr>
            <p:ph type="body" sz="quarter" idx="31"/>
          </p:nvPr>
        </p:nvSpPr>
        <p:spPr>
          <a:xfrm>
            <a:off x="799882" y="1515237"/>
            <a:ext cx="9312856" cy="1298449"/>
          </a:xfrm>
          <a:prstGeom prst="roundRect">
            <a:avLst>
              <a:gd name="adj" fmla="val 780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US" sz="2000" b="0" i="0" u="none" strike="noStrike" cap="none" normalizeH="0" dirty="0" smtClean="0">
                <a:ln>
                  <a:noFill/>
                </a:ln>
                <a:solidFill>
                  <a:srgbClr val="F8F8F8"/>
                </a:solidFill>
                <a:effectLst/>
                <a:uLnTx/>
                <a:uFillTx/>
                <a:latin typeface="Calibri" panose="020F0502020204030204"/>
                <a:cs typeface="Segoe UI" pitchFamily="34" charset="0"/>
              </a:defRPr>
            </a:lvl1pPr>
          </a:lstStyle>
          <a:p>
            <a:pPr marL="0" lvl="0" indent="0" algn="ctr" defTabSz="932472" fontAlgn="base">
              <a:lnSpc>
                <a:spcPct val="110000"/>
              </a:lnSpc>
              <a:spcBef>
                <a:spcPct val="0"/>
              </a:spcBef>
              <a:spcAft>
                <a:spcPct val="0"/>
              </a:spcAft>
              <a:buSzTx/>
              <a:buFont typeface="Arial" panose="020B0604020202020204" pitchFamily="34" charset="0"/>
              <a:buNone/>
            </a:pPr>
            <a:endParaRPr lang="en-US"/>
          </a:p>
        </p:txBody>
      </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
        <p:nvSpPr>
          <p:cNvPr id="75" name="Picture Placeholder 56">
            <a:extLst>
              <a:ext uri="{FF2B5EF4-FFF2-40B4-BE49-F238E27FC236}">
                <a16:creationId xmlns:a16="http://schemas.microsoft.com/office/drawing/2014/main" id="{815DAE2C-3186-2DBD-0901-D9D2DD456A11}"/>
              </a:ext>
            </a:extLst>
          </p:cNvPr>
          <p:cNvSpPr>
            <a:spLocks noGrp="1"/>
          </p:cNvSpPr>
          <p:nvPr userDrawn="1">
            <p:ph type="pic" sz="quarter" idx="25" hasCustomPrompt="1"/>
          </p:nvPr>
        </p:nvSpPr>
        <p:spPr>
          <a:xfrm>
            <a:off x="1523956"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7" name="Picture Placeholder 56">
            <a:extLst>
              <a:ext uri="{FF2B5EF4-FFF2-40B4-BE49-F238E27FC236}">
                <a16:creationId xmlns:a16="http://schemas.microsoft.com/office/drawing/2014/main" id="{6930F3DD-E6FB-AE7B-2F98-F8A54A7AFDEC}"/>
              </a:ext>
            </a:extLst>
          </p:cNvPr>
          <p:cNvSpPr>
            <a:spLocks noGrp="1"/>
          </p:cNvSpPr>
          <p:nvPr userDrawn="1">
            <p:ph type="pic" sz="quarter" idx="26" hasCustomPrompt="1"/>
          </p:nvPr>
        </p:nvSpPr>
        <p:spPr>
          <a:xfrm>
            <a:off x="3349317"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8" name="Picture Placeholder 56">
            <a:extLst>
              <a:ext uri="{FF2B5EF4-FFF2-40B4-BE49-F238E27FC236}">
                <a16:creationId xmlns:a16="http://schemas.microsoft.com/office/drawing/2014/main" id="{CE08CA08-58F3-4EC1-3890-D00E7FCCBCAA}"/>
              </a:ext>
            </a:extLst>
          </p:cNvPr>
          <p:cNvSpPr>
            <a:spLocks noGrp="1"/>
          </p:cNvSpPr>
          <p:nvPr userDrawn="1">
            <p:ph type="pic" sz="quarter" idx="27" hasCustomPrompt="1"/>
          </p:nvPr>
        </p:nvSpPr>
        <p:spPr>
          <a:xfrm>
            <a:off x="5174678"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9" name="Picture Placeholder 56">
            <a:extLst>
              <a:ext uri="{FF2B5EF4-FFF2-40B4-BE49-F238E27FC236}">
                <a16:creationId xmlns:a16="http://schemas.microsoft.com/office/drawing/2014/main" id="{C9D7F5A7-AD7A-540D-1083-37A090BE4869}"/>
              </a:ext>
            </a:extLst>
          </p:cNvPr>
          <p:cNvSpPr>
            <a:spLocks noGrp="1"/>
          </p:cNvSpPr>
          <p:nvPr userDrawn="1">
            <p:ph type="pic" sz="quarter" idx="28" hasCustomPrompt="1"/>
          </p:nvPr>
        </p:nvSpPr>
        <p:spPr>
          <a:xfrm>
            <a:off x="7000039"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80" name="Picture Placeholder 56">
            <a:extLst>
              <a:ext uri="{FF2B5EF4-FFF2-40B4-BE49-F238E27FC236}">
                <a16:creationId xmlns:a16="http://schemas.microsoft.com/office/drawing/2014/main" id="{4FAB11E7-74B5-F506-129D-1D190E7EA688}"/>
              </a:ext>
            </a:extLst>
          </p:cNvPr>
          <p:cNvSpPr>
            <a:spLocks noGrp="1"/>
          </p:cNvSpPr>
          <p:nvPr userDrawn="1">
            <p:ph type="pic" sz="quarter" idx="29" hasCustomPrompt="1"/>
          </p:nvPr>
        </p:nvSpPr>
        <p:spPr>
          <a:xfrm>
            <a:off x="8825401"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81" name="Text Placeholder 64">
            <a:extLst>
              <a:ext uri="{FF2B5EF4-FFF2-40B4-BE49-F238E27FC236}">
                <a16:creationId xmlns:a16="http://schemas.microsoft.com/office/drawing/2014/main" id="{631E6F77-01FB-2800-555A-AC8B02B0832A}"/>
              </a:ext>
            </a:extLst>
          </p:cNvPr>
          <p:cNvSpPr>
            <a:spLocks noGrp="1"/>
          </p:cNvSpPr>
          <p:nvPr userDrawn="1">
            <p:ph type="body" sz="quarter" idx="30"/>
          </p:nvPr>
        </p:nvSpPr>
        <p:spPr>
          <a:xfrm>
            <a:off x="588263" y="3204672"/>
            <a:ext cx="9736094" cy="3363465"/>
          </a:xfrm>
          <a:prstGeom prst="roundRect">
            <a:avLst>
              <a:gd name="adj" fmla="val 396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lgn="ctr">
              <a:buNone/>
              <a:defRPr kumimoji="0" lang="en-US" sz="2000" b="0" i="0" u="none" strike="noStrike" cap="none" normalizeH="0" dirty="0" smtClean="0">
                <a:ln>
                  <a:noFill/>
                </a:ln>
                <a:solidFill>
                  <a:srgbClr val="FAFAFA"/>
                </a:solidFill>
                <a:effectLst/>
                <a:uLnTx/>
                <a:uFillTx/>
                <a:latin typeface="+mn-lt"/>
              </a:defRPr>
            </a:lvl1pPr>
            <a:lvl2pPr>
              <a:defRPr lang="en-US" sz="1800" dirty="0" smtClean="0">
                <a:solidFill>
                  <a:sysClr val="windowText" lastClr="000000"/>
                </a:solidFill>
              </a:defRPr>
            </a:lvl2pPr>
            <a:lvl3pPr>
              <a:defRPr lang="en-US" sz="1800" dirty="0" smtClean="0">
                <a:solidFill>
                  <a:sysClr val="windowText" lastClr="000000"/>
                </a:solidFill>
              </a:defRPr>
            </a:lvl3pPr>
            <a:lvl4pPr>
              <a:defRPr lang="en-US" sz="1800" dirty="0" smtClean="0">
                <a:solidFill>
                  <a:sysClr val="windowText" lastClr="000000"/>
                </a:solidFill>
              </a:defRPr>
            </a:lvl4pPr>
            <a:lvl5pPr>
              <a:defRPr lang="en-US" sz="1800" dirty="0">
                <a:solidFill>
                  <a:sysClr val="windowText" lastClr="000000"/>
                </a:solidFill>
              </a:defRPr>
            </a:lvl5pPr>
          </a:lstStyle>
          <a:p>
            <a:pPr marL="228600" lvl="0" indent="-228600" defTabSz="932472" fontAlgn="base">
              <a:lnSpc>
                <a:spcPct val="110000"/>
              </a:lnSpc>
              <a:spcBef>
                <a:spcPct val="0"/>
              </a:spcBef>
              <a:spcAft>
                <a:spcPct val="0"/>
              </a:spcAft>
              <a:buSzTx/>
            </a:pPr>
            <a:endParaRPr lang="en-US"/>
          </a:p>
        </p:txBody>
      </p:sp>
      <p:sp>
        <p:nvSpPr>
          <p:cNvPr id="89" name="Text Placeholder 64">
            <a:extLst>
              <a:ext uri="{FF2B5EF4-FFF2-40B4-BE49-F238E27FC236}">
                <a16:creationId xmlns:a16="http://schemas.microsoft.com/office/drawing/2014/main" id="{348CC9D6-A879-61D8-076A-EB323D00AD71}"/>
              </a:ext>
            </a:extLst>
          </p:cNvPr>
          <p:cNvSpPr>
            <a:spLocks noGrp="1"/>
          </p:cNvSpPr>
          <p:nvPr userDrawn="1">
            <p:ph type="body" sz="quarter" idx="32"/>
          </p:nvPr>
        </p:nvSpPr>
        <p:spPr>
          <a:xfrm>
            <a:off x="799882" y="3408435"/>
            <a:ext cx="9312856" cy="2955940"/>
          </a:xfrm>
          <a:prstGeom prst="roundRect">
            <a:avLst>
              <a:gd name="adj" fmla="val 3506"/>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US" sz="2000" b="0" i="0" u="none" strike="noStrike" cap="none" normalizeH="0" dirty="0" smtClean="0">
                <a:ln>
                  <a:noFill/>
                </a:ln>
                <a:solidFill>
                  <a:srgbClr val="F9F9F9"/>
                </a:solidFill>
                <a:effectLst/>
                <a:uLnTx/>
                <a:uFillTx/>
                <a:latin typeface="Calibri" panose="020F0502020204030204"/>
                <a:cs typeface="Segoe UI" pitchFamily="34" charset="0"/>
              </a:defRPr>
            </a:lvl1pPr>
          </a:lstStyle>
          <a:p>
            <a:pPr marL="0" lvl="0" indent="0" algn="ctr" defTabSz="932472" fontAlgn="base">
              <a:lnSpc>
                <a:spcPct val="110000"/>
              </a:lnSpc>
              <a:spcBef>
                <a:spcPct val="0"/>
              </a:spcBef>
              <a:spcAft>
                <a:spcPct val="0"/>
              </a:spcAft>
              <a:buSzTx/>
              <a:buFont typeface="Arial" panose="020B0604020202020204" pitchFamily="34" charset="0"/>
              <a:buNone/>
            </a:pPr>
            <a:endParaRPr lang="en-US"/>
          </a:p>
        </p:txBody>
      </p:sp>
      <p:sp>
        <p:nvSpPr>
          <p:cNvPr id="91" name="Text Placeholder 64">
            <a:extLst>
              <a:ext uri="{FF2B5EF4-FFF2-40B4-BE49-F238E27FC236}">
                <a16:creationId xmlns:a16="http://schemas.microsoft.com/office/drawing/2014/main" id="{1FDAB499-40EB-D6F1-2DED-0585C4144F30}"/>
              </a:ext>
            </a:extLst>
          </p:cNvPr>
          <p:cNvSpPr>
            <a:spLocks noGrp="1"/>
          </p:cNvSpPr>
          <p:nvPr userDrawn="1">
            <p:ph type="body" sz="quarter" idx="34"/>
          </p:nvPr>
        </p:nvSpPr>
        <p:spPr>
          <a:xfrm rot="5400000">
            <a:off x="427232" y="3937478"/>
            <a:ext cx="1289124" cy="543824"/>
          </a:xfrm>
          <a:prstGeom prst="round2SameRect">
            <a:avLst>
              <a:gd name="adj1" fmla="val 10570"/>
              <a:gd name="adj2" fmla="val 0"/>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kumimoji="0" lang="en-US" sz="1200" b="1" i="0" u="none" strike="noStrike" cap="all" spc="200" normalizeH="0" dirty="0" smtClean="0">
                <a:ln>
                  <a:noFill/>
                </a:ln>
                <a:solidFill>
                  <a:srgbClr val="7F7F7F"/>
                </a:solidFill>
                <a:effectLst/>
                <a:uLnTx/>
                <a:uFillTx/>
                <a:latin typeface="Segoe UI Semibold" panose="020B0502040204020203" pitchFamily="34" charset="0"/>
                <a:cs typeface="Segoe UI Semibold" panose="020B0502040204020203" pitchFamily="34" charset="0"/>
              </a:defRPr>
            </a:lvl1pPr>
          </a:lstStyle>
          <a:p>
            <a:pPr marL="0" lvl="0" indent="0" algn="ctr" defTabSz="914367">
              <a:lnSpc>
                <a:spcPct val="110000"/>
              </a:lnSpc>
              <a:spcBef>
                <a:spcPts val="0"/>
              </a:spcBef>
              <a:buSzTx/>
              <a:buFontTx/>
              <a:buNone/>
            </a:pPr>
            <a:endParaRPr lang="en-US"/>
          </a:p>
        </p:txBody>
      </p:sp>
      <p:sp>
        <p:nvSpPr>
          <p:cNvPr id="92" name="Text Placeholder 64">
            <a:extLst>
              <a:ext uri="{FF2B5EF4-FFF2-40B4-BE49-F238E27FC236}">
                <a16:creationId xmlns:a16="http://schemas.microsoft.com/office/drawing/2014/main" id="{25E5A691-0B96-F6BE-C533-6AB34C2A6F8C}"/>
              </a:ext>
            </a:extLst>
          </p:cNvPr>
          <p:cNvSpPr>
            <a:spLocks noGrp="1"/>
          </p:cNvSpPr>
          <p:nvPr userDrawn="1">
            <p:ph type="body" sz="quarter" idx="35"/>
          </p:nvPr>
        </p:nvSpPr>
        <p:spPr>
          <a:xfrm rot="5400000">
            <a:off x="427232" y="5340248"/>
            <a:ext cx="1289124" cy="543824"/>
          </a:xfrm>
          <a:prstGeom prst="round2SameRect">
            <a:avLst>
              <a:gd name="adj1" fmla="val 10570"/>
              <a:gd name="adj2" fmla="val 0"/>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kumimoji="0" lang="en-US" sz="1200" b="1" i="0" u="none" strike="noStrike" cap="all" spc="200" normalizeH="0" dirty="0" smtClean="0">
                <a:ln>
                  <a:noFill/>
                </a:ln>
                <a:solidFill>
                  <a:srgbClr val="7F7F7F"/>
                </a:solidFill>
                <a:effectLst/>
                <a:uLnTx/>
                <a:uFillTx/>
                <a:latin typeface="Segoe UI Semibold" panose="020B0502040204020203" pitchFamily="34" charset="0"/>
                <a:cs typeface="Segoe UI Semibold" panose="020B0502040204020203" pitchFamily="34" charset="0"/>
              </a:defRPr>
            </a:lvl1pPr>
          </a:lstStyle>
          <a:p>
            <a:pPr marL="0" lvl="0" indent="0" algn="ctr" defTabSz="914367">
              <a:lnSpc>
                <a:spcPct val="110000"/>
              </a:lnSpc>
              <a:spcBef>
                <a:spcPts val="0"/>
              </a:spcBef>
              <a:buSzTx/>
              <a:buFontTx/>
              <a:buNone/>
            </a:pPr>
            <a:endParaRPr lang="en-US"/>
          </a:p>
        </p:txBody>
      </p:sp>
      <p:sp>
        <p:nvSpPr>
          <p:cNvPr id="105" name="Picture Placeholder 56">
            <a:extLst>
              <a:ext uri="{FF2B5EF4-FFF2-40B4-BE49-F238E27FC236}">
                <a16:creationId xmlns:a16="http://schemas.microsoft.com/office/drawing/2014/main" id="{9E8C9B8F-BEDD-58AC-9B52-F5437B342B1E}"/>
              </a:ext>
            </a:extLst>
          </p:cNvPr>
          <p:cNvSpPr>
            <a:spLocks noGrp="1"/>
          </p:cNvSpPr>
          <p:nvPr userDrawn="1">
            <p:ph type="pic" sz="quarter" idx="45" hasCustomPrompt="1"/>
          </p:nvPr>
        </p:nvSpPr>
        <p:spPr>
          <a:xfrm>
            <a:off x="173560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6" name="Picture Placeholder 56">
            <a:extLst>
              <a:ext uri="{FF2B5EF4-FFF2-40B4-BE49-F238E27FC236}">
                <a16:creationId xmlns:a16="http://schemas.microsoft.com/office/drawing/2014/main" id="{86CE796E-7A0C-5271-48EB-685081BEABB1}"/>
              </a:ext>
            </a:extLst>
          </p:cNvPr>
          <p:cNvSpPr>
            <a:spLocks noGrp="1"/>
          </p:cNvSpPr>
          <p:nvPr userDrawn="1">
            <p:ph type="pic" sz="quarter" idx="46" hasCustomPrompt="1"/>
          </p:nvPr>
        </p:nvSpPr>
        <p:spPr>
          <a:xfrm>
            <a:off x="297054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7" name="Picture Placeholder 56">
            <a:extLst>
              <a:ext uri="{FF2B5EF4-FFF2-40B4-BE49-F238E27FC236}">
                <a16:creationId xmlns:a16="http://schemas.microsoft.com/office/drawing/2014/main" id="{90DADFF7-652B-E770-88A6-B6AAA5AC1380}"/>
              </a:ext>
            </a:extLst>
          </p:cNvPr>
          <p:cNvSpPr>
            <a:spLocks noGrp="1"/>
          </p:cNvSpPr>
          <p:nvPr userDrawn="1">
            <p:ph type="pic" sz="quarter" idx="47" hasCustomPrompt="1"/>
          </p:nvPr>
        </p:nvSpPr>
        <p:spPr>
          <a:xfrm>
            <a:off x="420547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8" name="Picture Placeholder 56">
            <a:extLst>
              <a:ext uri="{FF2B5EF4-FFF2-40B4-BE49-F238E27FC236}">
                <a16:creationId xmlns:a16="http://schemas.microsoft.com/office/drawing/2014/main" id="{9FDD5191-59F9-758B-360C-D452B63F50CF}"/>
              </a:ext>
            </a:extLst>
          </p:cNvPr>
          <p:cNvSpPr>
            <a:spLocks noGrp="1"/>
          </p:cNvSpPr>
          <p:nvPr userDrawn="1">
            <p:ph type="pic" sz="quarter" idx="48" hasCustomPrompt="1"/>
          </p:nvPr>
        </p:nvSpPr>
        <p:spPr>
          <a:xfrm>
            <a:off x="544041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9" name="Picture Placeholder 56">
            <a:extLst>
              <a:ext uri="{FF2B5EF4-FFF2-40B4-BE49-F238E27FC236}">
                <a16:creationId xmlns:a16="http://schemas.microsoft.com/office/drawing/2014/main" id="{E65D5A6B-5940-9C32-993C-69CFEAE16F4D}"/>
              </a:ext>
            </a:extLst>
          </p:cNvPr>
          <p:cNvSpPr>
            <a:spLocks noGrp="1"/>
          </p:cNvSpPr>
          <p:nvPr userDrawn="1">
            <p:ph type="pic" sz="quarter" idx="49" hasCustomPrompt="1"/>
          </p:nvPr>
        </p:nvSpPr>
        <p:spPr>
          <a:xfrm>
            <a:off x="667534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0" name="Picture Placeholder 56">
            <a:extLst>
              <a:ext uri="{FF2B5EF4-FFF2-40B4-BE49-F238E27FC236}">
                <a16:creationId xmlns:a16="http://schemas.microsoft.com/office/drawing/2014/main" id="{3500A3BB-59C7-36A6-6E4C-04961FB1BE62}"/>
              </a:ext>
            </a:extLst>
          </p:cNvPr>
          <p:cNvSpPr>
            <a:spLocks noGrp="1"/>
          </p:cNvSpPr>
          <p:nvPr userDrawn="1">
            <p:ph type="pic" sz="quarter" idx="50" hasCustomPrompt="1"/>
          </p:nvPr>
        </p:nvSpPr>
        <p:spPr>
          <a:xfrm>
            <a:off x="791028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1" name="Picture Placeholder 56">
            <a:extLst>
              <a:ext uri="{FF2B5EF4-FFF2-40B4-BE49-F238E27FC236}">
                <a16:creationId xmlns:a16="http://schemas.microsoft.com/office/drawing/2014/main" id="{70414032-732A-C947-727C-7462B3739F7A}"/>
              </a:ext>
            </a:extLst>
          </p:cNvPr>
          <p:cNvSpPr>
            <a:spLocks noGrp="1"/>
          </p:cNvSpPr>
          <p:nvPr userDrawn="1">
            <p:ph type="pic" sz="quarter" idx="51" hasCustomPrompt="1"/>
          </p:nvPr>
        </p:nvSpPr>
        <p:spPr>
          <a:xfrm>
            <a:off x="9145218"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6" name="Picture Placeholder 56">
            <a:extLst>
              <a:ext uri="{FF2B5EF4-FFF2-40B4-BE49-F238E27FC236}">
                <a16:creationId xmlns:a16="http://schemas.microsoft.com/office/drawing/2014/main" id="{9808DC25-2647-6528-E3A2-DEAA4E130438}"/>
              </a:ext>
            </a:extLst>
          </p:cNvPr>
          <p:cNvSpPr>
            <a:spLocks noGrp="1"/>
          </p:cNvSpPr>
          <p:nvPr userDrawn="1">
            <p:ph type="pic" sz="quarter" idx="56" hasCustomPrompt="1"/>
          </p:nvPr>
        </p:nvSpPr>
        <p:spPr>
          <a:xfrm>
            <a:off x="1970760"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7" name="Picture Placeholder 56">
            <a:extLst>
              <a:ext uri="{FF2B5EF4-FFF2-40B4-BE49-F238E27FC236}">
                <a16:creationId xmlns:a16="http://schemas.microsoft.com/office/drawing/2014/main" id="{99A0E4E2-505F-40AB-B17F-C3533F531719}"/>
              </a:ext>
            </a:extLst>
          </p:cNvPr>
          <p:cNvSpPr>
            <a:spLocks noGrp="1"/>
          </p:cNvSpPr>
          <p:nvPr userDrawn="1">
            <p:ph type="pic" sz="quarter" idx="57" hasCustomPrompt="1"/>
          </p:nvPr>
        </p:nvSpPr>
        <p:spPr>
          <a:xfrm>
            <a:off x="3767132"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8" name="Picture Placeholder 56">
            <a:extLst>
              <a:ext uri="{FF2B5EF4-FFF2-40B4-BE49-F238E27FC236}">
                <a16:creationId xmlns:a16="http://schemas.microsoft.com/office/drawing/2014/main" id="{F56A45FF-258D-6B0F-9286-E9A7D73A0461}"/>
              </a:ext>
            </a:extLst>
          </p:cNvPr>
          <p:cNvSpPr>
            <a:spLocks noGrp="1"/>
          </p:cNvSpPr>
          <p:nvPr userDrawn="1">
            <p:ph type="pic" sz="quarter" idx="58" hasCustomPrompt="1"/>
          </p:nvPr>
        </p:nvSpPr>
        <p:spPr>
          <a:xfrm>
            <a:off x="5563504"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9" name="Picture Placeholder 56">
            <a:extLst>
              <a:ext uri="{FF2B5EF4-FFF2-40B4-BE49-F238E27FC236}">
                <a16:creationId xmlns:a16="http://schemas.microsoft.com/office/drawing/2014/main" id="{636D1123-7C66-1DF0-009B-4D9327656D44}"/>
              </a:ext>
            </a:extLst>
          </p:cNvPr>
          <p:cNvSpPr>
            <a:spLocks noGrp="1"/>
          </p:cNvSpPr>
          <p:nvPr userDrawn="1">
            <p:ph type="pic" sz="quarter" idx="59" hasCustomPrompt="1"/>
          </p:nvPr>
        </p:nvSpPr>
        <p:spPr>
          <a:xfrm>
            <a:off x="7359876"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0" name="Picture Placeholder 56">
            <a:extLst>
              <a:ext uri="{FF2B5EF4-FFF2-40B4-BE49-F238E27FC236}">
                <a16:creationId xmlns:a16="http://schemas.microsoft.com/office/drawing/2014/main" id="{839F2AAD-8EEB-81BD-1861-BBD43C2F7231}"/>
              </a:ext>
            </a:extLst>
          </p:cNvPr>
          <p:cNvSpPr>
            <a:spLocks noGrp="1"/>
          </p:cNvSpPr>
          <p:nvPr userDrawn="1">
            <p:ph type="pic" sz="quarter" idx="60" hasCustomPrompt="1"/>
          </p:nvPr>
        </p:nvSpPr>
        <p:spPr>
          <a:xfrm>
            <a:off x="8586036" y="5123301"/>
            <a:ext cx="1398753"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5" name="Picture Placeholder 56">
            <a:extLst>
              <a:ext uri="{FF2B5EF4-FFF2-40B4-BE49-F238E27FC236}">
                <a16:creationId xmlns:a16="http://schemas.microsoft.com/office/drawing/2014/main" id="{15C311E6-0EBF-A309-C7FC-58B3B017429A}"/>
              </a:ext>
            </a:extLst>
          </p:cNvPr>
          <p:cNvSpPr>
            <a:spLocks noGrp="1"/>
          </p:cNvSpPr>
          <p:nvPr>
            <p:ph type="pic" sz="quarter" idx="63" hasCustomPrompt="1"/>
          </p:nvPr>
        </p:nvSpPr>
        <p:spPr>
          <a:xfrm>
            <a:off x="10807553" y="354281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8" name="Picture Placeholder 56">
            <a:extLst>
              <a:ext uri="{FF2B5EF4-FFF2-40B4-BE49-F238E27FC236}">
                <a16:creationId xmlns:a16="http://schemas.microsoft.com/office/drawing/2014/main" id="{83D49837-199A-99B0-1A46-C7E28E26F880}"/>
              </a:ext>
            </a:extLst>
          </p:cNvPr>
          <p:cNvSpPr>
            <a:spLocks noGrp="1"/>
          </p:cNvSpPr>
          <p:nvPr>
            <p:ph type="pic" sz="quarter" idx="66" hasCustomPrompt="1"/>
          </p:nvPr>
        </p:nvSpPr>
        <p:spPr>
          <a:xfrm>
            <a:off x="10807553" y="5651500"/>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31" name="Text Placeholder 130">
            <a:extLst>
              <a:ext uri="{FF2B5EF4-FFF2-40B4-BE49-F238E27FC236}">
                <a16:creationId xmlns:a16="http://schemas.microsoft.com/office/drawing/2014/main" id="{8E8F3A8C-4965-7B08-A459-A80D02E1B91B}"/>
              </a:ext>
            </a:extLst>
          </p:cNvPr>
          <p:cNvSpPr>
            <a:spLocks noGrp="1"/>
          </p:cNvSpPr>
          <p:nvPr>
            <p:ph type="body" sz="quarter" idx="67"/>
          </p:nvPr>
        </p:nvSpPr>
        <p:spPr>
          <a:xfrm>
            <a:off x="2792636"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4" name="Text Placeholder 130">
            <a:extLst>
              <a:ext uri="{FF2B5EF4-FFF2-40B4-BE49-F238E27FC236}">
                <a16:creationId xmlns:a16="http://schemas.microsoft.com/office/drawing/2014/main" id="{272E9F8F-3BEB-8A88-788D-B988CA634369}"/>
              </a:ext>
            </a:extLst>
          </p:cNvPr>
          <p:cNvSpPr>
            <a:spLocks noGrp="1"/>
          </p:cNvSpPr>
          <p:nvPr>
            <p:ph type="body" sz="quarter" idx="68"/>
          </p:nvPr>
        </p:nvSpPr>
        <p:spPr>
          <a:xfrm>
            <a:off x="4617997"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5" name="Text Placeholder 130">
            <a:extLst>
              <a:ext uri="{FF2B5EF4-FFF2-40B4-BE49-F238E27FC236}">
                <a16:creationId xmlns:a16="http://schemas.microsoft.com/office/drawing/2014/main" id="{26154540-F4D7-0CB2-7414-A3351D18B818}"/>
              </a:ext>
            </a:extLst>
          </p:cNvPr>
          <p:cNvSpPr>
            <a:spLocks noGrp="1"/>
          </p:cNvSpPr>
          <p:nvPr>
            <p:ph type="body" sz="quarter" idx="69"/>
          </p:nvPr>
        </p:nvSpPr>
        <p:spPr>
          <a:xfrm>
            <a:off x="967275"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6" name="Text Placeholder 130">
            <a:extLst>
              <a:ext uri="{FF2B5EF4-FFF2-40B4-BE49-F238E27FC236}">
                <a16:creationId xmlns:a16="http://schemas.microsoft.com/office/drawing/2014/main" id="{40074630-6D82-B22B-E19B-1BD2DBA8C980}"/>
              </a:ext>
            </a:extLst>
          </p:cNvPr>
          <p:cNvSpPr>
            <a:spLocks noGrp="1"/>
          </p:cNvSpPr>
          <p:nvPr>
            <p:ph type="body" sz="quarter" idx="70"/>
          </p:nvPr>
        </p:nvSpPr>
        <p:spPr>
          <a:xfrm>
            <a:off x="6443358"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7" name="Text Placeholder 130">
            <a:extLst>
              <a:ext uri="{FF2B5EF4-FFF2-40B4-BE49-F238E27FC236}">
                <a16:creationId xmlns:a16="http://schemas.microsoft.com/office/drawing/2014/main" id="{6FC17F1B-0B4B-8D86-E554-F321477865AB}"/>
              </a:ext>
            </a:extLst>
          </p:cNvPr>
          <p:cNvSpPr>
            <a:spLocks noGrp="1"/>
          </p:cNvSpPr>
          <p:nvPr>
            <p:ph type="body" sz="quarter" idx="71"/>
          </p:nvPr>
        </p:nvSpPr>
        <p:spPr>
          <a:xfrm>
            <a:off x="8268720"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8" name="Text Placeholder 130">
            <a:extLst>
              <a:ext uri="{FF2B5EF4-FFF2-40B4-BE49-F238E27FC236}">
                <a16:creationId xmlns:a16="http://schemas.microsoft.com/office/drawing/2014/main" id="{95D346BD-EFCF-6E95-BECC-5C22596B6D93}"/>
              </a:ext>
            </a:extLst>
          </p:cNvPr>
          <p:cNvSpPr>
            <a:spLocks noGrp="1"/>
          </p:cNvSpPr>
          <p:nvPr>
            <p:ph type="body" sz="quarter" idx="72"/>
          </p:nvPr>
        </p:nvSpPr>
        <p:spPr>
          <a:xfrm>
            <a:off x="147436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9" name="Text Placeholder 130">
            <a:extLst>
              <a:ext uri="{FF2B5EF4-FFF2-40B4-BE49-F238E27FC236}">
                <a16:creationId xmlns:a16="http://schemas.microsoft.com/office/drawing/2014/main" id="{A6CF814F-7789-8C24-D45B-754078124A49}"/>
              </a:ext>
            </a:extLst>
          </p:cNvPr>
          <p:cNvSpPr>
            <a:spLocks noGrp="1"/>
          </p:cNvSpPr>
          <p:nvPr>
            <p:ph type="body" sz="quarter" idx="73"/>
          </p:nvPr>
        </p:nvSpPr>
        <p:spPr>
          <a:xfrm>
            <a:off x="270929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0" name="Text Placeholder 130">
            <a:extLst>
              <a:ext uri="{FF2B5EF4-FFF2-40B4-BE49-F238E27FC236}">
                <a16:creationId xmlns:a16="http://schemas.microsoft.com/office/drawing/2014/main" id="{D9CD112F-A6CF-FA11-A9F2-4D9FD70DD473}"/>
              </a:ext>
            </a:extLst>
          </p:cNvPr>
          <p:cNvSpPr>
            <a:spLocks noGrp="1"/>
          </p:cNvSpPr>
          <p:nvPr>
            <p:ph type="body" sz="quarter" idx="74"/>
          </p:nvPr>
        </p:nvSpPr>
        <p:spPr>
          <a:xfrm>
            <a:off x="394423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1" name="Text Placeholder 130">
            <a:extLst>
              <a:ext uri="{FF2B5EF4-FFF2-40B4-BE49-F238E27FC236}">
                <a16:creationId xmlns:a16="http://schemas.microsoft.com/office/drawing/2014/main" id="{817F3721-1024-A4E8-F5FB-13C6743C550C}"/>
              </a:ext>
            </a:extLst>
          </p:cNvPr>
          <p:cNvSpPr>
            <a:spLocks noGrp="1"/>
          </p:cNvSpPr>
          <p:nvPr>
            <p:ph type="body" sz="quarter" idx="75"/>
          </p:nvPr>
        </p:nvSpPr>
        <p:spPr>
          <a:xfrm>
            <a:off x="517916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3" name="Text Placeholder 130">
            <a:extLst>
              <a:ext uri="{FF2B5EF4-FFF2-40B4-BE49-F238E27FC236}">
                <a16:creationId xmlns:a16="http://schemas.microsoft.com/office/drawing/2014/main" id="{17A5DA22-6139-D033-5842-73063563161A}"/>
              </a:ext>
            </a:extLst>
          </p:cNvPr>
          <p:cNvSpPr>
            <a:spLocks noGrp="1"/>
          </p:cNvSpPr>
          <p:nvPr>
            <p:ph type="body" sz="quarter" idx="76"/>
          </p:nvPr>
        </p:nvSpPr>
        <p:spPr>
          <a:xfrm>
            <a:off x="641410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4" name="Text Placeholder 130">
            <a:extLst>
              <a:ext uri="{FF2B5EF4-FFF2-40B4-BE49-F238E27FC236}">
                <a16:creationId xmlns:a16="http://schemas.microsoft.com/office/drawing/2014/main" id="{1FD3FBC3-B29E-DD2A-5B9B-09E1D0F0C692}"/>
              </a:ext>
            </a:extLst>
          </p:cNvPr>
          <p:cNvSpPr>
            <a:spLocks noGrp="1"/>
          </p:cNvSpPr>
          <p:nvPr>
            <p:ph type="body" sz="quarter" idx="77"/>
          </p:nvPr>
        </p:nvSpPr>
        <p:spPr>
          <a:xfrm>
            <a:off x="764903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5" name="Text Placeholder 130">
            <a:extLst>
              <a:ext uri="{FF2B5EF4-FFF2-40B4-BE49-F238E27FC236}">
                <a16:creationId xmlns:a16="http://schemas.microsoft.com/office/drawing/2014/main" id="{52DE49F7-3439-7AC3-6449-D71A0F2C0EA0}"/>
              </a:ext>
            </a:extLst>
          </p:cNvPr>
          <p:cNvSpPr>
            <a:spLocks noGrp="1"/>
          </p:cNvSpPr>
          <p:nvPr>
            <p:ph type="body" sz="quarter" idx="78"/>
          </p:nvPr>
        </p:nvSpPr>
        <p:spPr>
          <a:xfrm>
            <a:off x="8883973"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6" name="Text Placeholder 130">
            <a:extLst>
              <a:ext uri="{FF2B5EF4-FFF2-40B4-BE49-F238E27FC236}">
                <a16:creationId xmlns:a16="http://schemas.microsoft.com/office/drawing/2014/main" id="{6785F2BD-DC91-97F4-C6D8-13E85E5AA809}"/>
              </a:ext>
            </a:extLst>
          </p:cNvPr>
          <p:cNvSpPr>
            <a:spLocks noGrp="1"/>
          </p:cNvSpPr>
          <p:nvPr>
            <p:ph type="body" sz="quarter" idx="79"/>
          </p:nvPr>
        </p:nvSpPr>
        <p:spPr>
          <a:xfrm>
            <a:off x="1474364"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7" name="Text Placeholder 130">
            <a:extLst>
              <a:ext uri="{FF2B5EF4-FFF2-40B4-BE49-F238E27FC236}">
                <a16:creationId xmlns:a16="http://schemas.microsoft.com/office/drawing/2014/main" id="{585E728A-5488-61D6-A5B3-E86D66DED4E0}"/>
              </a:ext>
            </a:extLst>
          </p:cNvPr>
          <p:cNvSpPr>
            <a:spLocks noGrp="1"/>
          </p:cNvSpPr>
          <p:nvPr>
            <p:ph type="body" sz="quarter" idx="80"/>
          </p:nvPr>
        </p:nvSpPr>
        <p:spPr>
          <a:xfrm>
            <a:off x="3270736"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8" name="Text Placeholder 130">
            <a:extLst>
              <a:ext uri="{FF2B5EF4-FFF2-40B4-BE49-F238E27FC236}">
                <a16:creationId xmlns:a16="http://schemas.microsoft.com/office/drawing/2014/main" id="{49F66A41-4831-0333-EDE9-4EF664FC4DA1}"/>
              </a:ext>
            </a:extLst>
          </p:cNvPr>
          <p:cNvSpPr>
            <a:spLocks noGrp="1"/>
          </p:cNvSpPr>
          <p:nvPr>
            <p:ph type="body" sz="quarter" idx="81"/>
          </p:nvPr>
        </p:nvSpPr>
        <p:spPr>
          <a:xfrm>
            <a:off x="5067108"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9" name="Text Placeholder 130">
            <a:extLst>
              <a:ext uri="{FF2B5EF4-FFF2-40B4-BE49-F238E27FC236}">
                <a16:creationId xmlns:a16="http://schemas.microsoft.com/office/drawing/2014/main" id="{4F15F3B8-FACA-114B-A72D-D41C9DC6F09C}"/>
              </a:ext>
            </a:extLst>
          </p:cNvPr>
          <p:cNvSpPr>
            <a:spLocks noGrp="1"/>
          </p:cNvSpPr>
          <p:nvPr>
            <p:ph type="body" sz="quarter" idx="82"/>
          </p:nvPr>
        </p:nvSpPr>
        <p:spPr>
          <a:xfrm>
            <a:off x="6863481"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0" name="Text Placeholder 130">
            <a:extLst>
              <a:ext uri="{FF2B5EF4-FFF2-40B4-BE49-F238E27FC236}">
                <a16:creationId xmlns:a16="http://schemas.microsoft.com/office/drawing/2014/main" id="{C0ACD9A0-F1DA-42B8-B346-F4659AFA6038}"/>
              </a:ext>
            </a:extLst>
          </p:cNvPr>
          <p:cNvSpPr>
            <a:spLocks noGrp="1"/>
          </p:cNvSpPr>
          <p:nvPr>
            <p:ph type="body" sz="quarter" idx="83"/>
          </p:nvPr>
        </p:nvSpPr>
        <p:spPr>
          <a:xfrm rot="16200000">
            <a:off x="427232" y="5421891"/>
            <a:ext cx="1289124" cy="380538"/>
          </a:xfrm>
          <a:solidFill>
            <a:srgbClr val="7F7F7F"/>
          </a:solidFill>
        </p:spPr>
        <p:txBody>
          <a:bodyPr anchor="ctr"/>
          <a:lstStyle>
            <a:lvl1pPr marL="0" indent="0" algn="ctr">
              <a:buNone/>
              <a:defRPr lang="en-US" sz="1200" kern="1200" cap="all" spc="200" baseline="0" dirty="0" smtClean="0">
                <a:solidFill>
                  <a:schemeClr val="bg1"/>
                </a:solidFill>
                <a:latin typeface="+mj-lt"/>
                <a:ea typeface="+mn-ea"/>
                <a:cs typeface="+mn-cs"/>
              </a:defRPr>
            </a:lvl1pPr>
          </a:lstStyle>
          <a:p>
            <a:pPr lvl="0"/>
            <a:endParaRPr lang="en-US"/>
          </a:p>
        </p:txBody>
      </p:sp>
      <p:sp>
        <p:nvSpPr>
          <p:cNvPr id="151" name="Text Placeholder 130">
            <a:extLst>
              <a:ext uri="{FF2B5EF4-FFF2-40B4-BE49-F238E27FC236}">
                <a16:creationId xmlns:a16="http://schemas.microsoft.com/office/drawing/2014/main" id="{C519E704-F352-286C-187F-06133EE880CE}"/>
              </a:ext>
            </a:extLst>
          </p:cNvPr>
          <p:cNvSpPr>
            <a:spLocks noGrp="1"/>
          </p:cNvSpPr>
          <p:nvPr>
            <p:ph type="body" sz="quarter" idx="84"/>
          </p:nvPr>
        </p:nvSpPr>
        <p:spPr>
          <a:xfrm rot="16200000">
            <a:off x="427232" y="4019121"/>
            <a:ext cx="1289124" cy="380538"/>
          </a:xfrm>
          <a:solidFill>
            <a:srgbClr val="7F7F7F"/>
          </a:solidFill>
        </p:spPr>
        <p:txBody>
          <a:bodyPr anchor="ctr"/>
          <a:lstStyle>
            <a:lvl1pPr marL="0" indent="0" algn="ctr">
              <a:buNone/>
              <a:defRPr lang="en-US" sz="1200" kern="1200" cap="all" spc="200" baseline="0" dirty="0" smtClean="0">
                <a:solidFill>
                  <a:schemeClr val="bg1"/>
                </a:solidFill>
                <a:latin typeface="+mj-lt"/>
                <a:ea typeface="+mn-ea"/>
                <a:cs typeface="+mn-cs"/>
              </a:defRPr>
            </a:lvl1pPr>
          </a:lstStyle>
          <a:p>
            <a:pPr lvl="0"/>
            <a:endParaRPr lang="en-US"/>
          </a:p>
        </p:txBody>
      </p:sp>
      <p:sp>
        <p:nvSpPr>
          <p:cNvPr id="152" name="Text Placeholder 130">
            <a:extLst>
              <a:ext uri="{FF2B5EF4-FFF2-40B4-BE49-F238E27FC236}">
                <a16:creationId xmlns:a16="http://schemas.microsoft.com/office/drawing/2014/main" id="{759E6BCC-B4BB-984F-59D3-8C319B099C39}"/>
              </a:ext>
            </a:extLst>
          </p:cNvPr>
          <p:cNvSpPr>
            <a:spLocks noGrp="1"/>
          </p:cNvSpPr>
          <p:nvPr>
            <p:ph type="body" sz="quarter" idx="85"/>
          </p:nvPr>
        </p:nvSpPr>
        <p:spPr>
          <a:xfrm>
            <a:off x="4540395" y="3296596"/>
            <a:ext cx="1831830" cy="246221"/>
          </a:xfrm>
          <a:solidFill>
            <a:srgbClr val="F7F8F9"/>
          </a:solidFill>
        </p:spPr>
        <p:txBody>
          <a:bodyPr/>
          <a:lstStyle>
            <a:lvl1pPr marL="0" indent="0" algn="ctr">
              <a:buNone/>
              <a:defRPr lang="en-US" sz="1600" kern="1200" spc="0" baseline="0" dirty="0" smtClean="0">
                <a:solidFill>
                  <a:schemeClr val="bg2"/>
                </a:solidFill>
                <a:latin typeface="+mj-lt"/>
                <a:ea typeface="+mn-ea"/>
                <a:cs typeface="+mn-cs"/>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53" name="Text Placeholder 130">
            <a:extLst>
              <a:ext uri="{FF2B5EF4-FFF2-40B4-BE49-F238E27FC236}">
                <a16:creationId xmlns:a16="http://schemas.microsoft.com/office/drawing/2014/main" id="{3DBC576F-D323-8E20-63EF-14A1799F3C77}"/>
              </a:ext>
            </a:extLst>
          </p:cNvPr>
          <p:cNvSpPr>
            <a:spLocks noGrp="1"/>
          </p:cNvSpPr>
          <p:nvPr>
            <p:ph type="body" sz="quarter" idx="86"/>
          </p:nvPr>
        </p:nvSpPr>
        <p:spPr>
          <a:xfrm>
            <a:off x="4540395" y="1390604"/>
            <a:ext cx="1831830" cy="246221"/>
          </a:xfrm>
          <a:solidFill>
            <a:srgbClr val="F7F8F9"/>
          </a:solidFill>
        </p:spPr>
        <p:txBody>
          <a:bodyPr/>
          <a:lstStyle>
            <a:lvl1pPr marL="0" indent="0" algn="ctr">
              <a:buNone/>
              <a:defRPr lang="en-US" sz="1600" kern="1200" spc="0" baseline="0" dirty="0" smtClean="0">
                <a:solidFill>
                  <a:schemeClr val="bg2"/>
                </a:solidFill>
                <a:latin typeface="+mj-lt"/>
                <a:ea typeface="+mn-ea"/>
                <a:cs typeface="+mn-cs"/>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54" name="Text Placeholder 130">
            <a:extLst>
              <a:ext uri="{FF2B5EF4-FFF2-40B4-BE49-F238E27FC236}">
                <a16:creationId xmlns:a16="http://schemas.microsoft.com/office/drawing/2014/main" id="{0CC0519A-3FBA-7B17-A350-5BD8EB2E48FA}"/>
              </a:ext>
            </a:extLst>
          </p:cNvPr>
          <p:cNvSpPr>
            <a:spLocks noGrp="1"/>
          </p:cNvSpPr>
          <p:nvPr>
            <p:ph type="body" sz="quarter" idx="87"/>
          </p:nvPr>
        </p:nvSpPr>
        <p:spPr>
          <a:xfrm>
            <a:off x="10510534" y="3254232"/>
            <a:ext cx="1172364"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5" name="Text Placeholder 130">
            <a:extLst>
              <a:ext uri="{FF2B5EF4-FFF2-40B4-BE49-F238E27FC236}">
                <a16:creationId xmlns:a16="http://schemas.microsoft.com/office/drawing/2014/main" id="{3239A6BB-C497-4438-3D99-A6B9F463EAB1}"/>
              </a:ext>
            </a:extLst>
          </p:cNvPr>
          <p:cNvSpPr>
            <a:spLocks noGrp="1"/>
          </p:cNvSpPr>
          <p:nvPr>
            <p:ph type="body" sz="quarter" idx="88"/>
          </p:nvPr>
        </p:nvSpPr>
        <p:spPr>
          <a:xfrm>
            <a:off x="10510534" y="6331411"/>
            <a:ext cx="1172364"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6" name="Text Placeholder 130">
            <a:extLst>
              <a:ext uri="{FF2B5EF4-FFF2-40B4-BE49-F238E27FC236}">
                <a16:creationId xmlns:a16="http://schemas.microsoft.com/office/drawing/2014/main" id="{17ACB126-8F3B-AFAF-BBB5-0FE7CF5D47FF}"/>
              </a:ext>
            </a:extLst>
          </p:cNvPr>
          <p:cNvSpPr>
            <a:spLocks noGrp="1"/>
          </p:cNvSpPr>
          <p:nvPr>
            <p:ph type="body" sz="quarter" idx="89"/>
          </p:nvPr>
        </p:nvSpPr>
        <p:spPr>
          <a:xfrm>
            <a:off x="10578458" y="4499683"/>
            <a:ext cx="1036516" cy="773444"/>
          </a:xfrm>
          <a:solidFill>
            <a:schemeClr val="bg1"/>
          </a:solidFill>
        </p:spPr>
        <p:txBody>
          <a:bodyPr anchor="ctr" anchorCtr="0">
            <a:noAutofit/>
          </a:bodyPr>
          <a:lstStyle>
            <a:lvl1pPr marL="0" indent="0" algn="ctr">
              <a:buNone/>
              <a:defRPr lang="en-US" sz="1400" kern="1200" spc="0" baseline="0" dirty="0" smtClean="0">
                <a:solidFill>
                  <a:schemeClr val="tx1"/>
                </a:solidFill>
                <a:latin typeface="+mj-lt"/>
                <a:ea typeface="+mn-ea"/>
                <a:cs typeface="+mn-cs"/>
              </a:defRPr>
            </a:lvl1pPr>
          </a:lstStyle>
          <a:p>
            <a:pPr lvl="0"/>
            <a:endParaRPr lang="en-US"/>
          </a:p>
        </p:txBody>
      </p:sp>
      <p:sp>
        <p:nvSpPr>
          <p:cNvPr id="157" name="Text Placeholder 130">
            <a:extLst>
              <a:ext uri="{FF2B5EF4-FFF2-40B4-BE49-F238E27FC236}">
                <a16:creationId xmlns:a16="http://schemas.microsoft.com/office/drawing/2014/main" id="{CD46F206-2FC2-9482-02DD-4CE50ABEFBA6}"/>
              </a:ext>
            </a:extLst>
          </p:cNvPr>
          <p:cNvSpPr>
            <a:spLocks noGrp="1"/>
          </p:cNvSpPr>
          <p:nvPr>
            <p:ph type="body" sz="quarter" idx="90"/>
          </p:nvPr>
        </p:nvSpPr>
        <p:spPr>
          <a:xfrm>
            <a:off x="10651029" y="1824038"/>
            <a:ext cx="891374" cy="714374"/>
          </a:xfrm>
        </p:spPr>
        <p:txBody>
          <a:bodyPr anchor="ctr"/>
          <a:lstStyle>
            <a:lvl1pPr marL="0" indent="0" algn="ctr">
              <a:buNone/>
              <a:defRPr lang="en-US" sz="1400" kern="1200" spc="0" baseline="0" dirty="0" smtClean="0">
                <a:solidFill>
                  <a:schemeClr val="tx1"/>
                </a:solidFill>
                <a:latin typeface="+mj-lt"/>
                <a:ea typeface="+mn-ea"/>
                <a:cs typeface="+mn-cs"/>
              </a:defRPr>
            </a:lvl1pPr>
          </a:lstStyle>
          <a:p>
            <a:pPr lvl="0"/>
            <a:endParaRPr lang="en-US"/>
          </a:p>
        </p:txBody>
      </p:sp>
    </p:spTree>
    <p:extLst>
      <p:ext uri="{BB962C8B-B14F-4D97-AF65-F5344CB8AC3E}">
        <p14:creationId xmlns:p14="http://schemas.microsoft.com/office/powerpoint/2010/main" val="4011446925"/>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241169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peaker Guidanc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ED924C7-0356-6225-E12D-52F6C07AEA4F}"/>
              </a:ext>
            </a:extLst>
          </p:cNvPr>
          <p:cNvSpPr/>
          <p:nvPr userDrawn="1"/>
        </p:nvSpPr>
        <p:spPr bwMode="auto">
          <a:xfrm flipH="1">
            <a:off x="2524538" y="1152524"/>
            <a:ext cx="9081674" cy="511430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82C25624-FD92-7EF6-BDD3-64F1782E1E0B}"/>
              </a:ext>
            </a:extLst>
          </p:cNvPr>
          <p:cNvSpPr/>
          <p:nvPr userDrawn="1"/>
        </p:nvSpPr>
        <p:spPr bwMode="auto">
          <a:xfrm>
            <a:off x="0" y="6266834"/>
            <a:ext cx="12192000" cy="59116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p:txBody>
          <a:bodyPr/>
          <a:lstStyle>
            <a:lvl1pPr>
              <a:defRPr/>
            </a:lvl1pPr>
          </a:lstStyle>
          <a:p>
            <a:r>
              <a:rPr lang="en-US"/>
              <a:t>Add Title here</a:t>
            </a:r>
          </a:p>
        </p:txBody>
      </p:sp>
      <p:sp>
        <p:nvSpPr>
          <p:cNvPr id="15" name="Text Placeholder 5">
            <a:extLst>
              <a:ext uri="{FF2B5EF4-FFF2-40B4-BE49-F238E27FC236}">
                <a16:creationId xmlns:a16="http://schemas.microsoft.com/office/drawing/2014/main" id="{D205E7A8-1881-A585-87DB-A2BD273F9506}"/>
              </a:ext>
            </a:extLst>
          </p:cNvPr>
          <p:cNvSpPr>
            <a:spLocks noGrp="1"/>
          </p:cNvSpPr>
          <p:nvPr>
            <p:ph type="body" sz="quarter" idx="20" hasCustomPrompt="1"/>
          </p:nvPr>
        </p:nvSpPr>
        <p:spPr>
          <a:xfrm>
            <a:off x="2603500" y="115252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6" name="Text Placeholder 5">
            <a:extLst>
              <a:ext uri="{FF2B5EF4-FFF2-40B4-BE49-F238E27FC236}">
                <a16:creationId xmlns:a16="http://schemas.microsoft.com/office/drawing/2014/main" id="{AE27D661-5D7F-C05F-4F97-7818CB1C50E0}"/>
              </a:ext>
            </a:extLst>
          </p:cNvPr>
          <p:cNvSpPr>
            <a:spLocks noGrp="1"/>
          </p:cNvSpPr>
          <p:nvPr>
            <p:ph type="body" sz="quarter" idx="21" hasCustomPrompt="1"/>
          </p:nvPr>
        </p:nvSpPr>
        <p:spPr>
          <a:xfrm>
            <a:off x="2603500" y="1890977"/>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7" name="Text Placeholder 5">
            <a:extLst>
              <a:ext uri="{FF2B5EF4-FFF2-40B4-BE49-F238E27FC236}">
                <a16:creationId xmlns:a16="http://schemas.microsoft.com/office/drawing/2014/main" id="{94DD9AD2-18DF-C76D-C40C-3BC3856BC6F0}"/>
              </a:ext>
            </a:extLst>
          </p:cNvPr>
          <p:cNvSpPr>
            <a:spLocks noGrp="1"/>
          </p:cNvSpPr>
          <p:nvPr>
            <p:ph type="body" sz="quarter" idx="22" hasCustomPrompt="1"/>
          </p:nvPr>
        </p:nvSpPr>
        <p:spPr>
          <a:xfrm>
            <a:off x="2603500" y="2629429"/>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8" name="Text Placeholder 5">
            <a:extLst>
              <a:ext uri="{FF2B5EF4-FFF2-40B4-BE49-F238E27FC236}">
                <a16:creationId xmlns:a16="http://schemas.microsoft.com/office/drawing/2014/main" id="{B3E59AB2-BBBB-24AE-6D25-42A2F78E7CBA}"/>
              </a:ext>
            </a:extLst>
          </p:cNvPr>
          <p:cNvSpPr>
            <a:spLocks noGrp="1"/>
          </p:cNvSpPr>
          <p:nvPr>
            <p:ph type="body" sz="quarter" idx="23" hasCustomPrompt="1"/>
          </p:nvPr>
        </p:nvSpPr>
        <p:spPr>
          <a:xfrm>
            <a:off x="2603500" y="3367881"/>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9" name="Text Placeholder 5">
            <a:extLst>
              <a:ext uri="{FF2B5EF4-FFF2-40B4-BE49-F238E27FC236}">
                <a16:creationId xmlns:a16="http://schemas.microsoft.com/office/drawing/2014/main" id="{030D4C9A-59E0-BD9C-F67D-75EB7DD853A3}"/>
              </a:ext>
            </a:extLst>
          </p:cNvPr>
          <p:cNvSpPr>
            <a:spLocks noGrp="1"/>
          </p:cNvSpPr>
          <p:nvPr>
            <p:ph type="body" sz="quarter" idx="24" hasCustomPrompt="1"/>
          </p:nvPr>
        </p:nvSpPr>
        <p:spPr>
          <a:xfrm>
            <a:off x="2603500" y="4106333"/>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20" name="Text Placeholder 5">
            <a:extLst>
              <a:ext uri="{FF2B5EF4-FFF2-40B4-BE49-F238E27FC236}">
                <a16:creationId xmlns:a16="http://schemas.microsoft.com/office/drawing/2014/main" id="{53FFF5E9-EB90-274A-4F32-79223FFCBE75}"/>
              </a:ext>
            </a:extLst>
          </p:cNvPr>
          <p:cNvSpPr>
            <a:spLocks noGrp="1"/>
          </p:cNvSpPr>
          <p:nvPr>
            <p:ph type="body" sz="quarter" idx="25" hasCustomPrompt="1"/>
          </p:nvPr>
        </p:nvSpPr>
        <p:spPr>
          <a:xfrm>
            <a:off x="2603500" y="484478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21" name="Text Placeholder 5">
            <a:extLst>
              <a:ext uri="{FF2B5EF4-FFF2-40B4-BE49-F238E27FC236}">
                <a16:creationId xmlns:a16="http://schemas.microsoft.com/office/drawing/2014/main" id="{092C99D8-DBE4-4260-924F-35D46E0B0A84}"/>
              </a:ext>
            </a:extLst>
          </p:cNvPr>
          <p:cNvSpPr>
            <a:spLocks noGrp="1"/>
          </p:cNvSpPr>
          <p:nvPr>
            <p:ph type="body" sz="quarter" idx="26" hasCustomPrompt="1"/>
          </p:nvPr>
        </p:nvSpPr>
        <p:spPr>
          <a:xfrm>
            <a:off x="2603500" y="558323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cxnSp>
        <p:nvCxnSpPr>
          <p:cNvPr id="25" name="Straight Connector 24">
            <a:extLst>
              <a:ext uri="{FF2B5EF4-FFF2-40B4-BE49-F238E27FC236}">
                <a16:creationId xmlns:a16="http://schemas.microsoft.com/office/drawing/2014/main" id="{B7C3725F-901C-C01F-E141-69E4374DC60C}"/>
              </a:ext>
            </a:extLst>
          </p:cNvPr>
          <p:cNvCxnSpPr>
            <a:cxnSpLocks/>
          </p:cNvCxnSpPr>
          <p:nvPr userDrawn="1"/>
        </p:nvCxnSpPr>
        <p:spPr>
          <a:xfrm>
            <a:off x="2603499" y="1864651"/>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CCF5029-E2DC-F2CF-6F92-B65540D53548}"/>
              </a:ext>
            </a:extLst>
          </p:cNvPr>
          <p:cNvCxnSpPr>
            <a:cxnSpLocks/>
          </p:cNvCxnSpPr>
          <p:nvPr userDrawn="1"/>
        </p:nvCxnSpPr>
        <p:spPr>
          <a:xfrm>
            <a:off x="2603499" y="2603103"/>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075192-50B7-3FC8-2E43-9002B60CDB09}"/>
              </a:ext>
            </a:extLst>
          </p:cNvPr>
          <p:cNvCxnSpPr>
            <a:cxnSpLocks/>
          </p:cNvCxnSpPr>
          <p:nvPr userDrawn="1"/>
        </p:nvCxnSpPr>
        <p:spPr>
          <a:xfrm>
            <a:off x="2603499" y="3341555"/>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253E800-D778-A32C-B978-EBD31A8823CD}"/>
              </a:ext>
            </a:extLst>
          </p:cNvPr>
          <p:cNvCxnSpPr>
            <a:cxnSpLocks/>
          </p:cNvCxnSpPr>
          <p:nvPr userDrawn="1"/>
        </p:nvCxnSpPr>
        <p:spPr>
          <a:xfrm>
            <a:off x="2603499" y="4080007"/>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E0AFDF1-6406-00A6-9E52-3B64F6CEAA6B}"/>
              </a:ext>
            </a:extLst>
          </p:cNvPr>
          <p:cNvCxnSpPr>
            <a:cxnSpLocks/>
          </p:cNvCxnSpPr>
          <p:nvPr userDrawn="1"/>
        </p:nvCxnSpPr>
        <p:spPr>
          <a:xfrm>
            <a:off x="2603499" y="4818459"/>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62580B5-E917-7977-84AB-B816900A32BA}"/>
              </a:ext>
            </a:extLst>
          </p:cNvPr>
          <p:cNvCxnSpPr>
            <a:cxnSpLocks/>
          </p:cNvCxnSpPr>
          <p:nvPr userDrawn="1"/>
        </p:nvCxnSpPr>
        <p:spPr>
          <a:xfrm>
            <a:off x="2603499" y="5556911"/>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B204E465-9A88-A57C-E10C-26DBF15524EE}"/>
              </a:ext>
            </a:extLst>
          </p:cNvPr>
          <p:cNvSpPr>
            <a:spLocks noGrp="1"/>
          </p:cNvSpPr>
          <p:nvPr>
            <p:ph type="body" sz="quarter" idx="13" hasCustomPrompt="1"/>
          </p:nvPr>
        </p:nvSpPr>
        <p:spPr>
          <a:xfrm>
            <a:off x="-1" y="115252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endParaRPr lang="en-US"/>
          </a:p>
        </p:txBody>
      </p:sp>
      <p:sp>
        <p:nvSpPr>
          <p:cNvPr id="7" name="Text Placeholder 5">
            <a:extLst>
              <a:ext uri="{FF2B5EF4-FFF2-40B4-BE49-F238E27FC236}">
                <a16:creationId xmlns:a16="http://schemas.microsoft.com/office/drawing/2014/main" id="{CED3A873-AF8D-D678-59D4-767C43AE3572}"/>
              </a:ext>
            </a:extLst>
          </p:cNvPr>
          <p:cNvSpPr>
            <a:spLocks noGrp="1"/>
          </p:cNvSpPr>
          <p:nvPr>
            <p:ph type="body" sz="quarter" idx="14" hasCustomPrompt="1"/>
          </p:nvPr>
        </p:nvSpPr>
        <p:spPr>
          <a:xfrm>
            <a:off x="-1" y="1890977"/>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8" name="Text Placeholder 5">
            <a:extLst>
              <a:ext uri="{FF2B5EF4-FFF2-40B4-BE49-F238E27FC236}">
                <a16:creationId xmlns:a16="http://schemas.microsoft.com/office/drawing/2014/main" id="{3C4C1BAE-D67A-56B0-565E-BB8DD62A1F04}"/>
              </a:ext>
            </a:extLst>
          </p:cNvPr>
          <p:cNvSpPr>
            <a:spLocks noGrp="1"/>
          </p:cNvSpPr>
          <p:nvPr>
            <p:ph type="body" sz="quarter" idx="15" hasCustomPrompt="1"/>
          </p:nvPr>
        </p:nvSpPr>
        <p:spPr>
          <a:xfrm>
            <a:off x="-1" y="2629429"/>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0" name="Text Placeholder 5">
            <a:extLst>
              <a:ext uri="{FF2B5EF4-FFF2-40B4-BE49-F238E27FC236}">
                <a16:creationId xmlns:a16="http://schemas.microsoft.com/office/drawing/2014/main" id="{EBDC8AD4-C927-CCDC-B645-AAC76C2FD939}"/>
              </a:ext>
            </a:extLst>
          </p:cNvPr>
          <p:cNvSpPr>
            <a:spLocks noGrp="1"/>
          </p:cNvSpPr>
          <p:nvPr>
            <p:ph type="body" sz="quarter" idx="16" hasCustomPrompt="1"/>
          </p:nvPr>
        </p:nvSpPr>
        <p:spPr>
          <a:xfrm>
            <a:off x="-1" y="3367881"/>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2" name="Text Placeholder 5">
            <a:extLst>
              <a:ext uri="{FF2B5EF4-FFF2-40B4-BE49-F238E27FC236}">
                <a16:creationId xmlns:a16="http://schemas.microsoft.com/office/drawing/2014/main" id="{79EB4475-9CBB-9290-75FD-627A825D8BBE}"/>
              </a:ext>
            </a:extLst>
          </p:cNvPr>
          <p:cNvSpPr>
            <a:spLocks noGrp="1"/>
          </p:cNvSpPr>
          <p:nvPr>
            <p:ph type="body" sz="quarter" idx="17" hasCustomPrompt="1"/>
          </p:nvPr>
        </p:nvSpPr>
        <p:spPr>
          <a:xfrm>
            <a:off x="-1" y="4106333"/>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3" name="Text Placeholder 5">
            <a:extLst>
              <a:ext uri="{FF2B5EF4-FFF2-40B4-BE49-F238E27FC236}">
                <a16:creationId xmlns:a16="http://schemas.microsoft.com/office/drawing/2014/main" id="{026C1969-4182-635E-8417-0C5A9050140D}"/>
              </a:ext>
            </a:extLst>
          </p:cNvPr>
          <p:cNvSpPr>
            <a:spLocks noGrp="1"/>
          </p:cNvSpPr>
          <p:nvPr>
            <p:ph type="body" sz="quarter" idx="18" hasCustomPrompt="1"/>
          </p:nvPr>
        </p:nvSpPr>
        <p:spPr>
          <a:xfrm>
            <a:off x="-1" y="484478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4" name="Text Placeholder 5">
            <a:extLst>
              <a:ext uri="{FF2B5EF4-FFF2-40B4-BE49-F238E27FC236}">
                <a16:creationId xmlns:a16="http://schemas.microsoft.com/office/drawing/2014/main" id="{251F96A7-E684-A125-B0E2-0DEA00C8442A}"/>
              </a:ext>
            </a:extLst>
          </p:cNvPr>
          <p:cNvSpPr>
            <a:spLocks noGrp="1"/>
          </p:cNvSpPr>
          <p:nvPr>
            <p:ph type="body" sz="quarter" idx="19" hasCustomPrompt="1"/>
          </p:nvPr>
        </p:nvSpPr>
        <p:spPr>
          <a:xfrm>
            <a:off x="-1" y="558323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3" name="Rectangle 2">
            <a:extLst>
              <a:ext uri="{FF2B5EF4-FFF2-40B4-BE49-F238E27FC236}">
                <a16:creationId xmlns:a16="http://schemas.microsoft.com/office/drawing/2014/main" id="{FD52D9C0-751B-47BD-F922-CD7E7783C353}"/>
              </a:ext>
            </a:extLst>
          </p:cNvPr>
          <p:cNvSpPr/>
          <p:nvPr userDrawn="1"/>
        </p:nvSpPr>
        <p:spPr bwMode="auto">
          <a:xfrm>
            <a:off x="1" y="0"/>
            <a:ext cx="12192000" cy="381000"/>
          </a:xfrm>
          <a:prstGeom prst="rect">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Presenter Guidance</a:t>
            </a:r>
          </a:p>
        </p:txBody>
      </p:sp>
    </p:spTree>
    <p:extLst>
      <p:ext uri="{BB962C8B-B14F-4D97-AF65-F5344CB8AC3E}">
        <p14:creationId xmlns:p14="http://schemas.microsoft.com/office/powerpoint/2010/main" val="288237920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Statistic Column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3703D50-2255-B25C-E43A-AA2DE4FCAE1C}"/>
              </a:ext>
            </a:extLst>
          </p:cNvPr>
          <p:cNvGrpSpPr/>
          <p:nvPr userDrawn="1"/>
        </p:nvGrpSpPr>
        <p:grpSpPr>
          <a:xfrm>
            <a:off x="0" y="774700"/>
            <a:ext cx="12192000" cy="4687248"/>
            <a:chOff x="0" y="774700"/>
            <a:chExt cx="12192000" cy="4687248"/>
          </a:xfrm>
        </p:grpSpPr>
        <p:sp>
          <p:nvSpPr>
            <p:cNvPr id="4" name="Freeform: Shape 3">
              <a:extLst>
                <a:ext uri="{FF2B5EF4-FFF2-40B4-BE49-F238E27FC236}">
                  <a16:creationId xmlns:a16="http://schemas.microsoft.com/office/drawing/2014/main" id="{69B9DCE7-85A7-5448-0EB8-6D3E348225BF}"/>
                </a:ext>
              </a:extLst>
            </p:cNvPr>
            <p:cNvSpPr/>
            <p:nvPr/>
          </p:nvSpPr>
          <p:spPr bwMode="auto">
            <a:xfrm>
              <a:off x="0" y="774700"/>
              <a:ext cx="12192000" cy="2095495"/>
            </a:xfrm>
            <a:custGeom>
              <a:avLst/>
              <a:gdLst>
                <a:gd name="connsiteX0" fmla="*/ 0 w 12192000"/>
                <a:gd name="connsiteY0" fmla="*/ 0 h 2095495"/>
                <a:gd name="connsiteX1" fmla="*/ 12192000 w 12192000"/>
                <a:gd name="connsiteY1" fmla="*/ 0 h 2095495"/>
                <a:gd name="connsiteX2" fmla="*/ 12192000 w 12192000"/>
                <a:gd name="connsiteY2" fmla="*/ 2095495 h 2095495"/>
                <a:gd name="connsiteX3" fmla="*/ 9905599 w 12192000"/>
                <a:gd name="connsiteY3" fmla="*/ 2095495 h 2095495"/>
                <a:gd name="connsiteX4" fmla="*/ 9896938 w 12192000"/>
                <a:gd name="connsiteY4" fmla="*/ 2038747 h 2095495"/>
                <a:gd name="connsiteX5" fmla="*/ 9033018 w 12192000"/>
                <a:gd name="connsiteY5" fmla="*/ 1334633 h 2095495"/>
                <a:gd name="connsiteX6" fmla="*/ 8169098 w 12192000"/>
                <a:gd name="connsiteY6" fmla="*/ 2038747 h 2095495"/>
                <a:gd name="connsiteX7" fmla="*/ 8160437 w 12192000"/>
                <a:gd name="connsiteY7" fmla="*/ 2095495 h 2095495"/>
                <a:gd name="connsiteX8" fmla="*/ 4052205 w 12192000"/>
                <a:gd name="connsiteY8" fmla="*/ 2095495 h 2095495"/>
                <a:gd name="connsiteX9" fmla="*/ 4043544 w 12192000"/>
                <a:gd name="connsiteY9" fmla="*/ 2038747 h 2095495"/>
                <a:gd name="connsiteX10" fmla="*/ 3179624 w 12192000"/>
                <a:gd name="connsiteY10" fmla="*/ 1334633 h 2095495"/>
                <a:gd name="connsiteX11" fmla="*/ 2315704 w 12192000"/>
                <a:gd name="connsiteY11" fmla="*/ 2038747 h 2095495"/>
                <a:gd name="connsiteX12" fmla="*/ 2307043 w 12192000"/>
                <a:gd name="connsiteY12" fmla="*/ 2095495 h 2095495"/>
                <a:gd name="connsiteX13" fmla="*/ 0 w 12192000"/>
                <a:gd name="connsiteY13" fmla="*/ 2095495 h 2095495"/>
                <a:gd name="connsiteX14" fmla="*/ 0 w 12192000"/>
                <a:gd name="connsiteY14" fmla="*/ 0 h 209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2095495">
                  <a:moveTo>
                    <a:pt x="0" y="0"/>
                  </a:moveTo>
                  <a:lnTo>
                    <a:pt x="12192000" y="0"/>
                  </a:lnTo>
                  <a:lnTo>
                    <a:pt x="12192000" y="2095495"/>
                  </a:lnTo>
                  <a:lnTo>
                    <a:pt x="9905599" y="2095495"/>
                  </a:lnTo>
                  <a:lnTo>
                    <a:pt x="9896938" y="2038747"/>
                  </a:lnTo>
                  <a:cubicBezTo>
                    <a:pt x="9814710" y="1636910"/>
                    <a:pt x="9459165" y="1334633"/>
                    <a:pt x="9033018" y="1334633"/>
                  </a:cubicBezTo>
                  <a:cubicBezTo>
                    <a:pt x="8606871" y="1334633"/>
                    <a:pt x="8251326" y="1636910"/>
                    <a:pt x="8169098" y="2038747"/>
                  </a:cubicBezTo>
                  <a:lnTo>
                    <a:pt x="8160437" y="2095495"/>
                  </a:lnTo>
                  <a:lnTo>
                    <a:pt x="4052205" y="2095495"/>
                  </a:lnTo>
                  <a:lnTo>
                    <a:pt x="4043544" y="2038747"/>
                  </a:lnTo>
                  <a:cubicBezTo>
                    <a:pt x="3961317" y="1636910"/>
                    <a:pt x="3605771" y="1334633"/>
                    <a:pt x="3179624" y="1334633"/>
                  </a:cubicBezTo>
                  <a:cubicBezTo>
                    <a:pt x="2753477" y="1334633"/>
                    <a:pt x="2397932" y="1636910"/>
                    <a:pt x="2315704" y="2038747"/>
                  </a:cubicBezTo>
                  <a:lnTo>
                    <a:pt x="2307043" y="2095495"/>
                  </a:lnTo>
                  <a:lnTo>
                    <a:pt x="0" y="2095495"/>
                  </a:lnTo>
                  <a:lnTo>
                    <a:pt x="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878F246A-487B-3346-A5ED-DDBDFCE390E0}"/>
                </a:ext>
              </a:extLst>
            </p:cNvPr>
            <p:cNvSpPr/>
            <p:nvPr/>
          </p:nvSpPr>
          <p:spPr bwMode="auto">
            <a:xfrm>
              <a:off x="0" y="3110548"/>
              <a:ext cx="12192000" cy="2351400"/>
            </a:xfrm>
            <a:custGeom>
              <a:avLst/>
              <a:gdLst>
                <a:gd name="connsiteX0" fmla="*/ 0 w 12192000"/>
                <a:gd name="connsiteY0" fmla="*/ 0 h 2351400"/>
                <a:gd name="connsiteX1" fmla="*/ 2305396 w 12192000"/>
                <a:gd name="connsiteY1" fmla="*/ 0 h 2351400"/>
                <a:gd name="connsiteX2" fmla="*/ 2313215 w 12192000"/>
                <a:gd name="connsiteY2" fmla="*/ 51232 h 2351400"/>
                <a:gd name="connsiteX3" fmla="*/ 3179624 w 12192000"/>
                <a:gd name="connsiteY3" fmla="*/ 757375 h 2351400"/>
                <a:gd name="connsiteX4" fmla="*/ 4046033 w 12192000"/>
                <a:gd name="connsiteY4" fmla="*/ 51232 h 2351400"/>
                <a:gd name="connsiteX5" fmla="*/ 4053852 w 12192000"/>
                <a:gd name="connsiteY5" fmla="*/ 0 h 2351400"/>
                <a:gd name="connsiteX6" fmla="*/ 8158791 w 12192000"/>
                <a:gd name="connsiteY6" fmla="*/ 0 h 2351400"/>
                <a:gd name="connsiteX7" fmla="*/ 8166609 w 12192000"/>
                <a:gd name="connsiteY7" fmla="*/ 51232 h 2351400"/>
                <a:gd name="connsiteX8" fmla="*/ 9033018 w 12192000"/>
                <a:gd name="connsiteY8" fmla="*/ 757375 h 2351400"/>
                <a:gd name="connsiteX9" fmla="*/ 9899427 w 12192000"/>
                <a:gd name="connsiteY9" fmla="*/ 51232 h 2351400"/>
                <a:gd name="connsiteX10" fmla="*/ 9907246 w 12192000"/>
                <a:gd name="connsiteY10" fmla="*/ 0 h 2351400"/>
                <a:gd name="connsiteX11" fmla="*/ 12192000 w 12192000"/>
                <a:gd name="connsiteY11" fmla="*/ 0 h 2351400"/>
                <a:gd name="connsiteX12" fmla="*/ 12192000 w 12192000"/>
                <a:gd name="connsiteY12" fmla="*/ 2351400 h 2351400"/>
                <a:gd name="connsiteX13" fmla="*/ 0 w 12192000"/>
                <a:gd name="connsiteY13" fmla="*/ 2351400 h 2351400"/>
                <a:gd name="connsiteX14" fmla="*/ 0 w 12192000"/>
                <a:gd name="connsiteY14" fmla="*/ 0 h 235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2351400">
                  <a:moveTo>
                    <a:pt x="0" y="0"/>
                  </a:moveTo>
                  <a:lnTo>
                    <a:pt x="2305396" y="0"/>
                  </a:lnTo>
                  <a:lnTo>
                    <a:pt x="2313215" y="51232"/>
                  </a:lnTo>
                  <a:cubicBezTo>
                    <a:pt x="2395680" y="454227"/>
                    <a:pt x="2752251" y="757375"/>
                    <a:pt x="3179624" y="757375"/>
                  </a:cubicBezTo>
                  <a:cubicBezTo>
                    <a:pt x="3606998" y="757375"/>
                    <a:pt x="3963568" y="454227"/>
                    <a:pt x="4046033" y="51232"/>
                  </a:cubicBezTo>
                  <a:lnTo>
                    <a:pt x="4053852" y="0"/>
                  </a:lnTo>
                  <a:lnTo>
                    <a:pt x="8158791" y="0"/>
                  </a:lnTo>
                  <a:lnTo>
                    <a:pt x="8166609" y="51232"/>
                  </a:lnTo>
                  <a:cubicBezTo>
                    <a:pt x="8249074" y="454227"/>
                    <a:pt x="8605644" y="757375"/>
                    <a:pt x="9033018" y="757375"/>
                  </a:cubicBezTo>
                  <a:cubicBezTo>
                    <a:pt x="9460392" y="757375"/>
                    <a:pt x="9816962" y="454227"/>
                    <a:pt x="9899427" y="51232"/>
                  </a:cubicBezTo>
                  <a:lnTo>
                    <a:pt x="9907246" y="0"/>
                  </a:lnTo>
                  <a:lnTo>
                    <a:pt x="12192000" y="0"/>
                  </a:lnTo>
                  <a:lnTo>
                    <a:pt x="12192000" y="2351400"/>
                  </a:lnTo>
                  <a:lnTo>
                    <a:pt x="0" y="2351400"/>
                  </a:lnTo>
                  <a:lnTo>
                    <a:pt x="0" y="0"/>
                  </a:lnTo>
                  <a:close/>
                </a:path>
              </a:pathLst>
            </a:cu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grpSp>
      <p:cxnSp>
        <p:nvCxnSpPr>
          <p:cNvPr id="16" name="Straight Connector 15">
            <a:extLst>
              <a:ext uri="{FF2B5EF4-FFF2-40B4-BE49-F238E27FC236}">
                <a16:creationId xmlns:a16="http://schemas.microsoft.com/office/drawing/2014/main" id="{799B7ADE-3857-D457-053F-BA76EE244F4C}"/>
              </a:ext>
            </a:extLst>
          </p:cNvPr>
          <p:cNvCxnSpPr>
            <a:cxnSpLocks/>
          </p:cNvCxnSpPr>
          <p:nvPr userDrawn="1"/>
        </p:nvCxnSpPr>
        <p:spPr>
          <a:xfrm>
            <a:off x="0" y="2983549"/>
            <a:ext cx="12192000" cy="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8" name="Oval 17">
            <a:extLst>
              <a:ext uri="{FF2B5EF4-FFF2-40B4-BE49-F238E27FC236}">
                <a16:creationId xmlns:a16="http://schemas.microsoft.com/office/drawing/2014/main" id="{B293B22B-178C-2C87-BA41-F02702EE7E36}"/>
              </a:ext>
            </a:extLst>
          </p:cNvPr>
          <p:cNvSpPr/>
          <p:nvPr/>
        </p:nvSpPr>
        <p:spPr bwMode="auto">
          <a:xfrm>
            <a:off x="2435456" y="2239381"/>
            <a:ext cx="1488336" cy="148833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Text Placeholder 47">
            <a:extLst>
              <a:ext uri="{FF2B5EF4-FFF2-40B4-BE49-F238E27FC236}">
                <a16:creationId xmlns:a16="http://schemas.microsoft.com/office/drawing/2014/main" id="{19F2D43F-C66C-E8E6-E765-245680D9CC3B}"/>
              </a:ext>
            </a:extLst>
          </p:cNvPr>
          <p:cNvSpPr>
            <a:spLocks noGrp="1"/>
          </p:cNvSpPr>
          <p:nvPr userDrawn="1">
            <p:ph type="body" sz="quarter" idx="17"/>
          </p:nvPr>
        </p:nvSpPr>
        <p:spPr>
          <a:xfrm>
            <a:off x="2581580" y="2385509"/>
            <a:ext cx="1196091" cy="1196082"/>
          </a:xfrm>
          <a:prstGeom prst="ellipse">
            <a:avLst/>
          </a:prstGeom>
          <a:solidFill>
            <a:schemeClr val="bg2"/>
          </a:solidFill>
        </p:spPr>
        <p:txBody>
          <a:bodyPr>
            <a:noAutofit/>
          </a:bodyPr>
          <a:lstStyle>
            <a:lvl1pPr marL="0" indent="0" algn="ctr">
              <a:buNone/>
              <a:defRPr sz="100">
                <a:solidFill>
                  <a:schemeClr val="bg2"/>
                </a:solidFill>
              </a:defRPr>
            </a:lvl1pPr>
          </a:lstStyle>
          <a:p>
            <a:pPr lvl="0"/>
            <a:endParaRPr lang="en-IN"/>
          </a:p>
        </p:txBody>
      </p:sp>
      <p:sp>
        <p:nvSpPr>
          <p:cNvPr id="22" name="Oval 21">
            <a:extLst>
              <a:ext uri="{FF2B5EF4-FFF2-40B4-BE49-F238E27FC236}">
                <a16:creationId xmlns:a16="http://schemas.microsoft.com/office/drawing/2014/main" id="{51CD0791-2D03-DE54-0C06-BABE61497EAD}"/>
              </a:ext>
            </a:extLst>
          </p:cNvPr>
          <p:cNvSpPr/>
          <p:nvPr/>
        </p:nvSpPr>
        <p:spPr bwMode="auto">
          <a:xfrm>
            <a:off x="8288850" y="2239381"/>
            <a:ext cx="1488336" cy="148833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Text Placeholder 47">
            <a:extLst>
              <a:ext uri="{FF2B5EF4-FFF2-40B4-BE49-F238E27FC236}">
                <a16:creationId xmlns:a16="http://schemas.microsoft.com/office/drawing/2014/main" id="{4211CC97-7819-AF44-46D5-0A6DF4232CF5}"/>
              </a:ext>
            </a:extLst>
          </p:cNvPr>
          <p:cNvSpPr>
            <a:spLocks noGrp="1"/>
          </p:cNvSpPr>
          <p:nvPr userDrawn="1">
            <p:ph type="body" sz="quarter" idx="18"/>
          </p:nvPr>
        </p:nvSpPr>
        <p:spPr>
          <a:xfrm>
            <a:off x="8434975" y="2385509"/>
            <a:ext cx="1196091" cy="1196082"/>
          </a:xfrm>
          <a:prstGeom prst="ellipse">
            <a:avLst/>
          </a:prstGeom>
          <a:solidFill>
            <a:schemeClr val="bg2"/>
          </a:solidFill>
        </p:spPr>
        <p:txBody>
          <a:bodyPr>
            <a:noAutofit/>
          </a:bodyPr>
          <a:lstStyle>
            <a:lvl1pPr marL="0" indent="0" algn="ctr">
              <a:buNone/>
              <a:defRPr sz="100">
                <a:solidFill>
                  <a:schemeClr val="bg2"/>
                </a:solidFill>
              </a:defRPr>
            </a:lvl1pPr>
          </a:lstStyle>
          <a:p>
            <a:pPr lvl="0"/>
            <a:endParaRPr lang="en-IN"/>
          </a:p>
        </p:txBody>
      </p:sp>
      <p:sp>
        <p:nvSpPr>
          <p:cNvPr id="46" name="Text Placeholder 44">
            <a:extLst>
              <a:ext uri="{FF2B5EF4-FFF2-40B4-BE49-F238E27FC236}">
                <a16:creationId xmlns:a16="http://schemas.microsoft.com/office/drawing/2014/main" id="{3FB7EA4B-E5BD-13E4-D966-1CCD0F7EDE8C}"/>
              </a:ext>
            </a:extLst>
          </p:cNvPr>
          <p:cNvSpPr>
            <a:spLocks noGrp="1"/>
          </p:cNvSpPr>
          <p:nvPr userDrawn="1">
            <p:ph type="body" sz="quarter" idx="16"/>
          </p:nvPr>
        </p:nvSpPr>
        <p:spPr>
          <a:xfrm>
            <a:off x="6838727" y="4009505"/>
            <a:ext cx="4388582" cy="369332"/>
          </a:xfrm>
        </p:spPr>
        <p:txBody>
          <a:bodyPr vert="horz" wrap="square" lIns="0" tIns="0" rIns="0" bIns="0" rtlCol="0">
            <a:spAutoFit/>
          </a:bodyPr>
          <a:lstStyle>
            <a:lvl1pPr marL="0" indent="0" algn="ctr">
              <a:buNone/>
              <a:defRPr kumimoji="0" lang="en-IN" sz="2400" b="0" i="0" u="none" strike="noStrike" kern="0" cap="none" normalizeH="0" dirty="0">
                <a:ln>
                  <a:noFill/>
                </a:ln>
                <a:solidFill>
                  <a:srgbClr val="000000"/>
                </a:solidFill>
                <a:effectLst/>
                <a:uLnTx/>
                <a:uFillTx/>
                <a:latin typeface="+mj-lt"/>
              </a:defRPr>
            </a:lvl1pPr>
          </a:lstStyle>
          <a:p>
            <a:pPr marL="228600" lvl="0" indent="-228600" algn="ctr" defTabSz="932472" fontAlgn="base">
              <a:spcBef>
                <a:spcPct val="0"/>
              </a:spcBef>
              <a:spcAft>
                <a:spcPct val="0"/>
              </a:spcAft>
              <a:buSzTx/>
            </a:pPr>
            <a:endParaRPr lang="en-IN"/>
          </a:p>
        </p:txBody>
      </p:sp>
      <p:sp>
        <p:nvSpPr>
          <p:cNvPr id="35" name="Text Placeholder 34">
            <a:extLst>
              <a:ext uri="{FF2B5EF4-FFF2-40B4-BE49-F238E27FC236}">
                <a16:creationId xmlns:a16="http://schemas.microsoft.com/office/drawing/2014/main" id="{88BA958C-889D-8310-8C16-2D1F63E62199}"/>
              </a:ext>
            </a:extLst>
          </p:cNvPr>
          <p:cNvSpPr>
            <a:spLocks noGrp="1"/>
          </p:cNvSpPr>
          <p:nvPr userDrawn="1">
            <p:ph type="body" sz="quarter" idx="10" hasCustomPrompt="1"/>
          </p:nvPr>
        </p:nvSpPr>
        <p:spPr>
          <a:xfrm>
            <a:off x="2722424" y="2737327"/>
            <a:ext cx="914400" cy="492443"/>
          </a:xfrm>
        </p:spPr>
        <p:txBody>
          <a:bodyPr anchor="ctr"/>
          <a:lstStyle>
            <a:lvl1pPr marL="0" indent="0" algn="ctr">
              <a:buNone/>
              <a:defRPr kumimoji="0" lang="en-IN" sz="3200" b="0" i="0" u="none" strike="noStrike" kern="0" cap="none" spc="0" normalizeH="0" baseline="0" dirty="0">
                <a:ln>
                  <a:noFill/>
                </a:ln>
                <a:solidFill>
                  <a:srgbClr val="FFFFFF"/>
                </a:solidFill>
                <a:effectLst/>
                <a:uLnTx/>
                <a:uFillTx/>
                <a:latin typeface="Segoe UI Semibold"/>
                <a:ea typeface="Segoe UI" panose="020B0502040204020203" pitchFamily="34" charset="0"/>
                <a:cs typeface="Segoe UI" panose="020B0502040204020203" pitchFamily="34" charset="0"/>
              </a:defRPr>
            </a:lvl1pPr>
            <a:lvl2pPr marL="228600" indent="0">
              <a:buNone/>
              <a:defRPr sz="1100"/>
            </a:lvl2pPr>
            <a:lvl3pPr marL="457200" indent="0">
              <a:buNone/>
              <a:defRPr sz="1000"/>
            </a:lvl3pPr>
            <a:lvl4pPr marL="661988" indent="0">
              <a:buNone/>
              <a:defRPr sz="900"/>
            </a:lvl4pPr>
            <a:lvl5pPr marL="855663" indent="0">
              <a:buNone/>
              <a:defRPr sz="900"/>
            </a:lvl5p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IN"/>
              <a:t>0%</a:t>
            </a:r>
          </a:p>
        </p:txBody>
      </p:sp>
      <p:sp>
        <p:nvSpPr>
          <p:cNvPr id="40" name="Text Placeholder 34">
            <a:extLst>
              <a:ext uri="{FF2B5EF4-FFF2-40B4-BE49-F238E27FC236}">
                <a16:creationId xmlns:a16="http://schemas.microsoft.com/office/drawing/2014/main" id="{4CB5AA07-91FB-EF0A-30EA-A773B28F9E0A}"/>
              </a:ext>
            </a:extLst>
          </p:cNvPr>
          <p:cNvSpPr>
            <a:spLocks noGrp="1"/>
          </p:cNvSpPr>
          <p:nvPr userDrawn="1">
            <p:ph type="body" sz="quarter" idx="14" hasCustomPrompt="1"/>
          </p:nvPr>
        </p:nvSpPr>
        <p:spPr>
          <a:xfrm>
            <a:off x="8575818" y="2737327"/>
            <a:ext cx="914400" cy="492443"/>
          </a:xfrm>
        </p:spPr>
        <p:txBody>
          <a:bodyPr anchor="ctr"/>
          <a:lstStyle>
            <a:lvl1pPr marL="0" indent="0" algn="ctr">
              <a:buNone/>
              <a:defRPr kumimoji="0" lang="en-IN" sz="3200" b="0" i="0" u="none" strike="noStrike" kern="0" cap="none" spc="0" normalizeH="0" baseline="0" dirty="0">
                <a:ln>
                  <a:noFill/>
                </a:ln>
                <a:solidFill>
                  <a:srgbClr val="FFFFFF"/>
                </a:solidFill>
                <a:effectLst/>
                <a:uLnTx/>
                <a:uFillTx/>
                <a:latin typeface="Segoe UI Semibold"/>
                <a:ea typeface="Segoe UI" panose="020B0502040204020203" pitchFamily="34" charset="0"/>
                <a:cs typeface="Segoe UI" panose="020B0502040204020203" pitchFamily="34" charset="0"/>
              </a:defRPr>
            </a:lvl1pPr>
            <a:lvl2pPr marL="228600" indent="0">
              <a:buNone/>
              <a:defRPr sz="1100"/>
            </a:lvl2pPr>
            <a:lvl3pPr marL="457200" indent="0">
              <a:buNone/>
              <a:defRPr sz="1000"/>
            </a:lvl3pPr>
            <a:lvl4pPr marL="661988" indent="0">
              <a:buNone/>
              <a:defRPr sz="900"/>
            </a:lvl4pPr>
            <a:lvl5pPr marL="855663" indent="0">
              <a:buNone/>
              <a:defRPr sz="900"/>
            </a:lvl5p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IN"/>
              <a:t>0%</a:t>
            </a:r>
          </a:p>
        </p:txBody>
      </p:sp>
      <p:sp>
        <p:nvSpPr>
          <p:cNvPr id="43" name="Title 42">
            <a:extLst>
              <a:ext uri="{FF2B5EF4-FFF2-40B4-BE49-F238E27FC236}">
                <a16:creationId xmlns:a16="http://schemas.microsoft.com/office/drawing/2014/main" id="{6A11BF7B-B1B0-5B74-B2AB-138E3661D3D8}"/>
              </a:ext>
            </a:extLst>
          </p:cNvPr>
          <p:cNvSpPr>
            <a:spLocks noGrp="1"/>
          </p:cNvSpPr>
          <p:nvPr userDrawn="1">
            <p:ph type="title"/>
          </p:nvPr>
        </p:nvSpPr>
        <p:spPr>
          <a:xfrm>
            <a:off x="588263" y="1163465"/>
            <a:ext cx="11018520" cy="553998"/>
          </a:xfrm>
        </p:spPr>
        <p:txBody>
          <a:bodyPr/>
          <a:lstStyle>
            <a:lvl1pPr algn="ctr">
              <a:defRPr/>
            </a:lvl1pPr>
          </a:lstStyle>
          <a:p>
            <a:r>
              <a:rPr lang="en-US"/>
              <a:t>Click to edit Master title style</a:t>
            </a:r>
            <a:endParaRPr lang="en-IN"/>
          </a:p>
        </p:txBody>
      </p:sp>
      <p:sp>
        <p:nvSpPr>
          <p:cNvPr id="39" name="Text Placeholder 37">
            <a:extLst>
              <a:ext uri="{FF2B5EF4-FFF2-40B4-BE49-F238E27FC236}">
                <a16:creationId xmlns:a16="http://schemas.microsoft.com/office/drawing/2014/main" id="{36734B48-3556-1A0A-22B8-6EBE1E7FEF8C}"/>
              </a:ext>
            </a:extLst>
          </p:cNvPr>
          <p:cNvSpPr>
            <a:spLocks noGrp="1"/>
          </p:cNvSpPr>
          <p:nvPr userDrawn="1">
            <p:ph type="body" sz="quarter" idx="13"/>
          </p:nvPr>
        </p:nvSpPr>
        <p:spPr>
          <a:xfrm>
            <a:off x="985333" y="4009504"/>
            <a:ext cx="4388582" cy="369332"/>
          </a:xfrm>
        </p:spPr>
        <p:txBody>
          <a:bodyPr/>
          <a:lstStyle>
            <a:lvl1pPr marL="0" indent="0" algn="ctr">
              <a:buNone/>
              <a:defRPr kumimoji="0" lang="en-IN" sz="2400" b="0" i="0" u="none" strike="noStrike" kern="0" cap="none" spc="0" normalizeH="0" baseline="0" dirty="0">
                <a:ln>
                  <a:noFill/>
                </a:ln>
                <a:solidFill>
                  <a:srgbClr val="000000"/>
                </a:solidFill>
                <a:effectLst/>
                <a:uLnTx/>
                <a:uFillTx/>
                <a:latin typeface="+mj-lt"/>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lang="en-IN"/>
          </a:p>
        </p:txBody>
      </p:sp>
      <p:sp>
        <p:nvSpPr>
          <p:cNvPr id="7" name="Text Placeholder 6">
            <a:extLst>
              <a:ext uri="{FF2B5EF4-FFF2-40B4-BE49-F238E27FC236}">
                <a16:creationId xmlns:a16="http://schemas.microsoft.com/office/drawing/2014/main" id="{E34EE4CD-453E-92AC-4D05-7CFFD6201865}"/>
              </a:ext>
            </a:extLst>
          </p:cNvPr>
          <p:cNvSpPr>
            <a:spLocks noGrp="1"/>
          </p:cNvSpPr>
          <p:nvPr>
            <p:ph type="body" sz="quarter" idx="20" hasCustomPrompt="1"/>
          </p:nvPr>
        </p:nvSpPr>
        <p:spPr>
          <a:xfrm>
            <a:off x="584200" y="6460362"/>
            <a:ext cx="11027664" cy="138499"/>
          </a:xfrm>
        </p:spPr>
        <p:txBody>
          <a:bodyPr anchor="b"/>
          <a:lstStyle>
            <a:lvl1pPr marL="0" indent="0">
              <a:buNone/>
              <a:defRPr sz="900">
                <a:solidFill>
                  <a:schemeClr val="bg1">
                    <a:lumMod val="50000"/>
                  </a:schemeClr>
                </a:solidFill>
              </a:defRPr>
            </a:lvl1pPr>
          </a:lstStyle>
          <a:p>
            <a:pPr lvl="0"/>
            <a:r>
              <a:rPr lang="en-US"/>
              <a:t>Add text here</a:t>
            </a:r>
          </a:p>
        </p:txBody>
      </p:sp>
    </p:spTree>
    <p:extLst>
      <p:ext uri="{BB962C8B-B14F-4D97-AF65-F5344CB8AC3E}">
        <p14:creationId xmlns:p14="http://schemas.microsoft.com/office/powerpoint/2010/main" val="287066256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layout with two icons each">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D48739A5-22D6-3318-CA82-856503135B3B}"/>
              </a:ext>
            </a:extLst>
          </p:cNvPr>
          <p:cNvSpPr/>
          <p:nvPr userDrawn="1"/>
        </p:nvSpPr>
        <p:spPr bwMode="auto">
          <a:xfrm>
            <a:off x="7558672" y="3091335"/>
            <a:ext cx="2716912" cy="300798"/>
          </a:xfrm>
          <a:prstGeom prst="roundRect">
            <a:avLst>
              <a:gd name="adj" fmla="val 50000"/>
            </a:avLst>
          </a:prstGeom>
          <a:solidFill>
            <a:schemeClr val="bg1">
              <a:lumMod val="85000"/>
              <a:lumOff val="15000"/>
            </a:schemeClr>
          </a:solidFill>
          <a:ln w="3190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0078D4"/>
              </a:solidFill>
              <a:effectLst/>
              <a:uLnTx/>
              <a:uFillTx/>
              <a:latin typeface="Segoe UI"/>
              <a:ea typeface="+mn-ea"/>
              <a:cs typeface="+mn-cs"/>
            </a:endParaRPr>
          </a:p>
        </p:txBody>
      </p:sp>
      <p:sp>
        <p:nvSpPr>
          <p:cNvPr id="4" name="Rectangle: Rounded Corners 3">
            <a:extLst>
              <a:ext uri="{FF2B5EF4-FFF2-40B4-BE49-F238E27FC236}">
                <a16:creationId xmlns:a16="http://schemas.microsoft.com/office/drawing/2014/main" id="{F4CA4BE6-3C8D-46AA-DC5F-830FA77ABDF0}"/>
              </a:ext>
            </a:extLst>
          </p:cNvPr>
          <p:cNvSpPr/>
          <p:nvPr userDrawn="1"/>
        </p:nvSpPr>
        <p:spPr bwMode="auto">
          <a:xfrm>
            <a:off x="1919462" y="3091335"/>
            <a:ext cx="2716912" cy="300798"/>
          </a:xfrm>
          <a:prstGeom prst="roundRect">
            <a:avLst>
              <a:gd name="adj" fmla="val 50000"/>
            </a:avLst>
          </a:prstGeom>
          <a:solidFill>
            <a:schemeClr val="bg1">
              <a:lumMod val="85000"/>
              <a:lumOff val="15000"/>
            </a:schemeClr>
          </a:solidFill>
          <a:ln w="3190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0078D4"/>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5546B9A4-E14E-3C19-7969-D08609BD6711}"/>
              </a:ext>
            </a:extLst>
          </p:cNvPr>
          <p:cNvSpPr/>
          <p:nvPr userDrawn="1"/>
        </p:nvSpPr>
        <p:spPr bwMode="auto">
          <a:xfrm>
            <a:off x="0" y="2404697"/>
            <a:ext cx="12192000" cy="1474038"/>
          </a:xfrm>
          <a:custGeom>
            <a:avLst/>
            <a:gdLst>
              <a:gd name="connsiteX0" fmla="*/ 0 w 12192000"/>
              <a:gd name="connsiteY0" fmla="*/ 0 h 1474038"/>
              <a:gd name="connsiteX1" fmla="*/ 1830523 w 12192000"/>
              <a:gd name="connsiteY1" fmla="*/ 0 h 1474038"/>
              <a:gd name="connsiteX2" fmla="*/ 1840510 w 12192000"/>
              <a:gd name="connsiteY2" fmla="*/ 99068 h 1474038"/>
              <a:gd name="connsiteX3" fmla="*/ 2459845 w 12192000"/>
              <a:gd name="connsiteY3" fmla="*/ 603840 h 1474038"/>
              <a:gd name="connsiteX4" fmla="*/ 3079180 w 12192000"/>
              <a:gd name="connsiteY4" fmla="*/ 99068 h 1474038"/>
              <a:gd name="connsiteX5" fmla="*/ 3089167 w 12192000"/>
              <a:gd name="connsiteY5" fmla="*/ 0 h 1474038"/>
              <a:gd name="connsiteX6" fmla="*/ 3466670 w 12192000"/>
              <a:gd name="connsiteY6" fmla="*/ 0 h 1474038"/>
              <a:gd name="connsiteX7" fmla="*/ 3476657 w 12192000"/>
              <a:gd name="connsiteY7" fmla="*/ 99068 h 1474038"/>
              <a:gd name="connsiteX8" fmla="*/ 4095992 w 12192000"/>
              <a:gd name="connsiteY8" fmla="*/ 603840 h 1474038"/>
              <a:gd name="connsiteX9" fmla="*/ 4715327 w 12192000"/>
              <a:gd name="connsiteY9" fmla="*/ 99068 h 1474038"/>
              <a:gd name="connsiteX10" fmla="*/ 4725314 w 12192000"/>
              <a:gd name="connsiteY10" fmla="*/ 0 h 1474038"/>
              <a:gd name="connsiteX11" fmla="*/ 7469733 w 12192000"/>
              <a:gd name="connsiteY11" fmla="*/ 0 h 1474038"/>
              <a:gd name="connsiteX12" fmla="*/ 7479720 w 12192000"/>
              <a:gd name="connsiteY12" fmla="*/ 99068 h 1474038"/>
              <a:gd name="connsiteX13" fmla="*/ 8099055 w 12192000"/>
              <a:gd name="connsiteY13" fmla="*/ 603840 h 1474038"/>
              <a:gd name="connsiteX14" fmla="*/ 8718390 w 12192000"/>
              <a:gd name="connsiteY14" fmla="*/ 99068 h 1474038"/>
              <a:gd name="connsiteX15" fmla="*/ 8728377 w 12192000"/>
              <a:gd name="connsiteY15" fmla="*/ 0 h 1474038"/>
              <a:gd name="connsiteX16" fmla="*/ 9105880 w 12192000"/>
              <a:gd name="connsiteY16" fmla="*/ 0 h 1474038"/>
              <a:gd name="connsiteX17" fmla="*/ 9115867 w 12192000"/>
              <a:gd name="connsiteY17" fmla="*/ 99068 h 1474038"/>
              <a:gd name="connsiteX18" fmla="*/ 9735202 w 12192000"/>
              <a:gd name="connsiteY18" fmla="*/ 603840 h 1474038"/>
              <a:gd name="connsiteX19" fmla="*/ 10354537 w 12192000"/>
              <a:gd name="connsiteY19" fmla="*/ 99068 h 1474038"/>
              <a:gd name="connsiteX20" fmla="*/ 10364524 w 12192000"/>
              <a:gd name="connsiteY20" fmla="*/ 0 h 1474038"/>
              <a:gd name="connsiteX21" fmla="*/ 12192000 w 12192000"/>
              <a:gd name="connsiteY21" fmla="*/ 0 h 1474038"/>
              <a:gd name="connsiteX22" fmla="*/ 12192000 w 12192000"/>
              <a:gd name="connsiteY22" fmla="*/ 1474038 h 1474038"/>
              <a:gd name="connsiteX23" fmla="*/ 0 w 12192000"/>
              <a:gd name="connsiteY23" fmla="*/ 1474038 h 1474038"/>
              <a:gd name="connsiteX24" fmla="*/ 0 w 12192000"/>
              <a:gd name="connsiteY24" fmla="*/ 0 h 1474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92000" h="1474038">
                <a:moveTo>
                  <a:pt x="0" y="0"/>
                </a:moveTo>
                <a:lnTo>
                  <a:pt x="1830523" y="0"/>
                </a:lnTo>
                <a:lnTo>
                  <a:pt x="1840510" y="99068"/>
                </a:lnTo>
                <a:cubicBezTo>
                  <a:pt x="1899458" y="387141"/>
                  <a:pt x="2154345" y="603840"/>
                  <a:pt x="2459845" y="603840"/>
                </a:cubicBezTo>
                <a:cubicBezTo>
                  <a:pt x="2765345" y="603840"/>
                  <a:pt x="3020232" y="387141"/>
                  <a:pt x="3079180" y="99068"/>
                </a:cubicBezTo>
                <a:lnTo>
                  <a:pt x="3089167" y="0"/>
                </a:lnTo>
                <a:lnTo>
                  <a:pt x="3466670" y="0"/>
                </a:lnTo>
                <a:lnTo>
                  <a:pt x="3476657" y="99068"/>
                </a:lnTo>
                <a:cubicBezTo>
                  <a:pt x="3535605" y="387141"/>
                  <a:pt x="3790492" y="603840"/>
                  <a:pt x="4095992" y="603840"/>
                </a:cubicBezTo>
                <a:cubicBezTo>
                  <a:pt x="4401492" y="603840"/>
                  <a:pt x="4656379" y="387141"/>
                  <a:pt x="4715327" y="99068"/>
                </a:cubicBezTo>
                <a:lnTo>
                  <a:pt x="4725314" y="0"/>
                </a:lnTo>
                <a:lnTo>
                  <a:pt x="7469733" y="0"/>
                </a:lnTo>
                <a:lnTo>
                  <a:pt x="7479720" y="99068"/>
                </a:lnTo>
                <a:cubicBezTo>
                  <a:pt x="7538668" y="387141"/>
                  <a:pt x="7793555" y="603840"/>
                  <a:pt x="8099055" y="603840"/>
                </a:cubicBezTo>
                <a:cubicBezTo>
                  <a:pt x="8404555" y="603840"/>
                  <a:pt x="8659442" y="387141"/>
                  <a:pt x="8718390" y="99068"/>
                </a:cubicBezTo>
                <a:lnTo>
                  <a:pt x="8728377" y="0"/>
                </a:lnTo>
                <a:lnTo>
                  <a:pt x="9105880" y="0"/>
                </a:lnTo>
                <a:lnTo>
                  <a:pt x="9115867" y="99068"/>
                </a:lnTo>
                <a:cubicBezTo>
                  <a:pt x="9174815" y="387141"/>
                  <a:pt x="9429702" y="603840"/>
                  <a:pt x="9735202" y="603840"/>
                </a:cubicBezTo>
                <a:cubicBezTo>
                  <a:pt x="10040702" y="603840"/>
                  <a:pt x="10295589" y="387141"/>
                  <a:pt x="10354537" y="99068"/>
                </a:cubicBezTo>
                <a:lnTo>
                  <a:pt x="10364524" y="0"/>
                </a:lnTo>
                <a:lnTo>
                  <a:pt x="12192000" y="0"/>
                </a:lnTo>
                <a:lnTo>
                  <a:pt x="12192000" y="1474038"/>
                </a:lnTo>
                <a:lnTo>
                  <a:pt x="0" y="1474038"/>
                </a:lnTo>
                <a:lnTo>
                  <a:pt x="0" y="0"/>
                </a:lnTo>
                <a:close/>
              </a:path>
            </a:pathLst>
          </a:cu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cxnSp>
        <p:nvCxnSpPr>
          <p:cNvPr id="8" name="Straight Connector 7">
            <a:extLst>
              <a:ext uri="{FF2B5EF4-FFF2-40B4-BE49-F238E27FC236}">
                <a16:creationId xmlns:a16="http://schemas.microsoft.com/office/drawing/2014/main" id="{756EBE4A-5BB3-2FD0-69EF-4FF477FE1005}"/>
              </a:ext>
            </a:extLst>
          </p:cNvPr>
          <p:cNvCxnSpPr>
            <a:cxnSpLocks/>
          </p:cNvCxnSpPr>
          <p:nvPr userDrawn="1"/>
        </p:nvCxnSpPr>
        <p:spPr>
          <a:xfrm>
            <a:off x="6096000" y="2407189"/>
            <a:ext cx="0" cy="1469486"/>
          </a:xfrm>
          <a:prstGeom prst="line">
            <a:avLst/>
          </a:prstGeom>
          <a:noFill/>
          <a:ln w="41275">
            <a:solidFill>
              <a:schemeClr val="bg1">
                <a:lumMod val="50000"/>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 name="Text Placeholder 5">
            <a:extLst>
              <a:ext uri="{FF2B5EF4-FFF2-40B4-BE49-F238E27FC236}">
                <a16:creationId xmlns:a16="http://schemas.microsoft.com/office/drawing/2014/main" id="{5732FCFE-342B-9C3B-A31B-2817FA19B3D5}"/>
              </a:ext>
            </a:extLst>
          </p:cNvPr>
          <p:cNvSpPr>
            <a:spLocks noGrp="1"/>
          </p:cNvSpPr>
          <p:nvPr>
            <p:ph type="body" sz="quarter" idx="37"/>
          </p:nvPr>
        </p:nvSpPr>
        <p:spPr>
          <a:xfrm>
            <a:off x="839882" y="4047328"/>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0" name="Text Placeholder 5">
            <a:extLst>
              <a:ext uri="{FF2B5EF4-FFF2-40B4-BE49-F238E27FC236}">
                <a16:creationId xmlns:a16="http://schemas.microsoft.com/office/drawing/2014/main" id="{463711C3-3568-880F-3196-274FFA62ACB5}"/>
              </a:ext>
            </a:extLst>
          </p:cNvPr>
          <p:cNvSpPr>
            <a:spLocks noGrp="1"/>
          </p:cNvSpPr>
          <p:nvPr>
            <p:ph type="body" sz="quarter" idx="38"/>
          </p:nvPr>
        </p:nvSpPr>
        <p:spPr>
          <a:xfrm>
            <a:off x="839882" y="4556359"/>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1" name="Text Placeholder 5">
            <a:extLst>
              <a:ext uri="{FF2B5EF4-FFF2-40B4-BE49-F238E27FC236}">
                <a16:creationId xmlns:a16="http://schemas.microsoft.com/office/drawing/2014/main" id="{9007BC4F-9D6F-A5FB-E4CF-AC60A335343B}"/>
              </a:ext>
            </a:extLst>
          </p:cNvPr>
          <p:cNvSpPr>
            <a:spLocks noGrp="1"/>
          </p:cNvSpPr>
          <p:nvPr>
            <p:ph type="body" sz="quarter" idx="39"/>
          </p:nvPr>
        </p:nvSpPr>
        <p:spPr>
          <a:xfrm>
            <a:off x="839882" y="5065390"/>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3" name="Text Placeholder 5">
            <a:extLst>
              <a:ext uri="{FF2B5EF4-FFF2-40B4-BE49-F238E27FC236}">
                <a16:creationId xmlns:a16="http://schemas.microsoft.com/office/drawing/2014/main" id="{263D0B5F-3C76-A3FA-BCF6-78BBC6E0D4D7}"/>
              </a:ext>
            </a:extLst>
          </p:cNvPr>
          <p:cNvSpPr>
            <a:spLocks noGrp="1"/>
          </p:cNvSpPr>
          <p:nvPr>
            <p:ph type="body" sz="quarter" idx="40"/>
          </p:nvPr>
        </p:nvSpPr>
        <p:spPr>
          <a:xfrm>
            <a:off x="6876934" y="4047328"/>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4" name="Text Placeholder 5">
            <a:extLst>
              <a:ext uri="{FF2B5EF4-FFF2-40B4-BE49-F238E27FC236}">
                <a16:creationId xmlns:a16="http://schemas.microsoft.com/office/drawing/2014/main" id="{F6775768-E42D-3B8F-BD1D-CBAB6A3A0C5D}"/>
              </a:ext>
            </a:extLst>
          </p:cNvPr>
          <p:cNvSpPr>
            <a:spLocks noGrp="1"/>
          </p:cNvSpPr>
          <p:nvPr>
            <p:ph type="body" sz="quarter" idx="41"/>
          </p:nvPr>
        </p:nvSpPr>
        <p:spPr>
          <a:xfrm>
            <a:off x="6876934" y="4556359"/>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6" name="Text Placeholder 5">
            <a:extLst>
              <a:ext uri="{FF2B5EF4-FFF2-40B4-BE49-F238E27FC236}">
                <a16:creationId xmlns:a16="http://schemas.microsoft.com/office/drawing/2014/main" id="{996EA175-5FD0-F5F3-0F5C-06C9016ADDBD}"/>
              </a:ext>
            </a:extLst>
          </p:cNvPr>
          <p:cNvSpPr>
            <a:spLocks noGrp="1"/>
          </p:cNvSpPr>
          <p:nvPr>
            <p:ph type="body" sz="quarter" idx="42"/>
          </p:nvPr>
        </p:nvSpPr>
        <p:spPr>
          <a:xfrm>
            <a:off x="6876934" y="5065390"/>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29" name="Oval 28">
            <a:extLst>
              <a:ext uri="{FF2B5EF4-FFF2-40B4-BE49-F238E27FC236}">
                <a16:creationId xmlns:a16="http://schemas.microsoft.com/office/drawing/2014/main" id="{D44B4E05-E712-140E-5788-25EE31D38E8B}"/>
              </a:ext>
            </a:extLst>
          </p:cNvPr>
          <p:cNvSpPr/>
          <p:nvPr userDrawn="1"/>
        </p:nvSpPr>
        <p:spPr bwMode="auto">
          <a:xfrm>
            <a:off x="1943090"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E719424D-27D2-02C9-2A38-096673958F52}"/>
              </a:ext>
            </a:extLst>
          </p:cNvPr>
          <p:cNvSpPr/>
          <p:nvPr userDrawn="1"/>
        </p:nvSpPr>
        <p:spPr bwMode="auto">
          <a:xfrm>
            <a:off x="2044559" y="1961076"/>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31" name="Oval 30">
            <a:extLst>
              <a:ext uri="{FF2B5EF4-FFF2-40B4-BE49-F238E27FC236}">
                <a16:creationId xmlns:a16="http://schemas.microsoft.com/office/drawing/2014/main" id="{5E49F84F-C3CD-E3C3-A68B-70950D9B171C}"/>
              </a:ext>
            </a:extLst>
          </p:cNvPr>
          <p:cNvSpPr/>
          <p:nvPr userDrawn="1"/>
        </p:nvSpPr>
        <p:spPr bwMode="auto">
          <a:xfrm>
            <a:off x="3579237"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61FBC744-6C82-5EDB-1037-AC2EC8A3EBB1}"/>
              </a:ext>
            </a:extLst>
          </p:cNvPr>
          <p:cNvSpPr/>
          <p:nvPr userDrawn="1"/>
        </p:nvSpPr>
        <p:spPr bwMode="auto">
          <a:xfrm>
            <a:off x="3680706" y="1961076"/>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33" name="Oval 32">
            <a:extLst>
              <a:ext uri="{FF2B5EF4-FFF2-40B4-BE49-F238E27FC236}">
                <a16:creationId xmlns:a16="http://schemas.microsoft.com/office/drawing/2014/main" id="{B4E1814C-074F-4DDF-D938-535F760BB478}"/>
              </a:ext>
            </a:extLst>
          </p:cNvPr>
          <p:cNvSpPr/>
          <p:nvPr userDrawn="1"/>
        </p:nvSpPr>
        <p:spPr bwMode="auto">
          <a:xfrm>
            <a:off x="7582300"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7A675EF0-E474-CB29-E0CD-CC1890C072E3}"/>
              </a:ext>
            </a:extLst>
          </p:cNvPr>
          <p:cNvSpPr/>
          <p:nvPr userDrawn="1"/>
        </p:nvSpPr>
        <p:spPr bwMode="auto">
          <a:xfrm>
            <a:off x="7683003" y="1960307"/>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35" name="Oval 34">
            <a:extLst>
              <a:ext uri="{FF2B5EF4-FFF2-40B4-BE49-F238E27FC236}">
                <a16:creationId xmlns:a16="http://schemas.microsoft.com/office/drawing/2014/main" id="{0F840BC2-266A-1C82-92C2-7B6D9A105E14}"/>
              </a:ext>
            </a:extLst>
          </p:cNvPr>
          <p:cNvSpPr/>
          <p:nvPr userDrawn="1"/>
        </p:nvSpPr>
        <p:spPr bwMode="auto">
          <a:xfrm>
            <a:off x="9218447"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E73518D7-84FF-F739-1441-D82A99AA334F}"/>
              </a:ext>
            </a:extLst>
          </p:cNvPr>
          <p:cNvSpPr/>
          <p:nvPr userDrawn="1"/>
        </p:nvSpPr>
        <p:spPr bwMode="auto">
          <a:xfrm>
            <a:off x="9319916" y="1961076"/>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cxnSp>
        <p:nvCxnSpPr>
          <p:cNvPr id="54" name="Straight Connector 53">
            <a:extLst>
              <a:ext uri="{FF2B5EF4-FFF2-40B4-BE49-F238E27FC236}">
                <a16:creationId xmlns:a16="http://schemas.microsoft.com/office/drawing/2014/main" id="{2D16AF58-6722-39A6-1AD9-DC16456436E1}"/>
              </a:ext>
            </a:extLst>
          </p:cNvPr>
          <p:cNvCxnSpPr>
            <a:cxnSpLocks/>
          </p:cNvCxnSpPr>
          <p:nvPr userDrawn="1"/>
        </p:nvCxnSpPr>
        <p:spPr>
          <a:xfrm>
            <a:off x="6096000" y="3873832"/>
            <a:ext cx="0" cy="1755443"/>
          </a:xfrm>
          <a:prstGeom prst="line">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55" name="Straight Connector 54">
            <a:extLst>
              <a:ext uri="{FF2B5EF4-FFF2-40B4-BE49-F238E27FC236}">
                <a16:creationId xmlns:a16="http://schemas.microsoft.com/office/drawing/2014/main" id="{08987300-6899-8524-267A-9FC03D13CB5B}"/>
              </a:ext>
            </a:extLst>
          </p:cNvPr>
          <p:cNvCxnSpPr>
            <a:cxnSpLocks/>
          </p:cNvCxnSpPr>
          <p:nvPr userDrawn="1"/>
        </p:nvCxnSpPr>
        <p:spPr>
          <a:xfrm flipH="1">
            <a:off x="0" y="5629275"/>
            <a:ext cx="12192000" cy="0"/>
          </a:xfrm>
          <a:prstGeom prst="line">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0" name="Title 59">
            <a:extLst>
              <a:ext uri="{FF2B5EF4-FFF2-40B4-BE49-F238E27FC236}">
                <a16:creationId xmlns:a16="http://schemas.microsoft.com/office/drawing/2014/main" id="{59641B11-4B97-D963-19A2-D81441F13E5E}"/>
              </a:ext>
            </a:extLst>
          </p:cNvPr>
          <p:cNvSpPr>
            <a:spLocks noGrp="1"/>
          </p:cNvSpPr>
          <p:nvPr userDrawn="1">
            <p:ph type="title"/>
          </p:nvPr>
        </p:nvSpPr>
        <p:spPr/>
        <p:txBody>
          <a:bodyPr/>
          <a:lstStyle/>
          <a:p>
            <a:r>
              <a:rPr lang="en-US"/>
              <a:t>Click to edit Master title style</a:t>
            </a:r>
            <a:endParaRPr lang="en-IN"/>
          </a:p>
        </p:txBody>
      </p:sp>
      <p:sp>
        <p:nvSpPr>
          <p:cNvPr id="63" name="Text Placeholder 61">
            <a:extLst>
              <a:ext uri="{FF2B5EF4-FFF2-40B4-BE49-F238E27FC236}">
                <a16:creationId xmlns:a16="http://schemas.microsoft.com/office/drawing/2014/main" id="{FF90FD4A-AC33-5A2C-D076-3AC56D69CAF9}"/>
              </a:ext>
            </a:extLst>
          </p:cNvPr>
          <p:cNvSpPr>
            <a:spLocks noGrp="1"/>
          </p:cNvSpPr>
          <p:nvPr userDrawn="1">
            <p:ph type="body" sz="quarter" idx="13"/>
          </p:nvPr>
        </p:nvSpPr>
        <p:spPr>
          <a:xfrm>
            <a:off x="1645445" y="4087020"/>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67" name="Text Placeholder 66">
            <a:extLst>
              <a:ext uri="{FF2B5EF4-FFF2-40B4-BE49-F238E27FC236}">
                <a16:creationId xmlns:a16="http://schemas.microsoft.com/office/drawing/2014/main" id="{C3521EEC-9F97-A391-667C-D5B871F81D31}"/>
              </a:ext>
            </a:extLst>
          </p:cNvPr>
          <p:cNvSpPr>
            <a:spLocks noGrp="1"/>
          </p:cNvSpPr>
          <p:nvPr userDrawn="1">
            <p:ph type="body" sz="quarter" idx="16"/>
          </p:nvPr>
        </p:nvSpPr>
        <p:spPr>
          <a:xfrm>
            <a:off x="1645445" y="4595660"/>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69" name="Text Placeholder 68">
            <a:extLst>
              <a:ext uri="{FF2B5EF4-FFF2-40B4-BE49-F238E27FC236}">
                <a16:creationId xmlns:a16="http://schemas.microsoft.com/office/drawing/2014/main" id="{BC168433-D4F9-F291-57C0-3C6A88CB58E8}"/>
              </a:ext>
            </a:extLst>
          </p:cNvPr>
          <p:cNvSpPr>
            <a:spLocks noGrp="1"/>
          </p:cNvSpPr>
          <p:nvPr userDrawn="1">
            <p:ph type="body" sz="quarter" idx="17"/>
          </p:nvPr>
        </p:nvSpPr>
        <p:spPr>
          <a:xfrm>
            <a:off x="1645445" y="5104691"/>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71" name="Text Placeholder 70">
            <a:extLst>
              <a:ext uri="{FF2B5EF4-FFF2-40B4-BE49-F238E27FC236}">
                <a16:creationId xmlns:a16="http://schemas.microsoft.com/office/drawing/2014/main" id="{CD09CA6F-BA8E-2253-92FA-BFFCCD3EB9BD}"/>
              </a:ext>
            </a:extLst>
          </p:cNvPr>
          <p:cNvSpPr>
            <a:spLocks noGrp="1"/>
          </p:cNvSpPr>
          <p:nvPr userDrawn="1">
            <p:ph type="body" sz="quarter" idx="18"/>
          </p:nvPr>
        </p:nvSpPr>
        <p:spPr>
          <a:xfrm>
            <a:off x="7682497" y="4087020"/>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75" name="Text Placeholder 74">
            <a:extLst>
              <a:ext uri="{FF2B5EF4-FFF2-40B4-BE49-F238E27FC236}">
                <a16:creationId xmlns:a16="http://schemas.microsoft.com/office/drawing/2014/main" id="{9B51A413-70FD-1137-0C33-386E47515569}"/>
              </a:ext>
            </a:extLst>
          </p:cNvPr>
          <p:cNvSpPr>
            <a:spLocks noGrp="1"/>
          </p:cNvSpPr>
          <p:nvPr userDrawn="1">
            <p:ph type="body" sz="quarter" idx="21"/>
          </p:nvPr>
        </p:nvSpPr>
        <p:spPr>
          <a:xfrm>
            <a:off x="7682497" y="4595856"/>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vl5pPr>
              <a:defRPr/>
            </a:lvl5pPr>
          </a:lstStyle>
          <a:p>
            <a:pPr lvl="0"/>
            <a:endParaRPr lang="en-IN"/>
          </a:p>
        </p:txBody>
      </p:sp>
      <p:sp>
        <p:nvSpPr>
          <p:cNvPr id="77" name="Text Placeholder 76">
            <a:extLst>
              <a:ext uri="{FF2B5EF4-FFF2-40B4-BE49-F238E27FC236}">
                <a16:creationId xmlns:a16="http://schemas.microsoft.com/office/drawing/2014/main" id="{F96B9DB7-62C0-373F-7F1D-48D6B1E9B507}"/>
              </a:ext>
            </a:extLst>
          </p:cNvPr>
          <p:cNvSpPr>
            <a:spLocks noGrp="1"/>
          </p:cNvSpPr>
          <p:nvPr userDrawn="1">
            <p:ph type="body" sz="quarter" idx="22"/>
          </p:nvPr>
        </p:nvSpPr>
        <p:spPr>
          <a:xfrm>
            <a:off x="7682497" y="5104691"/>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81" name="Text Placeholder 80">
            <a:extLst>
              <a:ext uri="{FF2B5EF4-FFF2-40B4-BE49-F238E27FC236}">
                <a16:creationId xmlns:a16="http://schemas.microsoft.com/office/drawing/2014/main" id="{F33B6023-CEBC-C704-7C3D-EDDC0476C823}"/>
              </a:ext>
            </a:extLst>
          </p:cNvPr>
          <p:cNvSpPr>
            <a:spLocks noGrp="1"/>
          </p:cNvSpPr>
          <p:nvPr userDrawn="1">
            <p:ph type="body" sz="quarter" idx="23"/>
          </p:nvPr>
        </p:nvSpPr>
        <p:spPr>
          <a:xfrm>
            <a:off x="588263" y="3187974"/>
            <a:ext cx="5379310" cy="369332"/>
          </a:xfrm>
        </p:spPr>
        <p:txBody>
          <a:bodyPr anchor="ctr"/>
          <a:lstStyle>
            <a:lvl1pPr marL="0" indent="0" algn="ctr">
              <a:buNone/>
              <a:defRPr kumimoji="0" lang="en-IN" sz="2400" b="0" i="0" u="none" strike="noStrike" kern="1200" cap="none" spc="0" normalizeH="0" baseline="0" dirty="0">
                <a:ln>
                  <a:noFill/>
                </a:ln>
                <a:solidFill>
                  <a:schemeClr val="bg2"/>
                </a:solidFill>
                <a:effectLst/>
                <a:uLnTx/>
                <a:uFillTx/>
                <a:latin typeface="+mj-lt"/>
                <a:ea typeface="Segoe UI" pitchFamily="34" charset="0"/>
                <a:cs typeface="+mn-cs"/>
              </a:defRPr>
            </a:lvl1pPr>
          </a:lstStyle>
          <a:p>
            <a:pPr marL="228600" marR="0" lvl="0" indent="-228600" algn="ctr" defTabSz="932472" rtl="0" eaLnBrk="1" fontAlgn="base" latinLnBrk="0" hangingPunct="1">
              <a:lnSpc>
                <a:spcPct val="100000"/>
              </a:lnSpc>
              <a:spcBef>
                <a:spcPct val="0"/>
              </a:spcBef>
              <a:spcAft>
                <a:spcPct val="0"/>
              </a:spcAft>
              <a:buClrTx/>
              <a:buSzTx/>
              <a:buFont typeface="Wingdings" panose="05000000000000000000" pitchFamily="2" charset="2"/>
              <a:buNone/>
              <a:tabLst/>
            </a:pPr>
            <a:endParaRPr lang="en-IN"/>
          </a:p>
        </p:txBody>
      </p:sp>
      <p:sp>
        <p:nvSpPr>
          <p:cNvPr id="83" name="Text Placeholder 82">
            <a:extLst>
              <a:ext uri="{FF2B5EF4-FFF2-40B4-BE49-F238E27FC236}">
                <a16:creationId xmlns:a16="http://schemas.microsoft.com/office/drawing/2014/main" id="{1EFD3972-BA87-4488-CEB6-D722C88EE31E}"/>
              </a:ext>
            </a:extLst>
          </p:cNvPr>
          <p:cNvSpPr>
            <a:spLocks noGrp="1"/>
          </p:cNvSpPr>
          <p:nvPr userDrawn="1">
            <p:ph type="body" sz="quarter" idx="24"/>
          </p:nvPr>
        </p:nvSpPr>
        <p:spPr>
          <a:xfrm>
            <a:off x="6227473" y="3187974"/>
            <a:ext cx="5379310" cy="369332"/>
          </a:xfrm>
        </p:spPr>
        <p:txBody>
          <a:bodyPr anchor="ctr"/>
          <a:lstStyle>
            <a:lvl1pPr marL="0" indent="0" algn="ctr">
              <a:buNone/>
              <a:defRPr kumimoji="0" lang="en-IN" sz="2400" b="0" i="0" u="none" strike="noStrike" kern="1200" cap="none" spc="0" normalizeH="0" baseline="0" dirty="0">
                <a:ln>
                  <a:noFill/>
                </a:ln>
                <a:solidFill>
                  <a:schemeClr val="bg2"/>
                </a:solidFill>
                <a:effectLst/>
                <a:uLnTx/>
                <a:uFillTx/>
                <a:latin typeface="+mj-lt"/>
                <a:ea typeface="Segoe UI" pitchFamily="34" charset="0"/>
                <a:cs typeface="+mn-cs"/>
              </a:defRPr>
            </a:lvl1pPr>
          </a:lstStyle>
          <a:p>
            <a:pPr lvl="0"/>
            <a:endParaRPr lang="en-IN"/>
          </a:p>
        </p:txBody>
      </p:sp>
      <p:sp>
        <p:nvSpPr>
          <p:cNvPr id="85" name="Picture Placeholder 84">
            <a:extLst>
              <a:ext uri="{FF2B5EF4-FFF2-40B4-BE49-F238E27FC236}">
                <a16:creationId xmlns:a16="http://schemas.microsoft.com/office/drawing/2014/main" id="{0EA89367-92E2-138D-5EC7-1CD725A1D636}"/>
              </a:ext>
            </a:extLst>
          </p:cNvPr>
          <p:cNvSpPr>
            <a:spLocks noGrp="1"/>
          </p:cNvSpPr>
          <p:nvPr userDrawn="1">
            <p:ph type="pic" sz="quarter" idx="25" hasCustomPrompt="1"/>
          </p:nvPr>
        </p:nvSpPr>
        <p:spPr>
          <a:xfrm>
            <a:off x="2043792" y="1960305"/>
            <a:ext cx="832104" cy="832104"/>
          </a:xfrm>
          <a:prstGeom prst="ellipse">
            <a:avLst/>
          </a:prstGeom>
        </p:spPr>
        <p:txBody>
          <a:bodyPr anchor="ctr">
            <a:noAutofit/>
          </a:bodyPr>
          <a:lstStyle>
            <a:lvl1pPr marL="0" indent="0" algn="ctr">
              <a:buNone/>
              <a:defRPr sz="1400"/>
            </a:lvl1pPr>
          </a:lstStyle>
          <a:p>
            <a:r>
              <a:rPr lang="en-IN"/>
              <a:t>Icon</a:t>
            </a:r>
          </a:p>
        </p:txBody>
      </p:sp>
      <p:sp>
        <p:nvSpPr>
          <p:cNvPr id="87" name="Picture Placeholder 86">
            <a:extLst>
              <a:ext uri="{FF2B5EF4-FFF2-40B4-BE49-F238E27FC236}">
                <a16:creationId xmlns:a16="http://schemas.microsoft.com/office/drawing/2014/main" id="{2A01C636-0C5E-8409-5D9F-70740D57E951}"/>
              </a:ext>
            </a:extLst>
          </p:cNvPr>
          <p:cNvSpPr>
            <a:spLocks noGrp="1"/>
          </p:cNvSpPr>
          <p:nvPr userDrawn="1">
            <p:ph type="pic" sz="quarter" idx="26" hasCustomPrompt="1"/>
          </p:nvPr>
        </p:nvSpPr>
        <p:spPr>
          <a:xfrm>
            <a:off x="3679939" y="1960304"/>
            <a:ext cx="832104" cy="832104"/>
          </a:xfrm>
          <a:prstGeom prst="ellipse">
            <a:avLst/>
          </a:prstGeom>
        </p:spPr>
        <p:txBody>
          <a:bodyPr anchor="ctr">
            <a:noAutofit/>
          </a:bodyPr>
          <a:lstStyle>
            <a:lvl1pPr marL="0" indent="0" algn="ctr">
              <a:buNone/>
              <a:defRPr sz="1400"/>
            </a:lvl1pPr>
          </a:lstStyle>
          <a:p>
            <a:r>
              <a:rPr lang="en-IN"/>
              <a:t>Icon</a:t>
            </a:r>
          </a:p>
        </p:txBody>
      </p:sp>
      <p:sp>
        <p:nvSpPr>
          <p:cNvPr id="94" name="Text Placeholder 93">
            <a:extLst>
              <a:ext uri="{FF2B5EF4-FFF2-40B4-BE49-F238E27FC236}">
                <a16:creationId xmlns:a16="http://schemas.microsoft.com/office/drawing/2014/main" id="{2D84FC88-F182-D093-AE9C-AB5FEDDC61FC}"/>
              </a:ext>
            </a:extLst>
          </p:cNvPr>
          <p:cNvSpPr>
            <a:spLocks noGrp="1"/>
          </p:cNvSpPr>
          <p:nvPr userDrawn="1">
            <p:ph type="body" sz="quarter" idx="29" hasCustomPrompt="1"/>
          </p:nvPr>
        </p:nvSpPr>
        <p:spPr>
          <a:xfrm>
            <a:off x="1004539" y="4117406"/>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5" name="Text Placeholder 93">
            <a:extLst>
              <a:ext uri="{FF2B5EF4-FFF2-40B4-BE49-F238E27FC236}">
                <a16:creationId xmlns:a16="http://schemas.microsoft.com/office/drawing/2014/main" id="{9601CCE4-A762-599C-8431-6F9E2132E505}"/>
              </a:ext>
            </a:extLst>
          </p:cNvPr>
          <p:cNvSpPr>
            <a:spLocks noGrp="1"/>
          </p:cNvSpPr>
          <p:nvPr userDrawn="1">
            <p:ph type="body" sz="quarter" idx="30" hasCustomPrompt="1"/>
          </p:nvPr>
        </p:nvSpPr>
        <p:spPr>
          <a:xfrm>
            <a:off x="1004539" y="4626437"/>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6" name="Text Placeholder 93">
            <a:extLst>
              <a:ext uri="{FF2B5EF4-FFF2-40B4-BE49-F238E27FC236}">
                <a16:creationId xmlns:a16="http://schemas.microsoft.com/office/drawing/2014/main" id="{A57A6776-D180-1F93-542A-FA72D5CA9BDC}"/>
              </a:ext>
            </a:extLst>
          </p:cNvPr>
          <p:cNvSpPr>
            <a:spLocks noGrp="1"/>
          </p:cNvSpPr>
          <p:nvPr userDrawn="1">
            <p:ph type="body" sz="quarter" idx="31" hasCustomPrompt="1"/>
          </p:nvPr>
        </p:nvSpPr>
        <p:spPr>
          <a:xfrm>
            <a:off x="1004539" y="5135468"/>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7" name="Text Placeholder 93">
            <a:extLst>
              <a:ext uri="{FF2B5EF4-FFF2-40B4-BE49-F238E27FC236}">
                <a16:creationId xmlns:a16="http://schemas.microsoft.com/office/drawing/2014/main" id="{32F0C1CA-CC86-BEB6-B488-CF27701D1789}"/>
              </a:ext>
            </a:extLst>
          </p:cNvPr>
          <p:cNvSpPr>
            <a:spLocks noGrp="1"/>
          </p:cNvSpPr>
          <p:nvPr userDrawn="1">
            <p:ph type="body" sz="quarter" idx="32" hasCustomPrompt="1"/>
          </p:nvPr>
        </p:nvSpPr>
        <p:spPr>
          <a:xfrm>
            <a:off x="7041591" y="4117406"/>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8" name="Text Placeholder 93">
            <a:extLst>
              <a:ext uri="{FF2B5EF4-FFF2-40B4-BE49-F238E27FC236}">
                <a16:creationId xmlns:a16="http://schemas.microsoft.com/office/drawing/2014/main" id="{ABA48210-6C4F-A93E-B167-C621709034BB}"/>
              </a:ext>
            </a:extLst>
          </p:cNvPr>
          <p:cNvSpPr>
            <a:spLocks noGrp="1"/>
          </p:cNvSpPr>
          <p:nvPr userDrawn="1">
            <p:ph type="body" sz="quarter" idx="33" hasCustomPrompt="1"/>
          </p:nvPr>
        </p:nvSpPr>
        <p:spPr>
          <a:xfrm>
            <a:off x="7041591" y="4626437"/>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9" name="Text Placeholder 93">
            <a:extLst>
              <a:ext uri="{FF2B5EF4-FFF2-40B4-BE49-F238E27FC236}">
                <a16:creationId xmlns:a16="http://schemas.microsoft.com/office/drawing/2014/main" id="{E3B76DD4-E46C-CB73-2FBC-17DE1882B8E7}"/>
              </a:ext>
            </a:extLst>
          </p:cNvPr>
          <p:cNvSpPr>
            <a:spLocks noGrp="1"/>
          </p:cNvSpPr>
          <p:nvPr userDrawn="1">
            <p:ph type="body" sz="quarter" idx="34" hasCustomPrompt="1"/>
          </p:nvPr>
        </p:nvSpPr>
        <p:spPr>
          <a:xfrm>
            <a:off x="7041591" y="5135468"/>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7" name="Picture Placeholder 86">
            <a:extLst>
              <a:ext uri="{FF2B5EF4-FFF2-40B4-BE49-F238E27FC236}">
                <a16:creationId xmlns:a16="http://schemas.microsoft.com/office/drawing/2014/main" id="{34649A6E-FBCE-AEB7-E21F-FB48FCD75264}"/>
              </a:ext>
            </a:extLst>
          </p:cNvPr>
          <p:cNvSpPr>
            <a:spLocks noGrp="1"/>
          </p:cNvSpPr>
          <p:nvPr>
            <p:ph type="pic" sz="quarter" idx="35" hasCustomPrompt="1"/>
          </p:nvPr>
        </p:nvSpPr>
        <p:spPr>
          <a:xfrm>
            <a:off x="7681471" y="1960304"/>
            <a:ext cx="832104" cy="832104"/>
          </a:xfrm>
          <a:prstGeom prst="ellipse">
            <a:avLst/>
          </a:prstGeom>
        </p:spPr>
        <p:txBody>
          <a:bodyPr anchor="ctr">
            <a:noAutofit/>
          </a:bodyPr>
          <a:lstStyle>
            <a:lvl1pPr marL="0" indent="0" algn="ctr">
              <a:buNone/>
              <a:defRPr sz="1400"/>
            </a:lvl1pPr>
          </a:lstStyle>
          <a:p>
            <a:r>
              <a:rPr lang="en-IN"/>
              <a:t>Icon</a:t>
            </a:r>
          </a:p>
        </p:txBody>
      </p:sp>
      <p:sp>
        <p:nvSpPr>
          <p:cNvPr id="9" name="Picture Placeholder 86">
            <a:extLst>
              <a:ext uri="{FF2B5EF4-FFF2-40B4-BE49-F238E27FC236}">
                <a16:creationId xmlns:a16="http://schemas.microsoft.com/office/drawing/2014/main" id="{6B466EC3-56E8-3C5A-3FD5-0A0379353949}"/>
              </a:ext>
            </a:extLst>
          </p:cNvPr>
          <p:cNvSpPr>
            <a:spLocks noGrp="1"/>
          </p:cNvSpPr>
          <p:nvPr>
            <p:ph type="pic" sz="quarter" idx="36" hasCustomPrompt="1"/>
          </p:nvPr>
        </p:nvSpPr>
        <p:spPr>
          <a:xfrm>
            <a:off x="9318384" y="1960304"/>
            <a:ext cx="832104" cy="832104"/>
          </a:xfrm>
          <a:prstGeom prst="ellipse">
            <a:avLst/>
          </a:prstGeom>
        </p:spPr>
        <p:txBody>
          <a:bodyPr anchor="ctr">
            <a:noAutofit/>
          </a:bodyPr>
          <a:lstStyle>
            <a:lvl1pPr marL="0" indent="0" algn="ctr">
              <a:buNone/>
              <a:defRPr sz="1400"/>
            </a:lvl1pPr>
          </a:lstStyle>
          <a:p>
            <a:r>
              <a:rPr lang="en-IN"/>
              <a:t>Icon</a:t>
            </a:r>
          </a:p>
        </p:txBody>
      </p:sp>
    </p:spTree>
    <p:extLst>
      <p:ext uri="{BB962C8B-B14F-4D97-AF65-F5344CB8AC3E}">
        <p14:creationId xmlns:p14="http://schemas.microsoft.com/office/powerpoint/2010/main" val="2253833150"/>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with Two Column">
    <p:spTree>
      <p:nvGrpSpPr>
        <p:cNvPr id="1" name=""/>
        <p:cNvGrpSpPr/>
        <p:nvPr/>
      </p:nvGrpSpPr>
      <p:grpSpPr>
        <a:xfrm>
          <a:off x="0" y="0"/>
          <a:ext cx="0" cy="0"/>
          <a:chOff x="0" y="0"/>
          <a:chExt cx="0" cy="0"/>
        </a:xfrm>
      </p:grpSpPr>
      <p:sp>
        <p:nvSpPr>
          <p:cNvPr id="2" name="Rectangle: Single Corner Rounded 1">
            <a:extLst>
              <a:ext uri="{FF2B5EF4-FFF2-40B4-BE49-F238E27FC236}">
                <a16:creationId xmlns:a16="http://schemas.microsoft.com/office/drawing/2014/main" id="{71B1F896-3BBF-7C0B-B78C-089503F93A13}"/>
              </a:ext>
            </a:extLst>
          </p:cNvPr>
          <p:cNvSpPr/>
          <p:nvPr userDrawn="1"/>
        </p:nvSpPr>
        <p:spPr bwMode="auto">
          <a:xfrm rot="5400000">
            <a:off x="-1734609" y="3323923"/>
            <a:ext cx="4057385" cy="588168"/>
          </a:xfrm>
          <a:prstGeom prst="round1Rect">
            <a:avLst>
              <a:gd name="adj" fmla="val 4095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Freeform: Shape 2">
            <a:extLst>
              <a:ext uri="{FF2B5EF4-FFF2-40B4-BE49-F238E27FC236}">
                <a16:creationId xmlns:a16="http://schemas.microsoft.com/office/drawing/2014/main" id="{CED6DE1A-02AC-9983-E2B2-368F46FDF84A}"/>
              </a:ext>
            </a:extLst>
          </p:cNvPr>
          <p:cNvSpPr/>
          <p:nvPr userDrawn="1"/>
        </p:nvSpPr>
        <p:spPr bwMode="auto">
          <a:xfrm>
            <a:off x="0" y="-1"/>
            <a:ext cx="12192000" cy="1793663"/>
          </a:xfrm>
          <a:custGeom>
            <a:avLst/>
            <a:gdLst>
              <a:gd name="connsiteX0" fmla="*/ 0 w 12192000"/>
              <a:gd name="connsiteY0" fmla="*/ 0 h 1793663"/>
              <a:gd name="connsiteX1" fmla="*/ 12192000 w 12192000"/>
              <a:gd name="connsiteY1" fmla="*/ 0 h 1793663"/>
              <a:gd name="connsiteX2" fmla="*/ 12192000 w 12192000"/>
              <a:gd name="connsiteY2" fmla="*/ 1793663 h 1793663"/>
              <a:gd name="connsiteX3" fmla="*/ 11603830 w 12192000"/>
              <a:gd name="connsiteY3" fmla="*/ 1793663 h 1793663"/>
              <a:gd name="connsiteX4" fmla="*/ 11603830 w 12192000"/>
              <a:gd name="connsiteY4" fmla="*/ 1661356 h 1793663"/>
              <a:gd name="connsiteX5" fmla="*/ 11326775 w 12192000"/>
              <a:gd name="connsiteY5" fmla="*/ 1384301 h 1793663"/>
              <a:gd name="connsiteX6" fmla="*/ 6461953 w 12192000"/>
              <a:gd name="connsiteY6" fmla="*/ 1384301 h 1793663"/>
              <a:gd name="connsiteX7" fmla="*/ 6184898 w 12192000"/>
              <a:gd name="connsiteY7" fmla="*/ 1661356 h 1793663"/>
              <a:gd name="connsiteX8" fmla="*/ 6184898 w 12192000"/>
              <a:gd name="connsiteY8" fmla="*/ 1793663 h 1793663"/>
              <a:gd name="connsiteX9" fmla="*/ 6007101 w 12192000"/>
              <a:gd name="connsiteY9" fmla="*/ 1793663 h 1793663"/>
              <a:gd name="connsiteX10" fmla="*/ 6007101 w 12192000"/>
              <a:gd name="connsiteY10" fmla="*/ 1661356 h 1793663"/>
              <a:gd name="connsiteX11" fmla="*/ 5730045 w 12192000"/>
              <a:gd name="connsiteY11" fmla="*/ 1384301 h 1793663"/>
              <a:gd name="connsiteX12" fmla="*/ 865223 w 12192000"/>
              <a:gd name="connsiteY12" fmla="*/ 1384301 h 1793663"/>
              <a:gd name="connsiteX13" fmla="*/ 588168 w 12192000"/>
              <a:gd name="connsiteY13" fmla="*/ 1661356 h 1793663"/>
              <a:gd name="connsiteX14" fmla="*/ 588168 w 12192000"/>
              <a:gd name="connsiteY14" fmla="*/ 1793663 h 1793663"/>
              <a:gd name="connsiteX15" fmla="*/ 0 w 12192000"/>
              <a:gd name="connsiteY15" fmla="*/ 1793663 h 179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793663">
                <a:moveTo>
                  <a:pt x="0" y="0"/>
                </a:moveTo>
                <a:lnTo>
                  <a:pt x="12192000" y="0"/>
                </a:lnTo>
                <a:lnTo>
                  <a:pt x="12192000" y="1793663"/>
                </a:lnTo>
                <a:lnTo>
                  <a:pt x="11603830" y="1793663"/>
                </a:lnTo>
                <a:lnTo>
                  <a:pt x="11603830" y="1661356"/>
                </a:lnTo>
                <a:cubicBezTo>
                  <a:pt x="11603830" y="1508343"/>
                  <a:pt x="11479788" y="1384301"/>
                  <a:pt x="11326775" y="1384301"/>
                </a:cubicBezTo>
                <a:lnTo>
                  <a:pt x="6461953" y="1384301"/>
                </a:lnTo>
                <a:cubicBezTo>
                  <a:pt x="6308940" y="1384301"/>
                  <a:pt x="6184898" y="1508343"/>
                  <a:pt x="6184898" y="1661356"/>
                </a:cubicBezTo>
                <a:lnTo>
                  <a:pt x="6184898" y="1793663"/>
                </a:lnTo>
                <a:lnTo>
                  <a:pt x="6007101" y="1793663"/>
                </a:lnTo>
                <a:lnTo>
                  <a:pt x="6007101" y="1661356"/>
                </a:lnTo>
                <a:cubicBezTo>
                  <a:pt x="6007101" y="1508343"/>
                  <a:pt x="5883058" y="1384301"/>
                  <a:pt x="5730045" y="1384301"/>
                </a:cubicBezTo>
                <a:lnTo>
                  <a:pt x="865223" y="1384301"/>
                </a:lnTo>
                <a:cubicBezTo>
                  <a:pt x="712210" y="1384301"/>
                  <a:pt x="588168" y="1508343"/>
                  <a:pt x="588168" y="1661356"/>
                </a:cubicBezTo>
                <a:lnTo>
                  <a:pt x="588168" y="1793663"/>
                </a:lnTo>
                <a:lnTo>
                  <a:pt x="0" y="179366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Rectangle: Rounded Corners 3">
            <a:extLst>
              <a:ext uri="{FF2B5EF4-FFF2-40B4-BE49-F238E27FC236}">
                <a16:creationId xmlns:a16="http://schemas.microsoft.com/office/drawing/2014/main" id="{87D2CBC8-B3E0-36F6-1896-04979256EBBB}"/>
              </a:ext>
            </a:extLst>
          </p:cNvPr>
          <p:cNvSpPr/>
          <p:nvPr userDrawn="1"/>
        </p:nvSpPr>
        <p:spPr bwMode="auto">
          <a:xfrm>
            <a:off x="757920" y="1509486"/>
            <a:ext cx="5117528" cy="4789712"/>
          </a:xfrm>
          <a:prstGeom prst="roundRect">
            <a:avLst>
              <a:gd name="adj" fmla="val 4528"/>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AB6EA6C3-278C-85D5-EF80-7159F73D9225}"/>
              </a:ext>
            </a:extLst>
          </p:cNvPr>
          <p:cNvSpPr/>
          <p:nvPr userDrawn="1"/>
        </p:nvSpPr>
        <p:spPr bwMode="auto">
          <a:xfrm>
            <a:off x="6363272" y="1509486"/>
            <a:ext cx="5117528" cy="4789712"/>
          </a:xfrm>
          <a:prstGeom prst="roundRect">
            <a:avLst>
              <a:gd name="adj" fmla="val 4528"/>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a:ea typeface="+mn-ea"/>
              <a:cs typeface="Segoe UI" pitchFamily="34" charset="0"/>
            </a:endParaRPr>
          </a:p>
        </p:txBody>
      </p:sp>
      <p:sp>
        <p:nvSpPr>
          <p:cNvPr id="6" name="Rectangle: Single Corner Rounded 5">
            <a:extLst>
              <a:ext uri="{FF2B5EF4-FFF2-40B4-BE49-F238E27FC236}">
                <a16:creationId xmlns:a16="http://schemas.microsoft.com/office/drawing/2014/main" id="{E67331C0-B087-7491-2422-0B553A1D35E9}"/>
              </a:ext>
            </a:extLst>
          </p:cNvPr>
          <p:cNvSpPr/>
          <p:nvPr userDrawn="1"/>
        </p:nvSpPr>
        <p:spPr bwMode="auto">
          <a:xfrm rot="16200000" flipH="1">
            <a:off x="9869223" y="3323924"/>
            <a:ext cx="4057385" cy="588168"/>
          </a:xfrm>
          <a:prstGeom prst="round1Rect">
            <a:avLst>
              <a:gd name="adj" fmla="val 4095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 name="Rectangle: Top Corners Rounded 6">
            <a:extLst>
              <a:ext uri="{FF2B5EF4-FFF2-40B4-BE49-F238E27FC236}">
                <a16:creationId xmlns:a16="http://schemas.microsoft.com/office/drawing/2014/main" id="{C9963C8D-0FD8-30F3-3F86-2D4F0558C013}"/>
              </a:ext>
            </a:extLst>
          </p:cNvPr>
          <p:cNvSpPr/>
          <p:nvPr userDrawn="1"/>
        </p:nvSpPr>
        <p:spPr bwMode="auto">
          <a:xfrm flipV="1">
            <a:off x="6007100" y="1790125"/>
            <a:ext cx="177798" cy="1540903"/>
          </a:xfrm>
          <a:prstGeom prst="round2SameRect">
            <a:avLst>
              <a:gd name="adj1" fmla="val 50000"/>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6" name="Text Placeholder 15">
            <a:extLst>
              <a:ext uri="{FF2B5EF4-FFF2-40B4-BE49-F238E27FC236}">
                <a16:creationId xmlns:a16="http://schemas.microsoft.com/office/drawing/2014/main" id="{05FC84F8-E0F2-C97F-85C7-3850033867E0}"/>
              </a:ext>
            </a:extLst>
          </p:cNvPr>
          <p:cNvSpPr>
            <a:spLocks noGrp="1"/>
          </p:cNvSpPr>
          <p:nvPr>
            <p:ph type="body" sz="quarter" idx="10"/>
          </p:nvPr>
        </p:nvSpPr>
        <p:spPr>
          <a:xfrm>
            <a:off x="1752092" y="2096566"/>
            <a:ext cx="3875008" cy="369332"/>
          </a:xfrm>
        </p:spPr>
        <p:txBody>
          <a:bodyPr/>
          <a:lstStyle>
            <a:lvl1pPr marL="0" indent="0">
              <a:buNone/>
              <a:defRPr kumimoji="0" lang="en-IN" sz="2400" b="0" i="0" u="none" strike="noStrike" kern="1200" cap="none" spc="0" normalizeH="0" baseline="0" dirty="0">
                <a:ln>
                  <a:noFill/>
                </a:ln>
                <a:solidFill>
                  <a:schemeClr val="bg2"/>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18" name="Text Placeholder 17">
            <a:extLst>
              <a:ext uri="{FF2B5EF4-FFF2-40B4-BE49-F238E27FC236}">
                <a16:creationId xmlns:a16="http://schemas.microsoft.com/office/drawing/2014/main" id="{3F397BDF-6661-8A5C-6327-9B07BAA4A5F8}"/>
              </a:ext>
            </a:extLst>
          </p:cNvPr>
          <p:cNvSpPr>
            <a:spLocks noGrp="1"/>
          </p:cNvSpPr>
          <p:nvPr>
            <p:ph type="body" sz="quarter" idx="11"/>
          </p:nvPr>
        </p:nvSpPr>
        <p:spPr>
          <a:xfrm>
            <a:off x="7357445" y="2096566"/>
            <a:ext cx="3875008" cy="369332"/>
          </a:xfrm>
        </p:spPr>
        <p:txBody>
          <a:bodyPr/>
          <a:lstStyle>
            <a:lvl1pPr marL="0" indent="0">
              <a:buNone/>
              <a:defRPr kumimoji="0" lang="en-IN" sz="2400" b="0" i="0" u="none" strike="noStrike" kern="1200" cap="none" spc="0" normalizeH="0" baseline="0" dirty="0">
                <a:ln>
                  <a:noFill/>
                </a:ln>
                <a:solidFill>
                  <a:schemeClr val="bg2"/>
                </a:solidFill>
                <a:effectLst/>
                <a:uLnTx/>
                <a:uFillTx/>
                <a:latin typeface="+mj-lt"/>
                <a:ea typeface="+mn-ea"/>
                <a:cs typeface="+mn-cs"/>
              </a:defRPr>
            </a:lvl1pPr>
          </a:lstStyle>
          <a:p>
            <a:pPr lvl="0"/>
            <a:endParaRPr lang="en-IN"/>
          </a:p>
        </p:txBody>
      </p:sp>
      <p:sp>
        <p:nvSpPr>
          <p:cNvPr id="27" name="Text Placeholder 26">
            <a:extLst>
              <a:ext uri="{FF2B5EF4-FFF2-40B4-BE49-F238E27FC236}">
                <a16:creationId xmlns:a16="http://schemas.microsoft.com/office/drawing/2014/main" id="{5E2A6A41-D69C-81DA-BD2C-C524BB399819}"/>
              </a:ext>
            </a:extLst>
          </p:cNvPr>
          <p:cNvSpPr>
            <a:spLocks noGrp="1"/>
          </p:cNvSpPr>
          <p:nvPr>
            <p:ph type="body" sz="quarter" idx="14"/>
          </p:nvPr>
        </p:nvSpPr>
        <p:spPr>
          <a:xfrm>
            <a:off x="1006267" y="2989076"/>
            <a:ext cx="4620833" cy="307777"/>
          </a:xfrm>
        </p:spPr>
        <p:txBody>
          <a:bodyPr/>
          <a:lstStyle>
            <a:lvl1pPr marL="280988" indent="-280988">
              <a:spcBef>
                <a:spcPts val="400"/>
              </a:spcBef>
              <a:spcAft>
                <a:spcPts val="600"/>
              </a:spcAft>
              <a:buFont typeface="+mj-lt"/>
              <a:buAutoNum type="arabicPeriod"/>
              <a:defRPr kumimoji="0" lang="en-IN" sz="2000" b="0" i="0" u="none" strike="noStrike" kern="1200" cap="none" spc="0" normalizeH="0" baseline="0" dirty="0">
                <a:ln>
                  <a:noFill/>
                </a:ln>
                <a:solidFill>
                  <a:schemeClr val="tx1"/>
                </a:solidFill>
                <a:effectLst/>
                <a:uLnTx/>
                <a:uFillTx/>
                <a:latin typeface="+mn-lt"/>
                <a:ea typeface="+mn-ea"/>
                <a:cs typeface="+mn-cs"/>
              </a:defRPr>
            </a:lvl1pPr>
          </a:lstStyle>
          <a:p>
            <a:pPr lvl="0"/>
            <a:endParaRPr lang="en-IN"/>
          </a:p>
        </p:txBody>
      </p:sp>
      <p:sp>
        <p:nvSpPr>
          <p:cNvPr id="29" name="Text Placeholder 28">
            <a:extLst>
              <a:ext uri="{FF2B5EF4-FFF2-40B4-BE49-F238E27FC236}">
                <a16:creationId xmlns:a16="http://schemas.microsoft.com/office/drawing/2014/main" id="{A32597D8-2F22-8BFA-3C92-B1AF975CB595}"/>
              </a:ext>
            </a:extLst>
          </p:cNvPr>
          <p:cNvSpPr>
            <a:spLocks noGrp="1"/>
          </p:cNvSpPr>
          <p:nvPr>
            <p:ph type="body" sz="quarter" idx="15"/>
          </p:nvPr>
        </p:nvSpPr>
        <p:spPr>
          <a:xfrm>
            <a:off x="6611620" y="2989076"/>
            <a:ext cx="4620833" cy="307777"/>
          </a:xfrm>
        </p:spPr>
        <p:txBody>
          <a:bodyPr/>
          <a:lstStyle>
            <a:lvl1pPr marL="280988" indent="-280988">
              <a:spcBef>
                <a:spcPts val="400"/>
              </a:spcBef>
              <a:spcAft>
                <a:spcPts val="600"/>
              </a:spcAft>
              <a:buFont typeface="+mj-lt"/>
              <a:buAutoNum type="arabicPeriod"/>
              <a:defRPr kumimoji="0" lang="en-IN" sz="2000" b="0" i="0" u="none" strike="noStrike" kern="1200" cap="none" spc="0" normalizeH="0" baseline="0" dirty="0">
                <a:ln>
                  <a:noFill/>
                </a:ln>
                <a:solidFill>
                  <a:schemeClr val="tx1"/>
                </a:solidFill>
                <a:effectLst/>
                <a:uLnTx/>
                <a:uFillTx/>
                <a:latin typeface="+mn-lt"/>
                <a:ea typeface="+mn-ea"/>
                <a:cs typeface="+mn-cs"/>
              </a:defRPr>
            </a:lvl1pPr>
          </a:lstStyle>
          <a:p>
            <a:pPr lvl="0"/>
            <a:endParaRPr lang="en-IN"/>
          </a:p>
        </p:txBody>
      </p:sp>
      <p:sp>
        <p:nvSpPr>
          <p:cNvPr id="25" name="Title 24">
            <a:extLst>
              <a:ext uri="{FF2B5EF4-FFF2-40B4-BE49-F238E27FC236}">
                <a16:creationId xmlns:a16="http://schemas.microsoft.com/office/drawing/2014/main" id="{5EB43C38-7734-B277-27DF-08BE495B57E9}"/>
              </a:ext>
            </a:extLst>
          </p:cNvPr>
          <p:cNvSpPr>
            <a:spLocks noGrp="1"/>
          </p:cNvSpPr>
          <p:nvPr>
            <p:ph type="title"/>
          </p:nvPr>
        </p:nvSpPr>
        <p:spPr/>
        <p:txBody>
          <a:bodyPr/>
          <a:lstStyle/>
          <a:p>
            <a:r>
              <a:rPr lang="en-US"/>
              <a:t>Click to edit Master title style</a:t>
            </a:r>
            <a:endParaRPr lang="en-IN"/>
          </a:p>
        </p:txBody>
      </p:sp>
      <p:sp>
        <p:nvSpPr>
          <p:cNvPr id="31" name="Picture Placeholder 30">
            <a:extLst>
              <a:ext uri="{FF2B5EF4-FFF2-40B4-BE49-F238E27FC236}">
                <a16:creationId xmlns:a16="http://schemas.microsoft.com/office/drawing/2014/main" id="{BC301C06-3022-C461-7ECC-928380A979BD}"/>
              </a:ext>
            </a:extLst>
          </p:cNvPr>
          <p:cNvSpPr>
            <a:spLocks noGrp="1"/>
          </p:cNvSpPr>
          <p:nvPr>
            <p:ph type="pic" sz="quarter" idx="16" hasCustomPrompt="1"/>
          </p:nvPr>
        </p:nvSpPr>
        <p:spPr>
          <a:xfrm>
            <a:off x="1007791" y="2016056"/>
            <a:ext cx="530352" cy="530352"/>
          </a:xfrm>
          <a:prstGeom prst="ellipse">
            <a:avLst/>
          </a:prstGeom>
        </p:spPr>
        <p:txBody>
          <a:bodyPr anchor="ctr">
            <a:noAutofit/>
          </a:bodyPr>
          <a:lstStyle>
            <a:lvl1pPr marL="0" indent="0" algn="ctr">
              <a:buNone/>
              <a:defRPr sz="1100"/>
            </a:lvl1pPr>
          </a:lstStyle>
          <a:p>
            <a:r>
              <a:rPr lang="en-IN"/>
              <a:t>Icon</a:t>
            </a:r>
          </a:p>
        </p:txBody>
      </p:sp>
      <p:sp>
        <p:nvSpPr>
          <p:cNvPr id="32" name="Picture Placeholder 30">
            <a:extLst>
              <a:ext uri="{FF2B5EF4-FFF2-40B4-BE49-F238E27FC236}">
                <a16:creationId xmlns:a16="http://schemas.microsoft.com/office/drawing/2014/main" id="{7664099F-EB3B-F818-FF0E-81C644180909}"/>
              </a:ext>
            </a:extLst>
          </p:cNvPr>
          <p:cNvSpPr>
            <a:spLocks noGrp="1"/>
          </p:cNvSpPr>
          <p:nvPr>
            <p:ph type="pic" sz="quarter" idx="17" hasCustomPrompt="1"/>
          </p:nvPr>
        </p:nvSpPr>
        <p:spPr>
          <a:xfrm>
            <a:off x="6613144" y="2016056"/>
            <a:ext cx="530352" cy="530352"/>
          </a:xfrm>
          <a:prstGeom prst="ellipse">
            <a:avLst/>
          </a:prstGeom>
        </p:spPr>
        <p:txBody>
          <a:bodyPr anchor="ctr">
            <a:noAutofit/>
          </a:bodyPr>
          <a:lstStyle>
            <a:lvl1pPr marL="0" indent="0" algn="ctr">
              <a:buNone/>
              <a:defRPr sz="1100"/>
            </a:lvl1pPr>
          </a:lstStyle>
          <a:p>
            <a:r>
              <a:rPr lang="en-IN"/>
              <a:t>Icon</a:t>
            </a:r>
          </a:p>
        </p:txBody>
      </p:sp>
    </p:spTree>
    <p:extLst>
      <p:ext uri="{BB962C8B-B14F-4D97-AF65-F5344CB8AC3E}">
        <p14:creationId xmlns:p14="http://schemas.microsoft.com/office/powerpoint/2010/main" val="304284874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 Column with Number">
    <p:spTree>
      <p:nvGrpSpPr>
        <p:cNvPr id="1" name=""/>
        <p:cNvGrpSpPr/>
        <p:nvPr/>
      </p:nvGrpSpPr>
      <p:grpSpPr>
        <a:xfrm>
          <a:off x="0" y="0"/>
          <a:ext cx="0" cy="0"/>
          <a:chOff x="0" y="0"/>
          <a:chExt cx="0" cy="0"/>
        </a:xfrm>
      </p:grpSpPr>
      <p:sp>
        <p:nvSpPr>
          <p:cNvPr id="56" name="Text Placeholder 33">
            <a:extLst>
              <a:ext uri="{FF2B5EF4-FFF2-40B4-BE49-F238E27FC236}">
                <a16:creationId xmlns:a16="http://schemas.microsoft.com/office/drawing/2014/main" id="{88C179F9-E73E-95DF-7EA3-1878F0A07937}"/>
              </a:ext>
            </a:extLst>
          </p:cNvPr>
          <p:cNvSpPr>
            <a:spLocks noGrp="1"/>
          </p:cNvSpPr>
          <p:nvPr>
            <p:ph type="body" sz="quarter" idx="23"/>
          </p:nvPr>
        </p:nvSpPr>
        <p:spPr>
          <a:xfrm>
            <a:off x="934720"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59" name="Text Placeholder 33">
            <a:extLst>
              <a:ext uri="{FF2B5EF4-FFF2-40B4-BE49-F238E27FC236}">
                <a16:creationId xmlns:a16="http://schemas.microsoft.com/office/drawing/2014/main" id="{65363787-8F35-47E6-EEFD-D0A680C64485}"/>
              </a:ext>
            </a:extLst>
          </p:cNvPr>
          <p:cNvSpPr>
            <a:spLocks noGrp="1"/>
          </p:cNvSpPr>
          <p:nvPr>
            <p:ph type="body" sz="quarter" idx="25"/>
          </p:nvPr>
        </p:nvSpPr>
        <p:spPr>
          <a:xfrm>
            <a:off x="3718560"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60" name="Text Placeholder 33">
            <a:extLst>
              <a:ext uri="{FF2B5EF4-FFF2-40B4-BE49-F238E27FC236}">
                <a16:creationId xmlns:a16="http://schemas.microsoft.com/office/drawing/2014/main" id="{3F62C5F8-007E-DB57-7E8D-755298D886AD}"/>
              </a:ext>
            </a:extLst>
          </p:cNvPr>
          <p:cNvSpPr>
            <a:spLocks noGrp="1"/>
          </p:cNvSpPr>
          <p:nvPr>
            <p:ph type="body" sz="quarter" idx="26"/>
          </p:nvPr>
        </p:nvSpPr>
        <p:spPr>
          <a:xfrm>
            <a:off x="6502400"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61" name="Text Placeholder 33">
            <a:extLst>
              <a:ext uri="{FF2B5EF4-FFF2-40B4-BE49-F238E27FC236}">
                <a16:creationId xmlns:a16="http://schemas.microsoft.com/office/drawing/2014/main" id="{3D15336C-F7AF-18CA-6D43-1ACCD249FCF5}"/>
              </a:ext>
            </a:extLst>
          </p:cNvPr>
          <p:cNvSpPr>
            <a:spLocks noGrp="1"/>
          </p:cNvSpPr>
          <p:nvPr>
            <p:ph type="body" sz="quarter" idx="27"/>
          </p:nvPr>
        </p:nvSpPr>
        <p:spPr>
          <a:xfrm>
            <a:off x="9286241"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25" name="Title 24">
            <a:extLst>
              <a:ext uri="{FF2B5EF4-FFF2-40B4-BE49-F238E27FC236}">
                <a16:creationId xmlns:a16="http://schemas.microsoft.com/office/drawing/2014/main" id="{5EB43C38-7734-B277-27DF-08BE495B57E9}"/>
              </a:ext>
            </a:extLst>
          </p:cNvPr>
          <p:cNvSpPr>
            <a:spLocks noGrp="1"/>
          </p:cNvSpPr>
          <p:nvPr>
            <p:ph type="title"/>
          </p:nvPr>
        </p:nvSpPr>
        <p:spPr/>
        <p:txBody>
          <a:bodyPr/>
          <a:lstStyle/>
          <a:p>
            <a:r>
              <a:rPr lang="en-US"/>
              <a:t>Click to edit Master title style</a:t>
            </a:r>
            <a:endParaRPr lang="en-IN"/>
          </a:p>
        </p:txBody>
      </p:sp>
      <p:sp>
        <p:nvSpPr>
          <p:cNvPr id="8" name="Rectangle 7">
            <a:extLst>
              <a:ext uri="{FF2B5EF4-FFF2-40B4-BE49-F238E27FC236}">
                <a16:creationId xmlns:a16="http://schemas.microsoft.com/office/drawing/2014/main" id="{A36D360D-1D6E-4448-824A-8DF334138444}"/>
              </a:ext>
            </a:extLst>
          </p:cNvPr>
          <p:cNvSpPr/>
          <p:nvPr userDrawn="1"/>
        </p:nvSpPr>
        <p:spPr bwMode="auto">
          <a:xfrm>
            <a:off x="0" y="5079999"/>
            <a:ext cx="12192000" cy="985838"/>
          </a:xfrm>
          <a:prstGeom prst="rect">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66FF"/>
              </a:solidFill>
              <a:effectLst/>
              <a:uLnTx/>
              <a:uFillTx/>
              <a:latin typeface="Segoe UI Semibold"/>
              <a:ea typeface="+mn-ea"/>
              <a:cs typeface="Segoe UI" pitchFamily="34" charset="0"/>
            </a:endParaRPr>
          </a:p>
        </p:txBody>
      </p:sp>
      <p:sp>
        <p:nvSpPr>
          <p:cNvPr id="89" name="Text Placeholder 88">
            <a:extLst>
              <a:ext uri="{FF2B5EF4-FFF2-40B4-BE49-F238E27FC236}">
                <a16:creationId xmlns:a16="http://schemas.microsoft.com/office/drawing/2014/main" id="{CB414742-DEBE-863A-87E2-635881F4D1B5}"/>
              </a:ext>
            </a:extLst>
          </p:cNvPr>
          <p:cNvSpPr>
            <a:spLocks noGrp="1"/>
          </p:cNvSpPr>
          <p:nvPr>
            <p:ph type="body" sz="quarter" idx="41"/>
          </p:nvPr>
        </p:nvSpPr>
        <p:spPr>
          <a:xfrm>
            <a:off x="584200"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90" name="Text Placeholder 88">
            <a:extLst>
              <a:ext uri="{FF2B5EF4-FFF2-40B4-BE49-F238E27FC236}">
                <a16:creationId xmlns:a16="http://schemas.microsoft.com/office/drawing/2014/main" id="{9C0B6495-7F86-9712-E11A-4BFAEC5CCBA1}"/>
              </a:ext>
            </a:extLst>
          </p:cNvPr>
          <p:cNvSpPr>
            <a:spLocks noGrp="1"/>
          </p:cNvSpPr>
          <p:nvPr>
            <p:ph type="body" sz="quarter" idx="42"/>
          </p:nvPr>
        </p:nvSpPr>
        <p:spPr>
          <a:xfrm>
            <a:off x="3368040"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91" name="Text Placeholder 88">
            <a:extLst>
              <a:ext uri="{FF2B5EF4-FFF2-40B4-BE49-F238E27FC236}">
                <a16:creationId xmlns:a16="http://schemas.microsoft.com/office/drawing/2014/main" id="{E2CD792B-9536-D820-E3A1-777D86E2ED71}"/>
              </a:ext>
            </a:extLst>
          </p:cNvPr>
          <p:cNvSpPr>
            <a:spLocks noGrp="1"/>
          </p:cNvSpPr>
          <p:nvPr>
            <p:ph type="body" sz="quarter" idx="43"/>
          </p:nvPr>
        </p:nvSpPr>
        <p:spPr>
          <a:xfrm>
            <a:off x="6151880"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92" name="Text Placeholder 88">
            <a:extLst>
              <a:ext uri="{FF2B5EF4-FFF2-40B4-BE49-F238E27FC236}">
                <a16:creationId xmlns:a16="http://schemas.microsoft.com/office/drawing/2014/main" id="{F0211C02-3F8C-5350-38FC-705D0E39CB92}"/>
              </a:ext>
            </a:extLst>
          </p:cNvPr>
          <p:cNvSpPr>
            <a:spLocks noGrp="1"/>
          </p:cNvSpPr>
          <p:nvPr>
            <p:ph type="body" sz="quarter" idx="44"/>
          </p:nvPr>
        </p:nvSpPr>
        <p:spPr>
          <a:xfrm>
            <a:off x="8935721"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4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30" name="Text Placeholder 29">
            <a:extLst>
              <a:ext uri="{FF2B5EF4-FFF2-40B4-BE49-F238E27FC236}">
                <a16:creationId xmlns:a16="http://schemas.microsoft.com/office/drawing/2014/main" id="{6B61CDCE-FB12-EEE4-66A6-E77EB88C6366}"/>
              </a:ext>
            </a:extLst>
          </p:cNvPr>
          <p:cNvSpPr>
            <a:spLocks noGrp="1"/>
          </p:cNvSpPr>
          <p:nvPr>
            <p:ph type="body" sz="quarter" idx="10"/>
          </p:nvPr>
        </p:nvSpPr>
        <p:spPr>
          <a:xfrm>
            <a:off x="588262" y="1144826"/>
            <a:ext cx="11018268" cy="615553"/>
          </a:xfrm>
        </p:spPr>
        <p:txBody>
          <a:bodyPr/>
          <a:lstStyle>
            <a:lvl1pPr marL="0" indent="0">
              <a:buNone/>
              <a:defRPr kumimoji="0" lang="en-IN" sz="2000" b="0" i="0" u="none" strike="noStrike" kern="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lvl="0"/>
            <a:endParaRPr lang="en-IN"/>
          </a:p>
        </p:txBody>
      </p:sp>
      <p:sp>
        <p:nvSpPr>
          <p:cNvPr id="45" name="Text Placeholder 44">
            <a:extLst>
              <a:ext uri="{FF2B5EF4-FFF2-40B4-BE49-F238E27FC236}">
                <a16:creationId xmlns:a16="http://schemas.microsoft.com/office/drawing/2014/main" id="{0CCFD869-8E3B-4CF2-68E2-4431E58D5B03}"/>
              </a:ext>
            </a:extLst>
          </p:cNvPr>
          <p:cNvSpPr>
            <a:spLocks noGrp="1"/>
          </p:cNvSpPr>
          <p:nvPr>
            <p:ph type="body" sz="quarter" idx="17"/>
          </p:nvPr>
        </p:nvSpPr>
        <p:spPr>
          <a:xfrm>
            <a:off x="664209"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47" name="Text Placeholder 46">
            <a:extLst>
              <a:ext uri="{FF2B5EF4-FFF2-40B4-BE49-F238E27FC236}">
                <a16:creationId xmlns:a16="http://schemas.microsoft.com/office/drawing/2014/main" id="{FBBA81A1-BAA3-EA5B-AD96-1A0BA33D46EB}"/>
              </a:ext>
            </a:extLst>
          </p:cNvPr>
          <p:cNvSpPr>
            <a:spLocks noGrp="1"/>
          </p:cNvSpPr>
          <p:nvPr>
            <p:ph type="body" sz="quarter" idx="18"/>
          </p:nvPr>
        </p:nvSpPr>
        <p:spPr>
          <a:xfrm>
            <a:off x="3448048"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49" name="Text Placeholder 48">
            <a:extLst>
              <a:ext uri="{FF2B5EF4-FFF2-40B4-BE49-F238E27FC236}">
                <a16:creationId xmlns:a16="http://schemas.microsoft.com/office/drawing/2014/main" id="{49639813-7613-1FF5-C008-109C8E28AC00}"/>
              </a:ext>
            </a:extLst>
          </p:cNvPr>
          <p:cNvSpPr>
            <a:spLocks noGrp="1"/>
          </p:cNvSpPr>
          <p:nvPr>
            <p:ph type="body" sz="quarter" idx="19"/>
          </p:nvPr>
        </p:nvSpPr>
        <p:spPr>
          <a:xfrm>
            <a:off x="6231888"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51" name="Text Placeholder 50">
            <a:extLst>
              <a:ext uri="{FF2B5EF4-FFF2-40B4-BE49-F238E27FC236}">
                <a16:creationId xmlns:a16="http://schemas.microsoft.com/office/drawing/2014/main" id="{07D1BB2B-6B1F-0FB2-EC46-8958C3AA6D92}"/>
              </a:ext>
            </a:extLst>
          </p:cNvPr>
          <p:cNvSpPr>
            <a:spLocks noGrp="1"/>
          </p:cNvSpPr>
          <p:nvPr>
            <p:ph type="body" sz="quarter" idx="20"/>
          </p:nvPr>
        </p:nvSpPr>
        <p:spPr>
          <a:xfrm>
            <a:off x="9015729"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55" name="Text Placeholder 54">
            <a:extLst>
              <a:ext uri="{FF2B5EF4-FFF2-40B4-BE49-F238E27FC236}">
                <a16:creationId xmlns:a16="http://schemas.microsoft.com/office/drawing/2014/main" id="{ECC2AC61-F41B-7C1A-88FD-99A071276943}"/>
              </a:ext>
            </a:extLst>
          </p:cNvPr>
          <p:cNvSpPr>
            <a:spLocks noGrp="1"/>
          </p:cNvSpPr>
          <p:nvPr>
            <p:ph type="body" sz="quarter" idx="22"/>
          </p:nvPr>
        </p:nvSpPr>
        <p:spPr>
          <a:xfrm>
            <a:off x="584200" y="5530600"/>
            <a:ext cx="11023600" cy="369332"/>
          </a:xfrm>
        </p:spPr>
        <p:txBody>
          <a:bodyPr/>
          <a:lstStyle>
            <a:lvl1pPr marL="0" indent="0" algn="ctr">
              <a:buNone/>
              <a:defRPr kumimoji="0" lang="en-IN" sz="2400" b="0" i="0" u="none" strike="noStrike" kern="1200" cap="none" spc="0" normalizeH="0" baseline="0" dirty="0">
                <a:ln>
                  <a:noFill/>
                </a:ln>
                <a:solidFill>
                  <a:schemeClr val="bg2"/>
                </a:solidFill>
                <a:effectLst/>
                <a:uLnTx/>
                <a:uFillTx/>
                <a:latin typeface="+mj-lt"/>
                <a:ea typeface="+mn-ea"/>
                <a:cs typeface="Segoe UI" pitchFamily="34" charset="0"/>
              </a:defRPr>
            </a:lvl1pPr>
          </a:lstStyle>
          <a:p>
            <a:pPr lvl="0"/>
            <a:endParaRPr lang="en-IN"/>
          </a:p>
        </p:txBody>
      </p:sp>
      <p:sp>
        <p:nvSpPr>
          <p:cNvPr id="58" name="Text Placeholder 57">
            <a:extLst>
              <a:ext uri="{FF2B5EF4-FFF2-40B4-BE49-F238E27FC236}">
                <a16:creationId xmlns:a16="http://schemas.microsoft.com/office/drawing/2014/main" id="{EEC8EF74-43BC-B549-D940-1CF55E69109B}"/>
              </a:ext>
            </a:extLst>
          </p:cNvPr>
          <p:cNvSpPr>
            <a:spLocks noGrp="1"/>
          </p:cNvSpPr>
          <p:nvPr>
            <p:ph type="body" sz="quarter" idx="24" hasCustomPrompt="1"/>
          </p:nvPr>
        </p:nvSpPr>
        <p:spPr>
          <a:xfrm>
            <a:off x="1394378"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2" name="Text Placeholder 57">
            <a:extLst>
              <a:ext uri="{FF2B5EF4-FFF2-40B4-BE49-F238E27FC236}">
                <a16:creationId xmlns:a16="http://schemas.microsoft.com/office/drawing/2014/main" id="{B21D5880-7A0D-CF88-CD72-E6E4B18C21E8}"/>
              </a:ext>
            </a:extLst>
          </p:cNvPr>
          <p:cNvSpPr>
            <a:spLocks noGrp="1"/>
          </p:cNvSpPr>
          <p:nvPr>
            <p:ph type="body" sz="quarter" idx="28" hasCustomPrompt="1"/>
          </p:nvPr>
        </p:nvSpPr>
        <p:spPr>
          <a:xfrm>
            <a:off x="4178218"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4" name="Text Placeholder 57">
            <a:extLst>
              <a:ext uri="{FF2B5EF4-FFF2-40B4-BE49-F238E27FC236}">
                <a16:creationId xmlns:a16="http://schemas.microsoft.com/office/drawing/2014/main" id="{440F6FDA-5D6C-CCD4-1CC3-160EB10018F1}"/>
              </a:ext>
            </a:extLst>
          </p:cNvPr>
          <p:cNvSpPr>
            <a:spLocks noGrp="1"/>
          </p:cNvSpPr>
          <p:nvPr>
            <p:ph type="body" sz="quarter" idx="29" hasCustomPrompt="1"/>
          </p:nvPr>
        </p:nvSpPr>
        <p:spPr>
          <a:xfrm>
            <a:off x="6962058"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5" name="Text Placeholder 57">
            <a:extLst>
              <a:ext uri="{FF2B5EF4-FFF2-40B4-BE49-F238E27FC236}">
                <a16:creationId xmlns:a16="http://schemas.microsoft.com/office/drawing/2014/main" id="{E9154C4D-EDBB-9D16-24D4-CC3375CB48A5}"/>
              </a:ext>
            </a:extLst>
          </p:cNvPr>
          <p:cNvSpPr>
            <a:spLocks noGrp="1"/>
          </p:cNvSpPr>
          <p:nvPr>
            <p:ph type="body" sz="quarter" idx="30" hasCustomPrompt="1"/>
          </p:nvPr>
        </p:nvSpPr>
        <p:spPr>
          <a:xfrm>
            <a:off x="9745899"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7" name="Text Placeholder 66">
            <a:extLst>
              <a:ext uri="{FF2B5EF4-FFF2-40B4-BE49-F238E27FC236}">
                <a16:creationId xmlns:a16="http://schemas.microsoft.com/office/drawing/2014/main" id="{4BF7CCD8-A92B-33A8-BD3F-515D5A15E804}"/>
              </a:ext>
            </a:extLst>
          </p:cNvPr>
          <p:cNvSpPr>
            <a:spLocks noGrp="1"/>
          </p:cNvSpPr>
          <p:nvPr>
            <p:ph type="body" sz="quarter" idx="31" hasCustomPrompt="1"/>
          </p:nvPr>
        </p:nvSpPr>
        <p:spPr>
          <a:xfrm>
            <a:off x="585216"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71" name="Text Placeholder 70">
            <a:extLst>
              <a:ext uri="{FF2B5EF4-FFF2-40B4-BE49-F238E27FC236}">
                <a16:creationId xmlns:a16="http://schemas.microsoft.com/office/drawing/2014/main" id="{368CC796-F9AE-CEA3-BF85-3C3884FC27A3}"/>
              </a:ext>
            </a:extLst>
          </p:cNvPr>
          <p:cNvSpPr>
            <a:spLocks noGrp="1"/>
          </p:cNvSpPr>
          <p:nvPr>
            <p:ph type="body" sz="quarter" idx="33" hasCustomPrompt="1"/>
          </p:nvPr>
        </p:nvSpPr>
        <p:spPr>
          <a:xfrm>
            <a:off x="610705" y="2345140"/>
            <a:ext cx="649134" cy="430887"/>
          </a:xfrm>
        </p:spPr>
        <p:txBody>
          <a:bodyPr/>
          <a:lstStyle>
            <a:lvl1pPr marL="0" indent="0" algn="ctr">
              <a:buNone/>
              <a:defRPr>
                <a:solidFill>
                  <a:schemeClr val="bg2"/>
                </a:solidFill>
                <a:latin typeface="+mj-lt"/>
              </a:defRPr>
            </a:lvl1pPr>
          </a:lstStyle>
          <a:p>
            <a:pPr lvl="0"/>
            <a:r>
              <a:rPr lang="en-IN"/>
              <a:t>#</a:t>
            </a:r>
          </a:p>
        </p:txBody>
      </p:sp>
      <p:sp>
        <p:nvSpPr>
          <p:cNvPr id="78" name="Text Placeholder 66">
            <a:extLst>
              <a:ext uri="{FF2B5EF4-FFF2-40B4-BE49-F238E27FC236}">
                <a16:creationId xmlns:a16="http://schemas.microsoft.com/office/drawing/2014/main" id="{BFE6B3B7-330E-A776-2528-9B04F1795881}"/>
              </a:ext>
            </a:extLst>
          </p:cNvPr>
          <p:cNvSpPr>
            <a:spLocks noGrp="1"/>
          </p:cNvSpPr>
          <p:nvPr>
            <p:ph type="body" sz="quarter" idx="34" hasCustomPrompt="1"/>
          </p:nvPr>
        </p:nvSpPr>
        <p:spPr>
          <a:xfrm>
            <a:off x="3370009"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79" name="Text Placeholder 70">
            <a:extLst>
              <a:ext uri="{FF2B5EF4-FFF2-40B4-BE49-F238E27FC236}">
                <a16:creationId xmlns:a16="http://schemas.microsoft.com/office/drawing/2014/main" id="{3A721328-720A-6FD8-158C-CFBEEF462EB6}"/>
              </a:ext>
            </a:extLst>
          </p:cNvPr>
          <p:cNvSpPr>
            <a:spLocks noGrp="1"/>
          </p:cNvSpPr>
          <p:nvPr>
            <p:ph type="body" sz="quarter" idx="35" hasCustomPrompt="1"/>
          </p:nvPr>
        </p:nvSpPr>
        <p:spPr>
          <a:xfrm>
            <a:off x="3395498" y="2345140"/>
            <a:ext cx="649134" cy="430887"/>
          </a:xfrm>
        </p:spPr>
        <p:txBody>
          <a:bodyPr/>
          <a:lstStyle>
            <a:lvl1pPr marL="0" indent="0" algn="ctr">
              <a:buNone/>
              <a:defRPr>
                <a:solidFill>
                  <a:schemeClr val="bg2"/>
                </a:solidFill>
                <a:latin typeface="+mj-lt"/>
              </a:defRPr>
            </a:lvl1pPr>
          </a:lstStyle>
          <a:p>
            <a:pPr lvl="0"/>
            <a:r>
              <a:rPr lang="en-IN"/>
              <a:t>#</a:t>
            </a:r>
          </a:p>
        </p:txBody>
      </p:sp>
      <p:sp>
        <p:nvSpPr>
          <p:cNvPr id="81" name="Text Placeholder 66">
            <a:extLst>
              <a:ext uri="{FF2B5EF4-FFF2-40B4-BE49-F238E27FC236}">
                <a16:creationId xmlns:a16="http://schemas.microsoft.com/office/drawing/2014/main" id="{C11A60CC-382F-DF86-1586-E99F2AA5F712}"/>
              </a:ext>
            </a:extLst>
          </p:cNvPr>
          <p:cNvSpPr>
            <a:spLocks noGrp="1"/>
          </p:cNvSpPr>
          <p:nvPr>
            <p:ph type="body" sz="quarter" idx="37" hasCustomPrompt="1"/>
          </p:nvPr>
        </p:nvSpPr>
        <p:spPr>
          <a:xfrm>
            <a:off x="6154802"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82" name="Text Placeholder 70">
            <a:extLst>
              <a:ext uri="{FF2B5EF4-FFF2-40B4-BE49-F238E27FC236}">
                <a16:creationId xmlns:a16="http://schemas.microsoft.com/office/drawing/2014/main" id="{9A68270F-B37B-9967-00E9-BF887DD878A2}"/>
              </a:ext>
            </a:extLst>
          </p:cNvPr>
          <p:cNvSpPr>
            <a:spLocks noGrp="1"/>
          </p:cNvSpPr>
          <p:nvPr>
            <p:ph type="body" sz="quarter" idx="38" hasCustomPrompt="1"/>
          </p:nvPr>
        </p:nvSpPr>
        <p:spPr>
          <a:xfrm>
            <a:off x="6180291" y="2345140"/>
            <a:ext cx="649134" cy="430887"/>
          </a:xfrm>
        </p:spPr>
        <p:txBody>
          <a:bodyPr/>
          <a:lstStyle>
            <a:lvl1pPr marL="0" indent="0" algn="ctr">
              <a:buNone/>
              <a:defRPr>
                <a:solidFill>
                  <a:schemeClr val="bg2"/>
                </a:solidFill>
                <a:latin typeface="+mj-lt"/>
              </a:defRPr>
            </a:lvl1pPr>
          </a:lstStyle>
          <a:p>
            <a:pPr lvl="0"/>
            <a:r>
              <a:rPr lang="en-IN"/>
              <a:t>#</a:t>
            </a:r>
          </a:p>
        </p:txBody>
      </p:sp>
      <p:sp>
        <p:nvSpPr>
          <p:cNvPr id="85" name="Text Placeholder 66">
            <a:extLst>
              <a:ext uri="{FF2B5EF4-FFF2-40B4-BE49-F238E27FC236}">
                <a16:creationId xmlns:a16="http://schemas.microsoft.com/office/drawing/2014/main" id="{4928D8A8-8F0E-189F-A9A9-BA85675CF463}"/>
              </a:ext>
            </a:extLst>
          </p:cNvPr>
          <p:cNvSpPr>
            <a:spLocks noGrp="1"/>
          </p:cNvSpPr>
          <p:nvPr>
            <p:ph type="body" sz="quarter" idx="39" hasCustomPrompt="1"/>
          </p:nvPr>
        </p:nvSpPr>
        <p:spPr>
          <a:xfrm>
            <a:off x="8939596"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86" name="Text Placeholder 70">
            <a:extLst>
              <a:ext uri="{FF2B5EF4-FFF2-40B4-BE49-F238E27FC236}">
                <a16:creationId xmlns:a16="http://schemas.microsoft.com/office/drawing/2014/main" id="{AA30685F-0FF7-958D-CC71-1E5D4390481A}"/>
              </a:ext>
            </a:extLst>
          </p:cNvPr>
          <p:cNvSpPr>
            <a:spLocks noGrp="1"/>
          </p:cNvSpPr>
          <p:nvPr>
            <p:ph type="body" sz="quarter" idx="40" hasCustomPrompt="1"/>
          </p:nvPr>
        </p:nvSpPr>
        <p:spPr>
          <a:xfrm>
            <a:off x="8965085" y="2345140"/>
            <a:ext cx="649134" cy="430887"/>
          </a:xfrm>
        </p:spPr>
        <p:txBody>
          <a:bodyPr/>
          <a:lstStyle>
            <a:lvl1pPr marL="0" indent="0" algn="ctr">
              <a:buNone/>
              <a:defRPr>
                <a:solidFill>
                  <a:schemeClr val="bg2"/>
                </a:solidFill>
                <a:latin typeface="+mj-lt"/>
              </a:defRPr>
            </a:lvl1pPr>
          </a:lstStyle>
          <a:p>
            <a:pPr lvl="0"/>
            <a:r>
              <a:rPr lang="en-IN"/>
              <a:t>#</a:t>
            </a:r>
          </a:p>
        </p:txBody>
      </p:sp>
    </p:spTree>
    <p:extLst>
      <p:ext uri="{BB962C8B-B14F-4D97-AF65-F5344CB8AC3E}">
        <p14:creationId xmlns:p14="http://schemas.microsoft.com/office/powerpoint/2010/main" val="246796121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eft title with Icon placehol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36B82-2214-8013-AA6A-8C0254EA6A72}"/>
              </a:ext>
            </a:extLst>
          </p:cNvPr>
          <p:cNvSpPr>
            <a:spLocks noGrp="1"/>
          </p:cNvSpPr>
          <p:nvPr>
            <p:ph type="title"/>
          </p:nvPr>
        </p:nvSpPr>
        <p:spPr>
          <a:xfrm>
            <a:off x="588263" y="2596028"/>
            <a:ext cx="3809565" cy="1107996"/>
          </a:xfrm>
        </p:spPr>
        <p:txBody>
          <a:bodyPr>
            <a:spAutoFit/>
          </a:bodyPr>
          <a:lstStyle/>
          <a:p>
            <a:r>
              <a:rPr lang="en-US"/>
              <a:t>Click to edit Master title style</a:t>
            </a:r>
            <a:endParaRPr lang="en-IN"/>
          </a:p>
        </p:txBody>
      </p:sp>
      <p:sp>
        <p:nvSpPr>
          <p:cNvPr id="61" name="Text Placeholder 60">
            <a:extLst>
              <a:ext uri="{FF2B5EF4-FFF2-40B4-BE49-F238E27FC236}">
                <a16:creationId xmlns:a16="http://schemas.microsoft.com/office/drawing/2014/main" id="{D973714E-B985-4C6D-B155-C2E2929D4047}"/>
              </a:ext>
            </a:extLst>
          </p:cNvPr>
          <p:cNvSpPr>
            <a:spLocks noGrp="1"/>
          </p:cNvSpPr>
          <p:nvPr>
            <p:ph type="body" sz="quarter" idx="11"/>
          </p:nvPr>
        </p:nvSpPr>
        <p:spPr>
          <a:xfrm>
            <a:off x="5003800" y="292100"/>
            <a:ext cx="6883400" cy="6273800"/>
          </a:xfrm>
          <a:prstGeom prst="roundRect">
            <a:avLst>
              <a:gd name="adj" fmla="val 26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n-lt"/>
              </a:defRPr>
            </a:lvl1pPr>
          </a:lstStyle>
          <a:p>
            <a:pPr marL="0" lvl="0" indent="0" defTabSz="932472" fontAlgn="base">
              <a:lnSpc>
                <a:spcPct val="110000"/>
              </a:lnSpc>
              <a:spcBef>
                <a:spcPct val="0"/>
              </a:spcBef>
              <a:spcAft>
                <a:spcPct val="0"/>
              </a:spcAft>
              <a:buSzTx/>
              <a:buFontTx/>
              <a:buNone/>
            </a:pPr>
            <a:endParaRPr lang="en-IN"/>
          </a:p>
        </p:txBody>
      </p:sp>
      <p:sp>
        <p:nvSpPr>
          <p:cNvPr id="59" name="Text Placeholder 58">
            <a:extLst>
              <a:ext uri="{FF2B5EF4-FFF2-40B4-BE49-F238E27FC236}">
                <a16:creationId xmlns:a16="http://schemas.microsoft.com/office/drawing/2014/main" id="{994F551C-3379-C6D5-C6EA-BF05EA1CA81D}"/>
              </a:ext>
            </a:extLst>
          </p:cNvPr>
          <p:cNvSpPr>
            <a:spLocks noGrp="1"/>
          </p:cNvSpPr>
          <p:nvPr>
            <p:ph type="body" sz="quarter" idx="10"/>
          </p:nvPr>
        </p:nvSpPr>
        <p:spPr>
          <a:xfrm>
            <a:off x="584199" y="4250819"/>
            <a:ext cx="3213101" cy="923330"/>
          </a:xfrm>
        </p:spPr>
        <p:txBody>
          <a:bodyPr/>
          <a:lstStyle>
            <a:lvl1pPr marL="0" indent="0">
              <a:buNone/>
              <a:defRPr kumimoji="0" lang="en-IN"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lvl="0"/>
            <a:endParaRPr lang="en-IN"/>
          </a:p>
        </p:txBody>
      </p:sp>
      <p:sp>
        <p:nvSpPr>
          <p:cNvPr id="63" name="Text Placeholder 62">
            <a:extLst>
              <a:ext uri="{FF2B5EF4-FFF2-40B4-BE49-F238E27FC236}">
                <a16:creationId xmlns:a16="http://schemas.microsoft.com/office/drawing/2014/main" id="{82B59E6A-69E5-9E17-24FF-7829A6A5BF7E}"/>
              </a:ext>
            </a:extLst>
          </p:cNvPr>
          <p:cNvSpPr>
            <a:spLocks noGrp="1"/>
          </p:cNvSpPr>
          <p:nvPr>
            <p:ph type="body" sz="quarter" idx="12"/>
          </p:nvPr>
        </p:nvSpPr>
        <p:spPr>
          <a:xfrm>
            <a:off x="6237514" y="831043"/>
            <a:ext cx="5394960" cy="276999"/>
          </a:xfrm>
        </p:spPr>
        <p:txBody>
          <a:bodyPr/>
          <a:lstStyle>
            <a:lvl1pPr marL="0" indent="0">
              <a:buFont typeface="Arial" panose="020B0604020202020204" pitchFamily="34" charset="0"/>
              <a:buNone/>
              <a:defRPr sz="1800">
                <a:latin typeface="+mj-lt"/>
              </a:defRPr>
            </a:lvl1pPr>
          </a:lstStyle>
          <a:p>
            <a:pPr lvl="0"/>
            <a:endParaRPr lang="en-IN"/>
          </a:p>
        </p:txBody>
      </p:sp>
      <p:sp>
        <p:nvSpPr>
          <p:cNvPr id="66" name="Text Placeholder 62">
            <a:extLst>
              <a:ext uri="{FF2B5EF4-FFF2-40B4-BE49-F238E27FC236}">
                <a16:creationId xmlns:a16="http://schemas.microsoft.com/office/drawing/2014/main" id="{4EB3C940-C4B0-E4AC-4BD4-E478513C696E}"/>
              </a:ext>
            </a:extLst>
          </p:cNvPr>
          <p:cNvSpPr>
            <a:spLocks noGrp="1"/>
          </p:cNvSpPr>
          <p:nvPr>
            <p:ph type="body" sz="quarter" idx="15"/>
          </p:nvPr>
        </p:nvSpPr>
        <p:spPr>
          <a:xfrm>
            <a:off x="6237514" y="3782392"/>
            <a:ext cx="5394960" cy="276999"/>
          </a:xfrm>
        </p:spPr>
        <p:txBody>
          <a:bodyPr/>
          <a:lstStyle>
            <a:lvl1pPr marL="0" indent="0">
              <a:buFont typeface="Arial" panose="020B0604020202020204" pitchFamily="34" charset="0"/>
              <a:buNone/>
              <a:defRPr sz="1800">
                <a:latin typeface="+mj-lt"/>
              </a:defRPr>
            </a:lvl1pPr>
          </a:lstStyle>
          <a:p>
            <a:pPr lvl="0"/>
            <a:endParaRPr lang="en-IN"/>
          </a:p>
        </p:txBody>
      </p:sp>
      <p:sp>
        <p:nvSpPr>
          <p:cNvPr id="67" name="Text Placeholder 62">
            <a:extLst>
              <a:ext uri="{FF2B5EF4-FFF2-40B4-BE49-F238E27FC236}">
                <a16:creationId xmlns:a16="http://schemas.microsoft.com/office/drawing/2014/main" id="{8CD34A0B-5C13-DFFC-CB1C-F834913FCDDA}"/>
              </a:ext>
            </a:extLst>
          </p:cNvPr>
          <p:cNvSpPr>
            <a:spLocks noGrp="1"/>
          </p:cNvSpPr>
          <p:nvPr>
            <p:ph type="body" sz="quarter" idx="16"/>
          </p:nvPr>
        </p:nvSpPr>
        <p:spPr>
          <a:xfrm>
            <a:off x="6237514" y="4766175"/>
            <a:ext cx="5394960" cy="276999"/>
          </a:xfrm>
        </p:spPr>
        <p:txBody>
          <a:bodyPr/>
          <a:lstStyle>
            <a:lvl1pPr marL="0" indent="0">
              <a:buFont typeface="Arial" panose="020B0604020202020204" pitchFamily="34" charset="0"/>
              <a:buNone/>
              <a:defRPr sz="1800">
                <a:latin typeface="+mj-lt"/>
              </a:defRPr>
            </a:lvl1pPr>
          </a:lstStyle>
          <a:p>
            <a:pPr lvl="0"/>
            <a:endParaRPr lang="en-IN"/>
          </a:p>
        </p:txBody>
      </p:sp>
      <p:sp>
        <p:nvSpPr>
          <p:cNvPr id="68" name="Text Placeholder 62">
            <a:extLst>
              <a:ext uri="{FF2B5EF4-FFF2-40B4-BE49-F238E27FC236}">
                <a16:creationId xmlns:a16="http://schemas.microsoft.com/office/drawing/2014/main" id="{D49F9E98-BCBD-D927-DDC1-06B06279FF05}"/>
              </a:ext>
            </a:extLst>
          </p:cNvPr>
          <p:cNvSpPr>
            <a:spLocks noGrp="1"/>
          </p:cNvSpPr>
          <p:nvPr>
            <p:ph type="body" sz="quarter" idx="17"/>
          </p:nvPr>
        </p:nvSpPr>
        <p:spPr>
          <a:xfrm>
            <a:off x="6237514" y="5749958"/>
            <a:ext cx="5394960" cy="276999"/>
          </a:xfrm>
        </p:spPr>
        <p:txBody>
          <a:bodyPr/>
          <a:lstStyle>
            <a:lvl1pPr marL="0" indent="0">
              <a:buFont typeface="Arial" panose="020B0604020202020204" pitchFamily="34" charset="0"/>
              <a:buNone/>
              <a:defRPr sz="1800">
                <a:latin typeface="+mj-lt"/>
              </a:defRPr>
            </a:lvl1pPr>
          </a:lstStyle>
          <a:p>
            <a:pPr lvl="0"/>
            <a:endParaRPr lang="en-IN"/>
          </a:p>
        </p:txBody>
      </p:sp>
      <p:cxnSp>
        <p:nvCxnSpPr>
          <p:cNvPr id="11" name="Straight Connector 10">
            <a:extLst>
              <a:ext uri="{FF2B5EF4-FFF2-40B4-BE49-F238E27FC236}">
                <a16:creationId xmlns:a16="http://schemas.microsoft.com/office/drawing/2014/main" id="{56D75D49-6331-6953-34B9-F2D79175D119}"/>
              </a:ext>
            </a:extLst>
          </p:cNvPr>
          <p:cNvCxnSpPr/>
          <p:nvPr userDrawn="1"/>
        </p:nvCxnSpPr>
        <p:spPr>
          <a:xfrm>
            <a:off x="6237514" y="1461434"/>
            <a:ext cx="539496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CA2E3D8-CF19-3B70-BA9C-86F0A315C42E}"/>
              </a:ext>
            </a:extLst>
          </p:cNvPr>
          <p:cNvCxnSpPr/>
          <p:nvPr userDrawn="1"/>
        </p:nvCxnSpPr>
        <p:spPr>
          <a:xfrm>
            <a:off x="6237514" y="2445217"/>
            <a:ext cx="539496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AF53C89-3F98-6788-6B43-A4EA99377573}"/>
              </a:ext>
            </a:extLst>
          </p:cNvPr>
          <p:cNvCxnSpPr/>
          <p:nvPr userDrawn="1"/>
        </p:nvCxnSpPr>
        <p:spPr>
          <a:xfrm>
            <a:off x="6237514" y="5396566"/>
            <a:ext cx="539496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12E473B-8ED9-9FEF-3B5F-B757957AE137}"/>
              </a:ext>
            </a:extLst>
          </p:cNvPr>
          <p:cNvCxnSpPr/>
          <p:nvPr userDrawn="1"/>
        </p:nvCxnSpPr>
        <p:spPr>
          <a:xfrm>
            <a:off x="6237514" y="3429000"/>
            <a:ext cx="539496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855C015-05B1-2A3A-3F92-ABB691B4BFE6}"/>
              </a:ext>
            </a:extLst>
          </p:cNvPr>
          <p:cNvCxnSpPr/>
          <p:nvPr userDrawn="1"/>
        </p:nvCxnSpPr>
        <p:spPr>
          <a:xfrm>
            <a:off x="6237514" y="4412783"/>
            <a:ext cx="539496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5" name="Text Placeholder 62">
            <a:extLst>
              <a:ext uri="{FF2B5EF4-FFF2-40B4-BE49-F238E27FC236}">
                <a16:creationId xmlns:a16="http://schemas.microsoft.com/office/drawing/2014/main" id="{54F0313C-37F2-C1F6-0CFC-FBD360A9011D}"/>
              </a:ext>
            </a:extLst>
          </p:cNvPr>
          <p:cNvSpPr>
            <a:spLocks noGrp="1"/>
          </p:cNvSpPr>
          <p:nvPr>
            <p:ph type="body" sz="quarter" idx="14"/>
          </p:nvPr>
        </p:nvSpPr>
        <p:spPr>
          <a:xfrm>
            <a:off x="6237514" y="2798609"/>
            <a:ext cx="5394960" cy="276999"/>
          </a:xfrm>
        </p:spPr>
        <p:txBody>
          <a:bodyPr/>
          <a:lstStyle>
            <a:lvl1pPr marL="0" indent="0">
              <a:buFont typeface="Arial" panose="020B0604020202020204" pitchFamily="34" charset="0"/>
              <a:buNone/>
              <a:defRPr sz="1800">
                <a:latin typeface="+mj-lt"/>
              </a:defRPr>
            </a:lvl1pPr>
          </a:lstStyle>
          <a:p>
            <a:pPr lvl="0"/>
            <a:endParaRPr lang="en-IN"/>
          </a:p>
        </p:txBody>
      </p:sp>
      <p:sp>
        <p:nvSpPr>
          <p:cNvPr id="64" name="Text Placeholder 62">
            <a:extLst>
              <a:ext uri="{FF2B5EF4-FFF2-40B4-BE49-F238E27FC236}">
                <a16:creationId xmlns:a16="http://schemas.microsoft.com/office/drawing/2014/main" id="{0E83212E-F829-DCF3-7C21-BCFA680109FF}"/>
              </a:ext>
            </a:extLst>
          </p:cNvPr>
          <p:cNvSpPr>
            <a:spLocks noGrp="1"/>
          </p:cNvSpPr>
          <p:nvPr>
            <p:ph type="body" sz="quarter" idx="13"/>
          </p:nvPr>
        </p:nvSpPr>
        <p:spPr>
          <a:xfrm>
            <a:off x="6237514" y="1814826"/>
            <a:ext cx="5394960" cy="276999"/>
          </a:xfrm>
        </p:spPr>
        <p:txBody>
          <a:bodyPr/>
          <a:lstStyle>
            <a:lvl1pPr marL="0" indent="0">
              <a:buFont typeface="Arial" panose="020B0604020202020204" pitchFamily="34" charset="0"/>
              <a:buNone/>
              <a:defRPr sz="1800">
                <a:latin typeface="+mj-lt"/>
              </a:defRPr>
            </a:lvl1pPr>
          </a:lstStyle>
          <a:p>
            <a:pPr lvl="0"/>
            <a:endParaRPr lang="en-IN"/>
          </a:p>
        </p:txBody>
      </p:sp>
      <p:sp>
        <p:nvSpPr>
          <p:cNvPr id="18" name="Oval 17">
            <a:extLst>
              <a:ext uri="{FF2B5EF4-FFF2-40B4-BE49-F238E27FC236}">
                <a16:creationId xmlns:a16="http://schemas.microsoft.com/office/drawing/2014/main" id="{C2261F88-C49A-9EEF-7BC8-3D14A8A4C9B0}"/>
              </a:ext>
            </a:extLst>
          </p:cNvPr>
          <p:cNvSpPr/>
          <p:nvPr userDrawn="1"/>
        </p:nvSpPr>
        <p:spPr bwMode="auto">
          <a:xfrm>
            <a:off x="5287381" y="658397"/>
            <a:ext cx="621294" cy="621292"/>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9" name="Oval 18">
            <a:extLst>
              <a:ext uri="{FF2B5EF4-FFF2-40B4-BE49-F238E27FC236}">
                <a16:creationId xmlns:a16="http://schemas.microsoft.com/office/drawing/2014/main" id="{DBAD3AFF-B6DE-B52A-E76F-5DB0C7727F35}"/>
              </a:ext>
            </a:extLst>
          </p:cNvPr>
          <p:cNvSpPr/>
          <p:nvPr userDrawn="1"/>
        </p:nvSpPr>
        <p:spPr bwMode="auto">
          <a:xfrm>
            <a:off x="5287381" y="1642680"/>
            <a:ext cx="621294" cy="621292"/>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0" name="Oval 19">
            <a:extLst>
              <a:ext uri="{FF2B5EF4-FFF2-40B4-BE49-F238E27FC236}">
                <a16:creationId xmlns:a16="http://schemas.microsoft.com/office/drawing/2014/main" id="{B3E2386E-B2DD-8439-7D0E-68966C3F755C}"/>
              </a:ext>
            </a:extLst>
          </p:cNvPr>
          <p:cNvSpPr/>
          <p:nvPr userDrawn="1"/>
        </p:nvSpPr>
        <p:spPr bwMode="auto">
          <a:xfrm>
            <a:off x="5287381" y="2626463"/>
            <a:ext cx="621294" cy="621292"/>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1" name="Oval 20">
            <a:extLst>
              <a:ext uri="{FF2B5EF4-FFF2-40B4-BE49-F238E27FC236}">
                <a16:creationId xmlns:a16="http://schemas.microsoft.com/office/drawing/2014/main" id="{050A162E-D9B8-B905-B2C2-8AA2D02F9BC7}"/>
              </a:ext>
            </a:extLst>
          </p:cNvPr>
          <p:cNvSpPr/>
          <p:nvPr userDrawn="1"/>
        </p:nvSpPr>
        <p:spPr bwMode="auto">
          <a:xfrm>
            <a:off x="5287381" y="3610246"/>
            <a:ext cx="621294" cy="621292"/>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2" name="Oval 21">
            <a:extLst>
              <a:ext uri="{FF2B5EF4-FFF2-40B4-BE49-F238E27FC236}">
                <a16:creationId xmlns:a16="http://schemas.microsoft.com/office/drawing/2014/main" id="{6C5EA5E8-1690-392E-2494-ED1297F673F8}"/>
              </a:ext>
            </a:extLst>
          </p:cNvPr>
          <p:cNvSpPr/>
          <p:nvPr userDrawn="1"/>
        </p:nvSpPr>
        <p:spPr bwMode="auto">
          <a:xfrm>
            <a:off x="5287381" y="4594029"/>
            <a:ext cx="621294" cy="621292"/>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3" name="Oval 22">
            <a:extLst>
              <a:ext uri="{FF2B5EF4-FFF2-40B4-BE49-F238E27FC236}">
                <a16:creationId xmlns:a16="http://schemas.microsoft.com/office/drawing/2014/main" id="{90688257-32FE-3CDF-1995-DFBD145570D1}"/>
              </a:ext>
            </a:extLst>
          </p:cNvPr>
          <p:cNvSpPr/>
          <p:nvPr userDrawn="1"/>
        </p:nvSpPr>
        <p:spPr bwMode="auto">
          <a:xfrm>
            <a:off x="5287381" y="5577811"/>
            <a:ext cx="621294" cy="621292"/>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71" name="Picture Placeholder 70">
            <a:extLst>
              <a:ext uri="{FF2B5EF4-FFF2-40B4-BE49-F238E27FC236}">
                <a16:creationId xmlns:a16="http://schemas.microsoft.com/office/drawing/2014/main" id="{CF04762F-1C00-B5AF-51E2-0A8D3F8912D3}"/>
              </a:ext>
            </a:extLst>
          </p:cNvPr>
          <p:cNvSpPr>
            <a:spLocks noGrp="1"/>
          </p:cNvSpPr>
          <p:nvPr>
            <p:ph type="pic" sz="quarter" idx="18" hasCustomPrompt="1"/>
          </p:nvPr>
        </p:nvSpPr>
        <p:spPr>
          <a:xfrm>
            <a:off x="5286883" y="658396"/>
            <a:ext cx="621792" cy="621792"/>
          </a:xfrm>
          <a:prstGeom prst="ellipse">
            <a:avLst/>
          </a:prstGeom>
        </p:spPr>
        <p:txBody>
          <a:bodyPr anchor="ctr">
            <a:noAutofit/>
          </a:bodyPr>
          <a:lstStyle>
            <a:lvl1pPr marL="0" indent="0" algn="ctr">
              <a:buFont typeface="Arial" panose="020B0604020202020204" pitchFamily="34" charset="0"/>
              <a:buNone/>
              <a:defRPr sz="800"/>
            </a:lvl1pPr>
          </a:lstStyle>
          <a:p>
            <a:r>
              <a:rPr lang="en-IN"/>
              <a:t>Icon</a:t>
            </a:r>
          </a:p>
        </p:txBody>
      </p:sp>
      <p:sp>
        <p:nvSpPr>
          <p:cNvPr id="72" name="Picture Placeholder 70">
            <a:extLst>
              <a:ext uri="{FF2B5EF4-FFF2-40B4-BE49-F238E27FC236}">
                <a16:creationId xmlns:a16="http://schemas.microsoft.com/office/drawing/2014/main" id="{DAAE9393-1EE4-E5E6-D91B-45C61C504E54}"/>
              </a:ext>
            </a:extLst>
          </p:cNvPr>
          <p:cNvSpPr>
            <a:spLocks noGrp="1"/>
          </p:cNvSpPr>
          <p:nvPr>
            <p:ph type="pic" sz="quarter" idx="19" hasCustomPrompt="1"/>
          </p:nvPr>
        </p:nvSpPr>
        <p:spPr>
          <a:xfrm>
            <a:off x="5286883" y="1642179"/>
            <a:ext cx="621792" cy="621792"/>
          </a:xfrm>
          <a:prstGeom prst="ellipse">
            <a:avLst/>
          </a:prstGeom>
        </p:spPr>
        <p:txBody>
          <a:bodyPr anchor="ctr">
            <a:noAutofit/>
          </a:bodyPr>
          <a:lstStyle>
            <a:lvl1pPr marL="0" indent="0" algn="ctr">
              <a:buFont typeface="Arial" panose="020B0604020202020204" pitchFamily="34" charset="0"/>
              <a:buNone/>
              <a:defRPr sz="800"/>
            </a:lvl1pPr>
          </a:lstStyle>
          <a:p>
            <a:r>
              <a:rPr lang="en-IN"/>
              <a:t>Icon</a:t>
            </a:r>
          </a:p>
        </p:txBody>
      </p:sp>
      <p:sp>
        <p:nvSpPr>
          <p:cNvPr id="73" name="Picture Placeholder 70">
            <a:extLst>
              <a:ext uri="{FF2B5EF4-FFF2-40B4-BE49-F238E27FC236}">
                <a16:creationId xmlns:a16="http://schemas.microsoft.com/office/drawing/2014/main" id="{A827B4EC-2435-F964-A3BD-80CCEA5C3851}"/>
              </a:ext>
            </a:extLst>
          </p:cNvPr>
          <p:cNvSpPr>
            <a:spLocks noGrp="1"/>
          </p:cNvSpPr>
          <p:nvPr>
            <p:ph type="pic" sz="quarter" idx="20" hasCustomPrompt="1"/>
          </p:nvPr>
        </p:nvSpPr>
        <p:spPr>
          <a:xfrm>
            <a:off x="5286883" y="2625962"/>
            <a:ext cx="621792" cy="621792"/>
          </a:xfrm>
          <a:prstGeom prst="ellipse">
            <a:avLst/>
          </a:prstGeom>
        </p:spPr>
        <p:txBody>
          <a:bodyPr anchor="ctr">
            <a:noAutofit/>
          </a:bodyPr>
          <a:lstStyle>
            <a:lvl1pPr marL="0" indent="0" algn="ctr">
              <a:buFont typeface="Arial" panose="020B0604020202020204" pitchFamily="34" charset="0"/>
              <a:buNone/>
              <a:defRPr sz="800"/>
            </a:lvl1pPr>
          </a:lstStyle>
          <a:p>
            <a:r>
              <a:rPr lang="en-IN"/>
              <a:t>Icon</a:t>
            </a:r>
          </a:p>
        </p:txBody>
      </p:sp>
      <p:sp>
        <p:nvSpPr>
          <p:cNvPr id="74" name="Picture Placeholder 70">
            <a:extLst>
              <a:ext uri="{FF2B5EF4-FFF2-40B4-BE49-F238E27FC236}">
                <a16:creationId xmlns:a16="http://schemas.microsoft.com/office/drawing/2014/main" id="{A048FB05-3214-94CC-6147-82972C3853FD}"/>
              </a:ext>
            </a:extLst>
          </p:cNvPr>
          <p:cNvSpPr>
            <a:spLocks noGrp="1"/>
          </p:cNvSpPr>
          <p:nvPr>
            <p:ph type="pic" sz="quarter" idx="21" hasCustomPrompt="1"/>
          </p:nvPr>
        </p:nvSpPr>
        <p:spPr>
          <a:xfrm>
            <a:off x="5286883" y="3609745"/>
            <a:ext cx="621792" cy="621792"/>
          </a:xfrm>
          <a:prstGeom prst="ellipse">
            <a:avLst/>
          </a:prstGeom>
        </p:spPr>
        <p:txBody>
          <a:bodyPr anchor="ctr">
            <a:noAutofit/>
          </a:bodyPr>
          <a:lstStyle>
            <a:lvl1pPr marL="0" indent="0" algn="ctr">
              <a:buFont typeface="Arial" panose="020B0604020202020204" pitchFamily="34" charset="0"/>
              <a:buNone/>
              <a:defRPr sz="800"/>
            </a:lvl1pPr>
          </a:lstStyle>
          <a:p>
            <a:r>
              <a:rPr lang="en-IN"/>
              <a:t>Icon</a:t>
            </a:r>
          </a:p>
        </p:txBody>
      </p:sp>
      <p:sp>
        <p:nvSpPr>
          <p:cNvPr id="75" name="Picture Placeholder 70">
            <a:extLst>
              <a:ext uri="{FF2B5EF4-FFF2-40B4-BE49-F238E27FC236}">
                <a16:creationId xmlns:a16="http://schemas.microsoft.com/office/drawing/2014/main" id="{438EDA67-9588-B71F-FFE3-E36357BF568C}"/>
              </a:ext>
            </a:extLst>
          </p:cNvPr>
          <p:cNvSpPr>
            <a:spLocks noGrp="1"/>
          </p:cNvSpPr>
          <p:nvPr>
            <p:ph type="pic" sz="quarter" idx="22" hasCustomPrompt="1"/>
          </p:nvPr>
        </p:nvSpPr>
        <p:spPr>
          <a:xfrm>
            <a:off x="5286883" y="4593528"/>
            <a:ext cx="621792" cy="621792"/>
          </a:xfrm>
          <a:prstGeom prst="ellipse">
            <a:avLst/>
          </a:prstGeom>
        </p:spPr>
        <p:txBody>
          <a:bodyPr anchor="ctr">
            <a:noAutofit/>
          </a:bodyPr>
          <a:lstStyle>
            <a:lvl1pPr marL="0" indent="0" algn="ctr">
              <a:buFont typeface="Arial" panose="020B0604020202020204" pitchFamily="34" charset="0"/>
              <a:buNone/>
              <a:defRPr sz="800"/>
            </a:lvl1pPr>
          </a:lstStyle>
          <a:p>
            <a:r>
              <a:rPr lang="en-IN"/>
              <a:t>Icon</a:t>
            </a:r>
          </a:p>
        </p:txBody>
      </p:sp>
      <p:sp>
        <p:nvSpPr>
          <p:cNvPr id="76" name="Picture Placeholder 70">
            <a:extLst>
              <a:ext uri="{FF2B5EF4-FFF2-40B4-BE49-F238E27FC236}">
                <a16:creationId xmlns:a16="http://schemas.microsoft.com/office/drawing/2014/main" id="{C2CB9C96-8D84-7234-9549-5F9A162A1161}"/>
              </a:ext>
            </a:extLst>
          </p:cNvPr>
          <p:cNvSpPr>
            <a:spLocks noGrp="1"/>
          </p:cNvSpPr>
          <p:nvPr>
            <p:ph type="pic" sz="quarter" idx="23" hasCustomPrompt="1"/>
          </p:nvPr>
        </p:nvSpPr>
        <p:spPr>
          <a:xfrm>
            <a:off x="5286883" y="5577310"/>
            <a:ext cx="621792" cy="621792"/>
          </a:xfrm>
          <a:prstGeom prst="ellipse">
            <a:avLst/>
          </a:prstGeom>
        </p:spPr>
        <p:txBody>
          <a:bodyPr anchor="ctr">
            <a:noAutofit/>
          </a:bodyPr>
          <a:lstStyle>
            <a:lvl1pPr marL="0" indent="0" algn="ctr">
              <a:buFont typeface="Arial" panose="020B0604020202020204" pitchFamily="34" charset="0"/>
              <a:buNone/>
              <a:defRPr sz="800"/>
            </a:lvl1pPr>
          </a:lstStyle>
          <a:p>
            <a:r>
              <a:rPr lang="en-IN"/>
              <a:t>Icon</a:t>
            </a:r>
          </a:p>
        </p:txBody>
      </p:sp>
      <p:sp>
        <p:nvSpPr>
          <p:cNvPr id="78" name="Text Placeholder 77">
            <a:extLst>
              <a:ext uri="{FF2B5EF4-FFF2-40B4-BE49-F238E27FC236}">
                <a16:creationId xmlns:a16="http://schemas.microsoft.com/office/drawing/2014/main" id="{82B01D30-B9FB-D3B1-6648-F112A59142F3}"/>
              </a:ext>
            </a:extLst>
          </p:cNvPr>
          <p:cNvSpPr>
            <a:spLocks noGrp="1"/>
          </p:cNvSpPr>
          <p:nvPr>
            <p:ph type="body" sz="quarter" idx="24"/>
          </p:nvPr>
        </p:nvSpPr>
        <p:spPr>
          <a:xfrm>
            <a:off x="584200" y="3957484"/>
            <a:ext cx="822960" cy="36576"/>
          </a:xfrm>
          <a:prstGeom prst="roundRect">
            <a:avLst>
              <a:gd name="adj" fmla="val 50000"/>
            </a:avLst>
          </a:prstGeom>
          <a:solidFill>
            <a:schemeClr val="bg2"/>
          </a:solidFill>
        </p:spPr>
        <p:txBody>
          <a:bodyPr>
            <a:noAutofit/>
          </a:bodyPr>
          <a:lstStyle>
            <a:lvl1pPr marL="0" indent="0">
              <a:buNone/>
              <a:defRPr sz="100"/>
            </a:lvl1pPr>
          </a:lstStyle>
          <a:p>
            <a:pPr lvl="0"/>
            <a:endParaRPr lang="en-IN"/>
          </a:p>
        </p:txBody>
      </p:sp>
    </p:spTree>
    <p:extLst>
      <p:ext uri="{BB962C8B-B14F-4D97-AF65-F5344CB8AC3E}">
        <p14:creationId xmlns:p14="http://schemas.microsoft.com/office/powerpoint/2010/main" val="221613741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A7B49CF-8F63-0090-0081-661E4F84E1CA}"/>
              </a:ext>
            </a:extLst>
          </p:cNvPr>
          <p:cNvSpPr/>
          <p:nvPr userDrawn="1"/>
        </p:nvSpPr>
        <p:spPr bwMode="auto">
          <a:xfrm>
            <a:off x="0" y="1517650"/>
            <a:ext cx="12192000" cy="38227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FC0A2FC1-CAB4-3EFB-4EF5-C05883F0BD71}"/>
              </a:ext>
            </a:extLst>
          </p:cNvPr>
          <p:cNvSpPr/>
          <p:nvPr userDrawn="1"/>
        </p:nvSpPr>
        <p:spPr bwMode="auto">
          <a:xfrm>
            <a:off x="962025" y="425901"/>
            <a:ext cx="10267950" cy="6006198"/>
          </a:xfrm>
          <a:prstGeom prst="roundRect">
            <a:avLst>
              <a:gd name="adj" fmla="val 3038"/>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DAF08E42-5853-7288-7F00-3289F90BCD2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rot="5400000">
            <a:off x="-1029874" y="3338512"/>
            <a:ext cx="3822700" cy="180975"/>
          </a:xfrm>
          <a:prstGeom prst="rect">
            <a:avLst/>
          </a:prstGeom>
        </p:spPr>
      </p:pic>
      <p:pic>
        <p:nvPicPr>
          <p:cNvPr id="11" name="Picture 10">
            <a:extLst>
              <a:ext uri="{FF2B5EF4-FFF2-40B4-BE49-F238E27FC236}">
                <a16:creationId xmlns:a16="http://schemas.microsoft.com/office/drawing/2014/main" id="{609FB385-D56E-FCFC-DAE1-C25009C5993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rot="16200000">
            <a:off x="9409113" y="3338513"/>
            <a:ext cx="3822700" cy="180975"/>
          </a:xfrm>
          <a:prstGeom prst="rect">
            <a:avLst/>
          </a:prstGeom>
        </p:spPr>
      </p:pic>
      <p:sp>
        <p:nvSpPr>
          <p:cNvPr id="5" name="Media Placeholder 3">
            <a:extLst>
              <a:ext uri="{FF2B5EF4-FFF2-40B4-BE49-F238E27FC236}">
                <a16:creationId xmlns:a16="http://schemas.microsoft.com/office/drawing/2014/main" id="{41E19830-760D-5AD8-D9B4-3C82A8246C6A}"/>
              </a:ext>
            </a:extLst>
          </p:cNvPr>
          <p:cNvSpPr>
            <a:spLocks noGrp="1"/>
          </p:cNvSpPr>
          <p:nvPr>
            <p:ph type="media" sz="quarter" idx="19" hasCustomPrompt="1"/>
          </p:nvPr>
        </p:nvSpPr>
        <p:spPr>
          <a:xfrm>
            <a:off x="1194816" y="672084"/>
            <a:ext cx="9802368" cy="5513832"/>
          </a:xfrm>
          <a:solidFill>
            <a:schemeClr val="bg1"/>
          </a:solidFill>
        </p:spPr>
        <p:txBody>
          <a:bodyPr bIns="914400" anchor="ctr">
            <a:noAutofit/>
          </a:bodyPr>
          <a:lstStyle>
            <a:lvl1pPr marL="0" indent="0" algn="ctr">
              <a:buNone/>
              <a:defRPr/>
            </a:lvl1pPr>
          </a:lstStyle>
          <a:p>
            <a:r>
              <a:rPr lang="en-US"/>
              <a:t>Click on the icon to add media</a:t>
            </a:r>
          </a:p>
        </p:txBody>
      </p:sp>
    </p:spTree>
    <p:extLst>
      <p:ext uri="{BB962C8B-B14F-4D97-AF65-F5344CB8AC3E}">
        <p14:creationId xmlns:p14="http://schemas.microsoft.com/office/powerpoint/2010/main" val="1696281427"/>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ey Differentiator with subtitle">
    <p:spTree>
      <p:nvGrpSpPr>
        <p:cNvPr id="1" name=""/>
        <p:cNvGrpSpPr/>
        <p:nvPr/>
      </p:nvGrpSpPr>
      <p:grpSpPr>
        <a:xfrm>
          <a:off x="0" y="0"/>
          <a:ext cx="0" cy="0"/>
          <a:chOff x="0" y="0"/>
          <a:chExt cx="0" cy="0"/>
        </a:xfrm>
      </p:grpSpPr>
      <p:sp>
        <p:nvSpPr>
          <p:cNvPr id="8" name="Text Placeholder 11">
            <a:extLst>
              <a:ext uri="{FF2B5EF4-FFF2-40B4-BE49-F238E27FC236}">
                <a16:creationId xmlns:a16="http://schemas.microsoft.com/office/drawing/2014/main" id="{57674D38-3B0D-9B62-0382-E1DFB811D423}"/>
              </a:ext>
            </a:extLst>
          </p:cNvPr>
          <p:cNvSpPr>
            <a:spLocks noGrp="1"/>
          </p:cNvSpPr>
          <p:nvPr>
            <p:ph type="body" sz="quarter" idx="26" hasCustomPrompt="1"/>
          </p:nvPr>
        </p:nvSpPr>
        <p:spPr>
          <a:xfrm>
            <a:off x="588263" y="2248382"/>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9" name="Text Placeholder 11">
            <a:extLst>
              <a:ext uri="{FF2B5EF4-FFF2-40B4-BE49-F238E27FC236}">
                <a16:creationId xmlns:a16="http://schemas.microsoft.com/office/drawing/2014/main" id="{CE60FF01-1663-DA73-0A87-1BFF7EA80FB8}"/>
              </a:ext>
            </a:extLst>
          </p:cNvPr>
          <p:cNvSpPr>
            <a:spLocks noGrp="1"/>
          </p:cNvSpPr>
          <p:nvPr>
            <p:ph type="body" sz="quarter" idx="27" hasCustomPrompt="1"/>
          </p:nvPr>
        </p:nvSpPr>
        <p:spPr>
          <a:xfrm>
            <a:off x="588263" y="3370394"/>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0" name="Text Placeholder 11">
            <a:extLst>
              <a:ext uri="{FF2B5EF4-FFF2-40B4-BE49-F238E27FC236}">
                <a16:creationId xmlns:a16="http://schemas.microsoft.com/office/drawing/2014/main" id="{A3BF79A3-DB8F-D1C4-E81A-C220692B7DD9}"/>
              </a:ext>
            </a:extLst>
          </p:cNvPr>
          <p:cNvSpPr>
            <a:spLocks noGrp="1"/>
          </p:cNvSpPr>
          <p:nvPr>
            <p:ph type="body" sz="quarter" idx="28" hasCustomPrompt="1"/>
          </p:nvPr>
        </p:nvSpPr>
        <p:spPr>
          <a:xfrm>
            <a:off x="588263" y="449240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1" name="Text Placeholder 11">
            <a:extLst>
              <a:ext uri="{FF2B5EF4-FFF2-40B4-BE49-F238E27FC236}">
                <a16:creationId xmlns:a16="http://schemas.microsoft.com/office/drawing/2014/main" id="{CA2DAE56-9124-C81F-9859-4D561B4AC848}"/>
              </a:ext>
            </a:extLst>
          </p:cNvPr>
          <p:cNvSpPr>
            <a:spLocks noGrp="1"/>
          </p:cNvSpPr>
          <p:nvPr>
            <p:ph type="body" sz="quarter" idx="29" hasCustomPrompt="1"/>
          </p:nvPr>
        </p:nvSpPr>
        <p:spPr>
          <a:xfrm>
            <a:off x="588263" y="561441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3" name="Freeform: Shape 2">
            <a:extLst>
              <a:ext uri="{FF2B5EF4-FFF2-40B4-BE49-F238E27FC236}">
                <a16:creationId xmlns:a16="http://schemas.microsoft.com/office/drawing/2014/main" id="{A429D88A-22EB-011F-7ED7-060B15FEFB77}"/>
              </a:ext>
            </a:extLst>
          </p:cNvPr>
          <p:cNvSpPr/>
          <p:nvPr userDrawn="1"/>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5" name="Rectangle: Top Corners Rounded 4">
            <a:extLst>
              <a:ext uri="{FF2B5EF4-FFF2-40B4-BE49-F238E27FC236}">
                <a16:creationId xmlns:a16="http://schemas.microsoft.com/office/drawing/2014/main" id="{EB6C96E3-B02C-43AF-E658-428651FA4007}"/>
              </a:ext>
              <a:ext uri="{C183D7F6-B498-43B3-948B-1728B52AA6E4}">
                <adec:decorative xmlns:adec="http://schemas.microsoft.com/office/drawing/2017/decorative" val="1"/>
              </a:ext>
            </a:extLst>
          </p:cNvPr>
          <p:cNvSpPr/>
          <p:nvPr/>
        </p:nvSpPr>
        <p:spPr bwMode="auto">
          <a:xfrm rot="16200000">
            <a:off x="6043852" y="370871"/>
            <a:ext cx="4584831" cy="7711465"/>
          </a:xfrm>
          <a:prstGeom prst="round2SameRect">
            <a:avLst>
              <a:gd name="adj1" fmla="val 4036"/>
              <a:gd name="adj2" fmla="val 0"/>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Picture Placeholder 56">
            <a:extLst>
              <a:ext uri="{FF2B5EF4-FFF2-40B4-BE49-F238E27FC236}">
                <a16:creationId xmlns:a16="http://schemas.microsoft.com/office/drawing/2014/main" id="{CCCF1159-71BD-D20F-FE78-8963CB64A557}"/>
              </a:ext>
            </a:extLst>
          </p:cNvPr>
          <p:cNvSpPr>
            <a:spLocks noGrp="1"/>
          </p:cNvSpPr>
          <p:nvPr>
            <p:ph type="pic" sz="quarter" idx="18" hasCustomPrompt="1"/>
          </p:nvPr>
        </p:nvSpPr>
        <p:spPr>
          <a:xfrm>
            <a:off x="4668706" y="2111725"/>
            <a:ext cx="7516368" cy="4233672"/>
          </a:xfrm>
          <a:prstGeom prst="rect">
            <a:avLst/>
          </a:prstGeom>
          <a:solidFill>
            <a:schemeClr val="bg1"/>
          </a:solidFill>
        </p:spPr>
        <p:txBody>
          <a:bodyPr bIns="91440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a:solidFill>
                  <a:schemeClr val="tx1"/>
                </a:solidFill>
                <a:latin typeface="+mn-lt"/>
                <a:ea typeface="+mn-ea"/>
                <a:cs typeface="Segoe UI" panose="020B0502040204020203" pitchFamily="34" charset="0"/>
              </a:defRPr>
            </a:lvl1pPr>
          </a:lstStyle>
          <a:p>
            <a:r>
              <a:rPr lang="en-US"/>
              <a:t>Click on the icon to add Image</a:t>
            </a:r>
          </a:p>
        </p:txBody>
      </p:sp>
      <p:sp>
        <p:nvSpPr>
          <p:cNvPr id="27" name="Picture Placeholder 56">
            <a:extLst>
              <a:ext uri="{FF2B5EF4-FFF2-40B4-BE49-F238E27FC236}">
                <a16:creationId xmlns:a16="http://schemas.microsoft.com/office/drawing/2014/main" id="{E260874D-C856-B7DE-F08E-FC4D3EF7BCE2}"/>
              </a:ext>
            </a:extLst>
          </p:cNvPr>
          <p:cNvSpPr>
            <a:spLocks noGrp="1"/>
          </p:cNvSpPr>
          <p:nvPr>
            <p:ph type="pic" sz="quarter" idx="30" hasCustomPrompt="1"/>
          </p:nvPr>
        </p:nvSpPr>
        <p:spPr>
          <a:xfrm>
            <a:off x="10916944" y="293237"/>
            <a:ext cx="927394" cy="927392"/>
          </a:xfrm>
          <a:prstGeom prst="rect">
            <a:avLst/>
          </a:prstGeom>
        </p:spPr>
        <p:txBody>
          <a:bodyPr wrap="none" anchor="ctr">
            <a:noAutofit/>
          </a:bodyPr>
          <a:lstStyle>
            <a:lvl1pPr marL="0" indent="0" algn="ctr">
              <a:buNone/>
              <a:defRPr sz="1600">
                <a:latin typeface="+mj-lt"/>
              </a:defRPr>
            </a:lvl1pPr>
          </a:lstStyle>
          <a:p>
            <a:r>
              <a:rPr lang="en-US"/>
              <a:t>Add icon/</a:t>
            </a:r>
            <a:br>
              <a:rPr lang="en-US"/>
            </a:br>
            <a:r>
              <a:rPr lang="en-US"/>
              <a:t>logo here</a:t>
            </a:r>
          </a:p>
        </p:txBody>
      </p:sp>
      <p:sp>
        <p:nvSpPr>
          <p:cNvPr id="4" name="Title 1">
            <a:extLst>
              <a:ext uri="{FF2B5EF4-FFF2-40B4-BE49-F238E27FC236}">
                <a16:creationId xmlns:a16="http://schemas.microsoft.com/office/drawing/2014/main" id="{5BDE11CF-9267-6F03-644E-1FA5AF7ECE58}"/>
              </a:ext>
            </a:extLst>
          </p:cNvPr>
          <p:cNvSpPr>
            <a:spLocks noGrp="1"/>
          </p:cNvSpPr>
          <p:nvPr>
            <p:ph type="title"/>
          </p:nvPr>
        </p:nvSpPr>
        <p:spPr>
          <a:xfrm>
            <a:off x="588263" y="886196"/>
            <a:ext cx="10213087" cy="553998"/>
          </a:xfrm>
        </p:spPr>
        <p:txBody>
          <a:bodyPr/>
          <a:lstStyle/>
          <a:p>
            <a:r>
              <a:rPr lang="en-US"/>
              <a:t>Click to edit Master title style</a:t>
            </a:r>
          </a:p>
        </p:txBody>
      </p:sp>
      <p:sp>
        <p:nvSpPr>
          <p:cNvPr id="6" name="Text Placeholder 11">
            <a:extLst>
              <a:ext uri="{FF2B5EF4-FFF2-40B4-BE49-F238E27FC236}">
                <a16:creationId xmlns:a16="http://schemas.microsoft.com/office/drawing/2014/main" id="{3EED3B19-C935-EDE7-8D9F-378102570704}"/>
              </a:ext>
            </a:extLst>
          </p:cNvPr>
          <p:cNvSpPr>
            <a:spLocks noGrp="1"/>
          </p:cNvSpPr>
          <p:nvPr>
            <p:ph type="body" sz="quarter" idx="17" hasCustomPrompt="1"/>
          </p:nvPr>
        </p:nvSpPr>
        <p:spPr>
          <a:xfrm>
            <a:off x="584200" y="506558"/>
            <a:ext cx="8248650" cy="215444"/>
          </a:xfrm>
        </p:spPr>
        <p:txBody>
          <a:bodyPr anchor="t"/>
          <a:lstStyle>
            <a:lvl1pPr marL="0" indent="0">
              <a:spcBef>
                <a:spcPts val="0"/>
              </a:spcBef>
              <a:buNone/>
              <a:defRPr kumimoji="0" lang="en-US" sz="1400" b="1" i="0" u="none" strike="noStrike" kern="1200" cap="all" spc="150" normalizeH="0" baseline="0" dirty="0">
                <a:ln w="3175">
                  <a:noFill/>
                </a:ln>
                <a:solidFill>
                  <a:schemeClr val="tx1"/>
                </a:solidFill>
                <a:effectLst/>
                <a:uLnTx/>
                <a:uFillTx/>
                <a:latin typeface="Segoe UI"/>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Click to edit text styles</a:t>
            </a:r>
          </a:p>
        </p:txBody>
      </p:sp>
    </p:spTree>
    <p:extLst>
      <p:ext uri="{BB962C8B-B14F-4D97-AF65-F5344CB8AC3E}">
        <p14:creationId xmlns:p14="http://schemas.microsoft.com/office/powerpoint/2010/main" val="23031400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1+#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35" presetClass="path" presetSubtype="0" accel="50000" decel="50000" fill="hold" grpId="1" nodeType="withEffect">
                                  <p:stCondLst>
                                    <p:cond delay="500"/>
                                  </p:stCondLst>
                                  <p:childTnLst>
                                    <p:animMotion origin="layout" path="M 0.01966 2.59259E-6 L -1.04167E-6 2.59259E-6 " pathEditMode="relative" rAng="0" ptsTypes="AA">
                                      <p:cBhvr>
                                        <p:cTn id="17" dur="1000" fill="hold"/>
                                        <p:tgtEl>
                                          <p:spTgt spid="8"/>
                                        </p:tgtEl>
                                        <p:attrNameLst>
                                          <p:attrName>ppt_x</p:attrName>
                                          <p:attrName>ppt_y</p:attrName>
                                        </p:attrNameLst>
                                      </p:cBhvr>
                                      <p:rCtr x="-977" y="0"/>
                                    </p:animMotion>
                                  </p:childTnLst>
                                </p:cTn>
                              </p:par>
                              <p:par>
                                <p:cTn id="18" presetID="10" presetClass="entr" presetSubtype="0" fill="hold" grpId="0" nodeType="withEffect">
                                  <p:stCondLst>
                                    <p:cond delay="75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35" presetClass="path" presetSubtype="0" accel="50000" decel="50000" fill="hold" grpId="1" nodeType="withEffect">
                                  <p:stCondLst>
                                    <p:cond delay="750"/>
                                  </p:stCondLst>
                                  <p:childTnLst>
                                    <p:animMotion origin="layout" path="M 0.01966 -2.59259E-6 L -1.04167E-6 -2.59259E-6 " pathEditMode="relative" rAng="0" ptsTypes="AA">
                                      <p:cBhvr>
                                        <p:cTn id="22" dur="1000" fill="hold"/>
                                        <p:tgtEl>
                                          <p:spTgt spid="9"/>
                                        </p:tgtEl>
                                        <p:attrNameLst>
                                          <p:attrName>ppt_x</p:attrName>
                                          <p:attrName>ppt_y</p:attrName>
                                        </p:attrNameLst>
                                      </p:cBhvr>
                                      <p:rCtr x="-977" y="0"/>
                                    </p:animMotion>
                                  </p:childTnLst>
                                </p:cTn>
                              </p:par>
                              <p:par>
                                <p:cTn id="23" presetID="10" presetClass="entr" presetSubtype="0" fill="hold" grpId="0" nodeType="withEffect">
                                  <p:stCondLst>
                                    <p:cond delay="100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35" presetClass="path" presetSubtype="0" accel="50000" decel="50000" fill="hold" grpId="1" nodeType="withEffect">
                                  <p:stCondLst>
                                    <p:cond delay="1000"/>
                                  </p:stCondLst>
                                  <p:childTnLst>
                                    <p:animMotion origin="layout" path="M 0.01966 3.7037E-6 L -1.04167E-6 3.7037E-6 " pathEditMode="relative" rAng="0" ptsTypes="AA">
                                      <p:cBhvr>
                                        <p:cTn id="27" dur="1000" fill="hold"/>
                                        <p:tgtEl>
                                          <p:spTgt spid="10"/>
                                        </p:tgtEl>
                                        <p:attrNameLst>
                                          <p:attrName>ppt_x</p:attrName>
                                          <p:attrName>ppt_y</p:attrName>
                                        </p:attrNameLst>
                                      </p:cBhvr>
                                      <p:rCtr x="-977" y="0"/>
                                    </p:animMotion>
                                  </p:childTnLst>
                                </p:cTn>
                              </p:par>
                              <p:par>
                                <p:cTn id="28" presetID="10" presetClass="entr" presetSubtype="0" fill="hold" grpId="0" nodeType="withEffect">
                                  <p:stCondLst>
                                    <p:cond delay="100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par>
                                <p:cTn id="31" presetID="35" presetClass="path" presetSubtype="0" accel="50000" decel="50000" fill="hold" grpId="1" nodeType="withEffect">
                                  <p:stCondLst>
                                    <p:cond delay="1000"/>
                                  </p:stCondLst>
                                  <p:childTnLst>
                                    <p:animMotion origin="layout" path="M 0.01966 3.7037E-6 L -1.04167E-6 3.7037E-6 " pathEditMode="relative" rAng="0" ptsTypes="AA">
                                      <p:cBhvr>
                                        <p:cTn id="32" dur="1000" fill="hold"/>
                                        <p:tgtEl>
                                          <p:spTgt spid="11"/>
                                        </p:tgtEl>
                                        <p:attrNameLst>
                                          <p:attrName>ppt_x</p:attrName>
                                          <p:attrName>ppt_y</p:attrName>
                                        </p:attrNameLst>
                                      </p:cBhvr>
                                      <p:rCtr x="-97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tmplLst>
          <p:tmpl>
            <p:tnLst>
              <p:par>
                <p:cTn presetID="10" presetClass="entr" presetSubtype="0" fill="hold" nodeType="withEffect">
                  <p:stCondLst>
                    <p:cond delay="50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8" grpId="1"/>
      <p:bldP spid="9" grpId="0">
        <p:tmplLst>
          <p:tmpl>
            <p:tnLst>
              <p:par>
                <p:cTn presetID="10" presetClass="entr" presetSubtype="0" fill="hold" nodeType="withEffect">
                  <p:stCondLst>
                    <p:cond delay="75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P spid="9" grpId="1"/>
      <p:bldP spid="10" grpId="0">
        <p:tmplLst>
          <p:tmpl>
            <p:tnLst>
              <p:par>
                <p:cTn presetID="10" presetClass="entr" presetSubtype="0" fill="hold" nodeType="withEffect">
                  <p:stCondLst>
                    <p:cond delay="10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0" grpId="1"/>
      <p:bldP spid="11" grpId="0">
        <p:tmplLst>
          <p:tmpl>
            <p:tnLst>
              <p:par>
                <p:cTn presetID="10" presetClass="entr" presetSubtype="0" fill="hold" nodeType="withEffect">
                  <p:stCondLst>
                    <p:cond delay="100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bldP spid="5" grpId="0" animBg="1"/>
      <p:bldP spid="7" grpId="0" animBg="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Differentiator">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A429D88A-22EB-011F-7ED7-060B15FEFB77}"/>
              </a:ext>
            </a:extLst>
          </p:cNvPr>
          <p:cNvSpPr/>
          <p:nvPr userDrawn="1"/>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0049257" cy="553998"/>
          </a:xfrm>
        </p:spPr>
        <p:txBody>
          <a:bodyPr/>
          <a:lstStyle/>
          <a:p>
            <a:r>
              <a:rPr lang="en-US"/>
              <a:t>Click to edit Master title style</a:t>
            </a:r>
          </a:p>
        </p:txBody>
      </p:sp>
      <p:sp>
        <p:nvSpPr>
          <p:cNvPr id="5" name="Rectangle: Top Corners Rounded 4">
            <a:extLst>
              <a:ext uri="{FF2B5EF4-FFF2-40B4-BE49-F238E27FC236}">
                <a16:creationId xmlns:a16="http://schemas.microsoft.com/office/drawing/2014/main" id="{EB6C96E3-B02C-43AF-E658-428651FA4007}"/>
              </a:ext>
              <a:ext uri="{C183D7F6-B498-43B3-948B-1728B52AA6E4}">
                <adec:decorative xmlns:adec="http://schemas.microsoft.com/office/drawing/2017/decorative" val="1"/>
              </a:ext>
            </a:extLst>
          </p:cNvPr>
          <p:cNvSpPr/>
          <p:nvPr/>
        </p:nvSpPr>
        <p:spPr bwMode="auto">
          <a:xfrm rot="16200000">
            <a:off x="6043852" y="370871"/>
            <a:ext cx="4584831" cy="7711465"/>
          </a:xfrm>
          <a:prstGeom prst="round2SameRect">
            <a:avLst>
              <a:gd name="adj1" fmla="val 4036"/>
              <a:gd name="adj2" fmla="val 0"/>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Picture Placeholder 56">
            <a:extLst>
              <a:ext uri="{FF2B5EF4-FFF2-40B4-BE49-F238E27FC236}">
                <a16:creationId xmlns:a16="http://schemas.microsoft.com/office/drawing/2014/main" id="{CCCF1159-71BD-D20F-FE78-8963CB64A557}"/>
              </a:ext>
            </a:extLst>
          </p:cNvPr>
          <p:cNvSpPr>
            <a:spLocks noGrp="1"/>
          </p:cNvSpPr>
          <p:nvPr>
            <p:ph type="pic" sz="quarter" idx="18" hasCustomPrompt="1"/>
          </p:nvPr>
        </p:nvSpPr>
        <p:spPr>
          <a:xfrm>
            <a:off x="4668706" y="2111725"/>
            <a:ext cx="7516368" cy="4233672"/>
          </a:xfrm>
          <a:prstGeom prst="rect">
            <a:avLst/>
          </a:prstGeom>
          <a:solidFill>
            <a:schemeClr val="bg1"/>
          </a:solidFill>
        </p:spPr>
        <p:txBody>
          <a:bodyPr bIns="91440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a:solidFill>
                  <a:schemeClr val="tx1"/>
                </a:solidFill>
                <a:latin typeface="+mn-lt"/>
                <a:ea typeface="+mn-ea"/>
                <a:cs typeface="Segoe UI" panose="020B0502040204020203" pitchFamily="34" charset="0"/>
              </a:defRPr>
            </a:lvl1pPr>
          </a:lstStyle>
          <a:p>
            <a:r>
              <a:rPr lang="en-US"/>
              <a:t>Click on the icon to add Image</a:t>
            </a:r>
          </a:p>
        </p:txBody>
      </p:sp>
      <p:sp>
        <p:nvSpPr>
          <p:cNvPr id="15" name="Text Placeholder 11">
            <a:extLst>
              <a:ext uri="{FF2B5EF4-FFF2-40B4-BE49-F238E27FC236}">
                <a16:creationId xmlns:a16="http://schemas.microsoft.com/office/drawing/2014/main" id="{03477E80-CAE1-DD42-1452-AC0602594CD6}"/>
              </a:ext>
            </a:extLst>
          </p:cNvPr>
          <p:cNvSpPr>
            <a:spLocks noGrp="1"/>
          </p:cNvSpPr>
          <p:nvPr>
            <p:ph type="body" sz="quarter" idx="26" hasCustomPrompt="1"/>
          </p:nvPr>
        </p:nvSpPr>
        <p:spPr>
          <a:xfrm>
            <a:off x="588263" y="2248382"/>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3" name="Text Placeholder 11">
            <a:extLst>
              <a:ext uri="{FF2B5EF4-FFF2-40B4-BE49-F238E27FC236}">
                <a16:creationId xmlns:a16="http://schemas.microsoft.com/office/drawing/2014/main" id="{921799A4-6F69-314E-AB6C-21AF43931173}"/>
              </a:ext>
            </a:extLst>
          </p:cNvPr>
          <p:cNvSpPr>
            <a:spLocks noGrp="1"/>
          </p:cNvSpPr>
          <p:nvPr>
            <p:ph type="body" sz="quarter" idx="27" hasCustomPrompt="1"/>
          </p:nvPr>
        </p:nvSpPr>
        <p:spPr>
          <a:xfrm>
            <a:off x="588263" y="3370394"/>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4" name="Text Placeholder 11">
            <a:extLst>
              <a:ext uri="{FF2B5EF4-FFF2-40B4-BE49-F238E27FC236}">
                <a16:creationId xmlns:a16="http://schemas.microsoft.com/office/drawing/2014/main" id="{9937B16B-15DB-F73E-EE36-B1B53A27B635}"/>
              </a:ext>
            </a:extLst>
          </p:cNvPr>
          <p:cNvSpPr>
            <a:spLocks noGrp="1"/>
          </p:cNvSpPr>
          <p:nvPr>
            <p:ph type="body" sz="quarter" idx="28" hasCustomPrompt="1"/>
          </p:nvPr>
        </p:nvSpPr>
        <p:spPr>
          <a:xfrm>
            <a:off x="588263" y="449240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5" name="Text Placeholder 11">
            <a:extLst>
              <a:ext uri="{FF2B5EF4-FFF2-40B4-BE49-F238E27FC236}">
                <a16:creationId xmlns:a16="http://schemas.microsoft.com/office/drawing/2014/main" id="{16DC85F3-18EB-D068-EC58-7955B00F0855}"/>
              </a:ext>
            </a:extLst>
          </p:cNvPr>
          <p:cNvSpPr>
            <a:spLocks noGrp="1"/>
          </p:cNvSpPr>
          <p:nvPr>
            <p:ph type="body" sz="quarter" idx="29" hasCustomPrompt="1"/>
          </p:nvPr>
        </p:nvSpPr>
        <p:spPr>
          <a:xfrm>
            <a:off x="588263" y="561441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7" name="Picture Placeholder 56">
            <a:extLst>
              <a:ext uri="{FF2B5EF4-FFF2-40B4-BE49-F238E27FC236}">
                <a16:creationId xmlns:a16="http://schemas.microsoft.com/office/drawing/2014/main" id="{E260874D-C856-B7DE-F08E-FC4D3EF7BCE2}"/>
              </a:ext>
            </a:extLst>
          </p:cNvPr>
          <p:cNvSpPr>
            <a:spLocks noGrp="1"/>
          </p:cNvSpPr>
          <p:nvPr>
            <p:ph type="pic" sz="quarter" idx="30" hasCustomPrompt="1"/>
          </p:nvPr>
        </p:nvSpPr>
        <p:spPr>
          <a:xfrm>
            <a:off x="10916944" y="293237"/>
            <a:ext cx="927394" cy="927392"/>
          </a:xfrm>
          <a:prstGeom prst="rect">
            <a:avLst/>
          </a:prstGeom>
        </p:spPr>
        <p:txBody>
          <a:bodyPr wrap="none" anchor="ctr">
            <a:noAutofit/>
          </a:bodyPr>
          <a:lstStyle>
            <a:lvl1pPr marL="0" indent="0" algn="ctr">
              <a:buNone/>
              <a:defRPr sz="1600">
                <a:latin typeface="+mj-lt"/>
              </a:defRPr>
            </a:lvl1pPr>
          </a:lstStyle>
          <a:p>
            <a:r>
              <a:rPr lang="en-US"/>
              <a:t>Add icon/</a:t>
            </a:r>
            <a:br>
              <a:rPr lang="en-US"/>
            </a:br>
            <a:r>
              <a:rPr lang="en-US"/>
              <a:t>logo here</a:t>
            </a:r>
          </a:p>
        </p:txBody>
      </p:sp>
    </p:spTree>
    <p:extLst>
      <p:ext uri="{BB962C8B-B14F-4D97-AF65-F5344CB8AC3E}">
        <p14:creationId xmlns:p14="http://schemas.microsoft.com/office/powerpoint/2010/main" val="254751286"/>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lternate Screen Layout">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DD1DFA42-D058-78B6-F8BB-CC21A3B6DBBF}"/>
              </a:ext>
            </a:extLst>
          </p:cNvPr>
          <p:cNvSpPr/>
          <p:nvPr userDrawn="1"/>
        </p:nvSpPr>
        <p:spPr bwMode="auto">
          <a:xfrm>
            <a:off x="0" y="-1"/>
            <a:ext cx="12192000" cy="6858000"/>
          </a:xfrm>
          <a:custGeom>
            <a:avLst/>
            <a:gdLst>
              <a:gd name="connsiteX0" fmla="*/ 1 w 12192000"/>
              <a:gd name="connsiteY0" fmla="*/ 2204720 h 6858000"/>
              <a:gd name="connsiteX1" fmla="*/ 1 w 12192000"/>
              <a:gd name="connsiteY1" fmla="*/ 6857996 h 6858000"/>
              <a:gd name="connsiteX2" fmla="*/ 7965440 w 12192000"/>
              <a:gd name="connsiteY2" fmla="*/ 6857996 h 6858000"/>
              <a:gd name="connsiteX3" fmla="*/ 7965440 w 12192000"/>
              <a:gd name="connsiteY3" fmla="*/ 2398855 h 6858000"/>
              <a:gd name="connsiteX4" fmla="*/ 7771305 w 12192000"/>
              <a:gd name="connsiteY4" fmla="*/ 2204720 h 6858000"/>
              <a:gd name="connsiteX5" fmla="*/ 0 w 12192000"/>
              <a:gd name="connsiteY5" fmla="*/ 0 h 6858000"/>
              <a:gd name="connsiteX6" fmla="*/ 8153400 w 12192000"/>
              <a:gd name="connsiteY6" fmla="*/ 0 h 6858000"/>
              <a:gd name="connsiteX7" fmla="*/ 12192000 w 12192000"/>
              <a:gd name="connsiteY7" fmla="*/ 0 h 6858000"/>
              <a:gd name="connsiteX8" fmla="*/ 12192000 w 12192000"/>
              <a:gd name="connsiteY8" fmla="*/ 6858000 h 6858000"/>
              <a:gd name="connsiteX9" fmla="*/ 8153400 w 12192000"/>
              <a:gd name="connsiteY9" fmla="*/ 6858000 h 6858000"/>
              <a:gd name="connsiteX10" fmla="*/ 0 w 1219200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0">
                <a:moveTo>
                  <a:pt x="1" y="2204720"/>
                </a:moveTo>
                <a:lnTo>
                  <a:pt x="1" y="6857996"/>
                </a:lnTo>
                <a:lnTo>
                  <a:pt x="7965440" y="6857996"/>
                </a:lnTo>
                <a:lnTo>
                  <a:pt x="7965440" y="2398855"/>
                </a:lnTo>
                <a:cubicBezTo>
                  <a:pt x="7965440" y="2291637"/>
                  <a:pt x="7878523" y="2204720"/>
                  <a:pt x="7771305" y="2204720"/>
                </a:cubicBezTo>
                <a:close/>
                <a:moveTo>
                  <a:pt x="0" y="0"/>
                </a:moveTo>
                <a:lnTo>
                  <a:pt x="8153400" y="0"/>
                </a:lnTo>
                <a:lnTo>
                  <a:pt x="12192000" y="0"/>
                </a:lnTo>
                <a:lnTo>
                  <a:pt x="12192000" y="6858000"/>
                </a:lnTo>
                <a:lnTo>
                  <a:pt x="8153400" y="6858000"/>
                </a:lnTo>
                <a:lnTo>
                  <a:pt x="0" y="6858000"/>
                </a:lnTo>
                <a:close/>
              </a:path>
            </a:pathLst>
          </a:custGeom>
          <a:solidFill>
            <a:schemeClr val="bg1"/>
          </a:solidFill>
          <a:ln w="15875">
            <a:noFill/>
            <a:headEnd type="none" w="med" len="med"/>
            <a:tailEnd type="none" w="med" len="med"/>
          </a:ln>
          <a:effectLst>
            <a:outerShdw blurRad="279400" sx="102000" sy="102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4" name="Freeform: Shape 3">
            <a:extLst>
              <a:ext uri="{FF2B5EF4-FFF2-40B4-BE49-F238E27FC236}">
                <a16:creationId xmlns:a16="http://schemas.microsoft.com/office/drawing/2014/main" id="{CA4BEBF2-68E8-9F0C-C6A7-57CEFFDF4719}"/>
              </a:ext>
            </a:extLst>
          </p:cNvPr>
          <p:cNvSpPr/>
          <p:nvPr userDrawn="1"/>
        </p:nvSpPr>
        <p:spPr bwMode="auto">
          <a:xfrm>
            <a:off x="0" y="0"/>
            <a:ext cx="12192000" cy="2610460"/>
          </a:xfrm>
          <a:custGeom>
            <a:avLst/>
            <a:gdLst>
              <a:gd name="connsiteX0" fmla="*/ 0 w 12192000"/>
              <a:gd name="connsiteY0" fmla="*/ 0 h 2610460"/>
              <a:gd name="connsiteX1" fmla="*/ 12192000 w 12192000"/>
              <a:gd name="connsiteY1" fmla="*/ 0 h 2610460"/>
              <a:gd name="connsiteX2" fmla="*/ 12192000 w 12192000"/>
              <a:gd name="connsiteY2" fmla="*/ 2610460 h 2610460"/>
              <a:gd name="connsiteX3" fmla="*/ 7965440 w 12192000"/>
              <a:gd name="connsiteY3" fmla="*/ 2610460 h 2610460"/>
              <a:gd name="connsiteX4" fmla="*/ 7965440 w 12192000"/>
              <a:gd name="connsiteY4" fmla="*/ 2436042 h 2610460"/>
              <a:gd name="connsiteX5" fmla="*/ 7731578 w 12192000"/>
              <a:gd name="connsiteY5" fmla="*/ 2202180 h 2610460"/>
              <a:gd name="connsiteX6" fmla="*/ 1 w 12192000"/>
              <a:gd name="connsiteY6" fmla="*/ 2202180 h 2610460"/>
              <a:gd name="connsiteX7" fmla="*/ 1 w 12192000"/>
              <a:gd name="connsiteY7" fmla="*/ 2610460 h 2610460"/>
              <a:gd name="connsiteX8" fmla="*/ 0 w 12192000"/>
              <a:gd name="connsiteY8" fmla="*/ 2610460 h 2610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2610460">
                <a:moveTo>
                  <a:pt x="0" y="0"/>
                </a:moveTo>
                <a:lnTo>
                  <a:pt x="12192000" y="0"/>
                </a:lnTo>
                <a:lnTo>
                  <a:pt x="12192000" y="2610460"/>
                </a:lnTo>
                <a:lnTo>
                  <a:pt x="7965440" y="2610460"/>
                </a:lnTo>
                <a:lnTo>
                  <a:pt x="7965440" y="2436042"/>
                </a:lnTo>
                <a:cubicBezTo>
                  <a:pt x="7965440" y="2306884"/>
                  <a:pt x="7860736" y="2202180"/>
                  <a:pt x="7731578" y="2202180"/>
                </a:cubicBezTo>
                <a:lnTo>
                  <a:pt x="1" y="2202180"/>
                </a:lnTo>
                <a:lnTo>
                  <a:pt x="1" y="2610460"/>
                </a:lnTo>
                <a:lnTo>
                  <a:pt x="0" y="261046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6" name="Rectangle: Single Corner Rounded 5">
            <a:extLst>
              <a:ext uri="{FF2B5EF4-FFF2-40B4-BE49-F238E27FC236}">
                <a16:creationId xmlns:a16="http://schemas.microsoft.com/office/drawing/2014/main" id="{C13EC120-D262-139D-DB70-6DC1B67B31EC}"/>
              </a:ext>
              <a:ext uri="{C183D7F6-B498-43B3-948B-1728B52AA6E4}">
                <adec:decorative xmlns:adec="http://schemas.microsoft.com/office/drawing/2017/decorative" val="1"/>
              </a:ext>
            </a:extLst>
          </p:cNvPr>
          <p:cNvSpPr/>
          <p:nvPr/>
        </p:nvSpPr>
        <p:spPr bwMode="auto">
          <a:xfrm rot="5400000" flipH="1">
            <a:off x="1650999" y="716278"/>
            <a:ext cx="4490723" cy="7792720"/>
          </a:xfrm>
          <a:prstGeom prst="round1Rect">
            <a:avLst>
              <a:gd name="adj" fmla="val 3941"/>
            </a:avLst>
          </a:prstGeom>
          <a:solidFill>
            <a:schemeClr val="tx1">
              <a:lumMod val="85000"/>
              <a:lumOff val="15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Top Corners Rounded 7">
            <a:extLst>
              <a:ext uri="{FF2B5EF4-FFF2-40B4-BE49-F238E27FC236}">
                <a16:creationId xmlns:a16="http://schemas.microsoft.com/office/drawing/2014/main" id="{1F94872B-5B1A-EB54-4008-468F16FAF2E4}"/>
              </a:ext>
            </a:extLst>
          </p:cNvPr>
          <p:cNvSpPr/>
          <p:nvPr userDrawn="1"/>
        </p:nvSpPr>
        <p:spPr bwMode="auto">
          <a:xfrm rot="10800000">
            <a:off x="293687" y="-1"/>
            <a:ext cx="1249362" cy="1910236"/>
          </a:xfrm>
          <a:prstGeom prst="round2SameRect">
            <a:avLst>
              <a:gd name="adj1" fmla="val 50000"/>
              <a:gd name="adj2" fmla="val 0"/>
            </a:avLst>
          </a:pr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4BDA439A-FD63-4563-8EEF-7F05ACFD010F}"/>
              </a:ext>
            </a:extLst>
          </p:cNvPr>
          <p:cNvSpPr/>
          <p:nvPr userDrawn="1"/>
        </p:nvSpPr>
        <p:spPr bwMode="auto">
          <a:xfrm>
            <a:off x="413224" y="780450"/>
            <a:ext cx="1010286" cy="101028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a:xfrm>
            <a:off x="1836735" y="731595"/>
            <a:ext cx="9770048" cy="55399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EFE3B4FE-D208-9C2E-578F-0187912D69C9}"/>
              </a:ext>
            </a:extLst>
          </p:cNvPr>
          <p:cNvSpPr>
            <a:spLocks noGrp="1"/>
          </p:cNvSpPr>
          <p:nvPr userDrawn="1">
            <p:ph type="body" sz="quarter" idx="11" hasCustomPrompt="1"/>
          </p:nvPr>
        </p:nvSpPr>
        <p:spPr>
          <a:xfrm>
            <a:off x="436560" y="-1"/>
            <a:ext cx="963616" cy="892471"/>
          </a:xfrm>
          <a:custGeom>
            <a:avLst/>
            <a:gdLst>
              <a:gd name="connsiteX0" fmla="*/ 0 w 963616"/>
              <a:gd name="connsiteY0" fmla="*/ 0 h 892471"/>
              <a:gd name="connsiteX1" fmla="*/ 963616 w 963616"/>
              <a:gd name="connsiteY1" fmla="*/ 0 h 892471"/>
              <a:gd name="connsiteX2" fmla="*/ 963616 w 963616"/>
              <a:gd name="connsiteY2" fmla="*/ 892471 h 892471"/>
              <a:gd name="connsiteX3" fmla="*/ 923523 w 963616"/>
              <a:gd name="connsiteY3" fmla="*/ 843878 h 892471"/>
              <a:gd name="connsiteX4" fmla="*/ 481807 w 963616"/>
              <a:gd name="connsiteY4" fmla="*/ 660913 h 892471"/>
              <a:gd name="connsiteX5" fmla="*/ 40091 w 963616"/>
              <a:gd name="connsiteY5" fmla="*/ 843878 h 892471"/>
              <a:gd name="connsiteX6" fmla="*/ 0 w 963616"/>
              <a:gd name="connsiteY6" fmla="*/ 892468 h 89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3616" h="892471">
                <a:moveTo>
                  <a:pt x="0" y="0"/>
                </a:moveTo>
                <a:lnTo>
                  <a:pt x="963616" y="0"/>
                </a:lnTo>
                <a:lnTo>
                  <a:pt x="963616" y="892471"/>
                </a:lnTo>
                <a:lnTo>
                  <a:pt x="923523" y="843878"/>
                </a:lnTo>
                <a:cubicBezTo>
                  <a:pt x="810478" y="730833"/>
                  <a:pt x="654308" y="660913"/>
                  <a:pt x="481807" y="660913"/>
                </a:cubicBezTo>
                <a:cubicBezTo>
                  <a:pt x="309306" y="660913"/>
                  <a:pt x="153136" y="730833"/>
                  <a:pt x="40091" y="843878"/>
                </a:cubicBezTo>
                <a:lnTo>
                  <a:pt x="0" y="892468"/>
                </a:lnTo>
                <a:close/>
              </a:path>
            </a:pathLst>
          </a:custGeom>
          <a:solidFill>
            <a:schemeClr val="bg2"/>
          </a:solidFill>
        </p:spPr>
        <p:txBody>
          <a:bodyPr wrap="square" tIns="91440">
            <a:noAutofit/>
          </a:bodyPr>
          <a:lstStyle>
            <a:lvl1pPr marL="0" indent="0" algn="ctr">
              <a:buNone/>
              <a:defRPr kumimoji="0" lang="en-US" sz="2400" b="1" i="0" u="none" strike="noStrike" kern="0" cap="all" spc="0" normalizeH="0" baseline="0" dirty="0">
                <a:ln>
                  <a:noFill/>
                </a:ln>
                <a:solidFill>
                  <a:srgbClr val="FFFFFF"/>
                </a:solidFill>
                <a:effectLst/>
                <a:uLnTx/>
                <a:uFillTx/>
                <a:latin typeface="Segoe UI Semibold" panose="020B0502040204020203" pitchFamily="34" charset="0"/>
                <a:ea typeface="+mn-ea"/>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NEW</a:t>
            </a:r>
          </a:p>
        </p:txBody>
      </p:sp>
      <p:sp>
        <p:nvSpPr>
          <p:cNvPr id="23" name="Picture Placeholder 56">
            <a:extLst>
              <a:ext uri="{FF2B5EF4-FFF2-40B4-BE49-F238E27FC236}">
                <a16:creationId xmlns:a16="http://schemas.microsoft.com/office/drawing/2014/main" id="{2F7848A5-D4DF-727B-AC27-6B3F24B6C4E3}"/>
              </a:ext>
            </a:extLst>
          </p:cNvPr>
          <p:cNvSpPr>
            <a:spLocks noGrp="1"/>
          </p:cNvSpPr>
          <p:nvPr>
            <p:ph type="pic" sz="quarter" idx="17" hasCustomPrompt="1"/>
          </p:nvPr>
        </p:nvSpPr>
        <p:spPr>
          <a:xfrm>
            <a:off x="413222" y="780450"/>
            <a:ext cx="1010287" cy="1010287"/>
          </a:xfrm>
          <a:prstGeom prst="ellipse">
            <a:avLst/>
          </a:prstGeom>
        </p:spPr>
        <p:txBody>
          <a:bodyPr wrap="none" anchor="ctr">
            <a:noAutofit/>
          </a:bodyPr>
          <a:lstStyle>
            <a:lvl1pPr marL="0" indent="0" algn="ctr">
              <a:buNone/>
              <a:defRPr sz="1100">
                <a:latin typeface="+mj-lt"/>
              </a:defRPr>
            </a:lvl1pPr>
          </a:lstStyle>
          <a:p>
            <a:r>
              <a:rPr lang="en-US"/>
              <a:t>Product Logo</a:t>
            </a:r>
            <a:br>
              <a:rPr lang="en-US"/>
            </a:br>
            <a:r>
              <a:rPr lang="en-US"/>
              <a:t>here</a:t>
            </a:r>
          </a:p>
        </p:txBody>
      </p:sp>
      <p:sp>
        <p:nvSpPr>
          <p:cNvPr id="24" name="Text Placeholder 11">
            <a:extLst>
              <a:ext uri="{FF2B5EF4-FFF2-40B4-BE49-F238E27FC236}">
                <a16:creationId xmlns:a16="http://schemas.microsoft.com/office/drawing/2014/main" id="{B2FE68DC-314D-7B0B-1425-10D93CFE740D}"/>
              </a:ext>
            </a:extLst>
          </p:cNvPr>
          <p:cNvSpPr>
            <a:spLocks noGrp="1"/>
          </p:cNvSpPr>
          <p:nvPr>
            <p:ph type="body" sz="quarter" idx="16" hasCustomPrompt="1"/>
          </p:nvPr>
        </p:nvSpPr>
        <p:spPr>
          <a:xfrm>
            <a:off x="8300718" y="2954878"/>
            <a:ext cx="3310128" cy="3314159"/>
          </a:xfrm>
        </p:spPr>
        <p:txBody>
          <a:bodyPr anchor="t"/>
          <a:lstStyle>
            <a:lvl1pPr marL="0" indent="0">
              <a:spcBef>
                <a:spcPts val="0"/>
              </a:spcBef>
              <a:buNone/>
              <a:defRPr kumimoji="0" lang="en-US" sz="2800" b="0" i="0" u="none" strike="noStrike" kern="1200" cap="none" spc="0" normalizeH="0" baseline="0" dirty="0">
                <a:ln>
                  <a:noFill/>
                </a:ln>
                <a:solidFill>
                  <a:srgbClr val="000000"/>
                </a:solidFill>
                <a:effectLst/>
                <a:uLnTx/>
                <a:uFillTx/>
                <a:latin typeface="Segoe UI Semibold" panose="020B0502040204020203" pitchFamily="34" charset="0"/>
                <a:ea typeface="+mn-ea"/>
                <a:cs typeface="Segoe UI Semibold"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25" name="Picture Placeholder 56">
            <a:extLst>
              <a:ext uri="{FF2B5EF4-FFF2-40B4-BE49-F238E27FC236}">
                <a16:creationId xmlns:a16="http://schemas.microsoft.com/office/drawing/2014/main" id="{81B5CAC0-347D-D423-878E-E7325C9824D7}"/>
              </a:ext>
            </a:extLst>
          </p:cNvPr>
          <p:cNvSpPr>
            <a:spLocks noGrp="1"/>
          </p:cNvSpPr>
          <p:nvPr>
            <p:ph type="pic" sz="quarter" idx="18" hasCustomPrompt="1"/>
          </p:nvPr>
        </p:nvSpPr>
        <p:spPr>
          <a:xfrm>
            <a:off x="0" y="2606040"/>
            <a:ext cx="7562088" cy="4251960"/>
          </a:xfrm>
          <a:prstGeom prst="rect">
            <a:avLst/>
          </a:prstGeom>
          <a:solidFill>
            <a:schemeClr val="bg1"/>
          </a:solidFill>
        </p:spPr>
        <p:txBody>
          <a:bodyPr anchor="ctr">
            <a:noAutofit/>
          </a:bodyPr>
          <a:lstStyle>
            <a:lvl1pPr marL="0" indent="0" algn="ctr">
              <a:buNone/>
              <a:defRPr sz="3600">
                <a:latin typeface="+mj-lt"/>
              </a:defRPr>
            </a:lvl1pPr>
          </a:lstStyle>
          <a:p>
            <a:r>
              <a:rPr lang="en-US"/>
              <a:t>Image</a:t>
            </a:r>
          </a:p>
        </p:txBody>
      </p:sp>
    </p:spTree>
    <p:extLst>
      <p:ext uri="{BB962C8B-B14F-4D97-AF65-F5344CB8AC3E}">
        <p14:creationId xmlns:p14="http://schemas.microsoft.com/office/powerpoint/2010/main" val="17761677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anim calcmode="lin" valueType="num">
                                      <p:cBhvr>
                                        <p:cTn id="8" dur="750" fill="hold"/>
                                        <p:tgtEl>
                                          <p:spTgt spid="2"/>
                                        </p:tgtEl>
                                        <p:attrNameLst>
                                          <p:attrName>ppt_x</p:attrName>
                                        </p:attrNameLst>
                                      </p:cBhvr>
                                      <p:tavLst>
                                        <p:tav tm="0">
                                          <p:val>
                                            <p:strVal val="#ppt_x"/>
                                          </p:val>
                                        </p:tav>
                                        <p:tav tm="100000">
                                          <p:val>
                                            <p:strVal val="#ppt_x"/>
                                          </p:val>
                                        </p:tav>
                                      </p:tavLst>
                                    </p:anim>
                                    <p:anim calcmode="lin" valueType="num">
                                      <p:cBhvr>
                                        <p:cTn id="9" dur="75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2" presetClass="entr" presetSubtype="8"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0-#ppt_w/2"/>
                                          </p:val>
                                        </p:tav>
                                        <p:tav tm="100000">
                                          <p:val>
                                            <p:strVal val="#ppt_x"/>
                                          </p:val>
                                        </p:tav>
                                      </p:tavLst>
                                    </p:anim>
                                    <p:anim calcmode="lin" valueType="num">
                                      <p:cBhvr additive="base">
                                        <p:cTn id="14" dur="500" fill="hold"/>
                                        <p:tgtEl>
                                          <p:spTgt spid="6"/>
                                        </p:tgtEl>
                                        <p:attrNameLst>
                                          <p:attrName>ppt_y</p:attrName>
                                        </p:attrNameLst>
                                      </p:cBhvr>
                                      <p:tavLst>
                                        <p:tav tm="0">
                                          <p:val>
                                            <p:strVal val="#ppt_y"/>
                                          </p:val>
                                        </p:tav>
                                        <p:tav tm="100000">
                                          <p:val>
                                            <p:strVal val="#ppt_y"/>
                                          </p:val>
                                        </p:tav>
                                      </p:tavLst>
                                    </p:anim>
                                  </p:childTnLst>
                                </p:cTn>
                              </p:par>
                              <p:par>
                                <p:cTn id="15" presetID="2" presetClass="entr" presetSubtype="8"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anim calcmode="lin" valueType="num">
                                      <p:cBhvr additive="base">
                                        <p:cTn id="17" dur="500" fill="hold"/>
                                        <p:tgtEl>
                                          <p:spTgt spid="25"/>
                                        </p:tgtEl>
                                        <p:attrNameLst>
                                          <p:attrName>ppt_x</p:attrName>
                                        </p:attrNameLst>
                                      </p:cBhvr>
                                      <p:tavLst>
                                        <p:tav tm="0">
                                          <p:val>
                                            <p:strVal val="0-#ppt_w/2"/>
                                          </p:val>
                                        </p:tav>
                                        <p:tav tm="100000">
                                          <p:val>
                                            <p:strVal val="#ppt_x"/>
                                          </p:val>
                                        </p:tav>
                                      </p:tavLst>
                                    </p:anim>
                                    <p:anim calcmode="lin" valueType="num">
                                      <p:cBhvr additive="base">
                                        <p:cTn id="18" dur="500" fill="hold"/>
                                        <p:tgtEl>
                                          <p:spTgt spid="25"/>
                                        </p:tgtEl>
                                        <p:attrNameLst>
                                          <p:attrName>ppt_y</p:attrName>
                                        </p:attrNameLst>
                                      </p:cBhvr>
                                      <p:tavLst>
                                        <p:tav tm="0">
                                          <p:val>
                                            <p:strVal val="#ppt_y"/>
                                          </p:val>
                                        </p:tav>
                                        <p:tav tm="100000">
                                          <p:val>
                                            <p:strVal val="#ppt_y"/>
                                          </p:val>
                                        </p:tav>
                                      </p:tavLst>
                                    </p:anim>
                                  </p:childTnLst>
                                </p:cTn>
                              </p:par>
                            </p:childTnLst>
                          </p:cTn>
                        </p:par>
                        <p:par>
                          <p:cTn id="19" fill="hold">
                            <p:stCondLst>
                              <p:cond delay="1250"/>
                            </p:stCondLst>
                            <p:childTnLst>
                              <p:par>
                                <p:cTn id="20" presetID="10" presetClass="entr" presetSubtype="0" fill="hold" grpId="0" nodeType="after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p:bldP spid="24" grpId="0">
        <p:tmplLst>
          <p:tmpl>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25" grpId="0" animBg="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3">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2" name="Picture 1" descr="A close up of a corner of a paper&#10;&#10;AI-generated content may be incorrect.">
            <a:extLst>
              <a:ext uri="{FF2B5EF4-FFF2-40B4-BE49-F238E27FC236}">
                <a16:creationId xmlns:a16="http://schemas.microsoft.com/office/drawing/2014/main" id="{9D1D243A-BEC8-31C0-957B-7041D1ECEAB7}"/>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39669" t="-3489" r="308" b="5012"/>
          <a:stretch>
            <a:fillRect/>
          </a:stretch>
        </p:blipFill>
        <p:spPr>
          <a:xfrm rot="10800000" flipH="1" flipV="1">
            <a:off x="5931363" y="3132150"/>
            <a:ext cx="6260637" cy="3725849"/>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0" name="Title Placeholder 1">
            <a:extLst>
              <a:ext uri="{FF2B5EF4-FFF2-40B4-BE49-F238E27FC236}">
                <a16:creationId xmlns:a16="http://schemas.microsoft.com/office/drawing/2014/main" id="{A88E3D19-2226-DDC2-A8D5-813993AE86C9}"/>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802955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screen and content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82F3D7B-1BC4-E114-E44D-072C61AD3FED}"/>
              </a:ext>
            </a:extLst>
          </p:cNvPr>
          <p:cNvSpPr/>
          <p:nvPr userDrawn="1"/>
        </p:nvSpPr>
        <p:spPr bwMode="auto">
          <a:xfrm>
            <a:off x="0" y="0"/>
            <a:ext cx="12192000" cy="304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136A4F99-F341-DF50-80CE-F261B53E446B}"/>
              </a:ext>
            </a:extLst>
          </p:cNvPr>
          <p:cNvSpPr/>
          <p:nvPr userDrawn="1"/>
        </p:nvSpPr>
        <p:spPr bwMode="auto">
          <a:xfrm>
            <a:off x="4181475" y="2703513"/>
            <a:ext cx="114646" cy="2432843"/>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 name="Rectangle: Rounded Corners 6">
            <a:extLst>
              <a:ext uri="{FF2B5EF4-FFF2-40B4-BE49-F238E27FC236}">
                <a16:creationId xmlns:a16="http://schemas.microsoft.com/office/drawing/2014/main" id="{66288643-B48D-1CEE-A40E-7E07616C0D2D}"/>
              </a:ext>
            </a:extLst>
          </p:cNvPr>
          <p:cNvSpPr/>
          <p:nvPr userDrawn="1"/>
        </p:nvSpPr>
        <p:spPr bwMode="auto">
          <a:xfrm>
            <a:off x="7899059" y="2703513"/>
            <a:ext cx="114646" cy="2432843"/>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9" name="Rectangle: Rounded Corners 8">
            <a:extLst>
              <a:ext uri="{FF2B5EF4-FFF2-40B4-BE49-F238E27FC236}">
                <a16:creationId xmlns:a16="http://schemas.microsoft.com/office/drawing/2014/main" id="{D40B6E9E-FEAA-DAB2-3414-CD4D3AC135ED}"/>
              </a:ext>
            </a:extLst>
          </p:cNvPr>
          <p:cNvSpPr/>
          <p:nvPr userDrawn="1"/>
        </p:nvSpPr>
        <p:spPr bwMode="auto">
          <a:xfrm rot="16200000">
            <a:off x="8698942" y="690007"/>
            <a:ext cx="2229469" cy="3591422"/>
          </a:xfrm>
          <a:prstGeom prst="roundRect">
            <a:avLst>
              <a:gd name="adj" fmla="val 5706"/>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85" name="Text Placeholder 84">
            <a:extLst>
              <a:ext uri="{FF2B5EF4-FFF2-40B4-BE49-F238E27FC236}">
                <a16:creationId xmlns:a16="http://schemas.microsoft.com/office/drawing/2014/main" id="{6EEC7E33-4A50-440B-DFEF-F40BBD5D0B5B}"/>
              </a:ext>
            </a:extLst>
          </p:cNvPr>
          <p:cNvSpPr>
            <a:spLocks noGrp="1"/>
          </p:cNvSpPr>
          <p:nvPr>
            <p:ph type="body" sz="quarter" idx="13"/>
          </p:nvPr>
        </p:nvSpPr>
        <p:spPr>
          <a:xfrm>
            <a:off x="662791" y="3665219"/>
            <a:ext cx="3368881" cy="307777"/>
          </a:xfrm>
        </p:spPr>
        <p:txBody>
          <a:bodyPr anchor="t"/>
          <a:lstStyle>
            <a:lvl1pPr marL="0" indent="0">
              <a:buNone/>
              <a:defRPr kumimoji="0" lang="en-IN" sz="2000" b="0" i="0" u="none" strike="noStrike" kern="0" cap="none" spc="0" normalizeH="0" baseline="0" dirty="0">
                <a:ln w="3175">
                  <a:noFill/>
                </a:ln>
                <a:solidFill>
                  <a:schemeClr val="bg2"/>
                </a:solidFill>
                <a:effectLst/>
                <a:uLnTx/>
                <a:uFillTx/>
                <a:latin typeface="+mj-lt"/>
                <a:ea typeface="+mn-ea"/>
                <a:cs typeface="Segoe UI"/>
              </a:defRPr>
            </a:lvl1pPr>
          </a:lstStyle>
          <a:p>
            <a:pPr lvl="0"/>
            <a:endParaRPr lang="en-IN"/>
          </a:p>
        </p:txBody>
      </p:sp>
      <p:sp>
        <p:nvSpPr>
          <p:cNvPr id="93" name="Text Placeholder 92">
            <a:extLst>
              <a:ext uri="{FF2B5EF4-FFF2-40B4-BE49-F238E27FC236}">
                <a16:creationId xmlns:a16="http://schemas.microsoft.com/office/drawing/2014/main" id="{BBF39F04-BAEF-085D-9E35-75F0F4DE3953}"/>
              </a:ext>
            </a:extLst>
          </p:cNvPr>
          <p:cNvSpPr>
            <a:spLocks noGrp="1"/>
          </p:cNvSpPr>
          <p:nvPr>
            <p:ph type="body" sz="quarter" idx="17"/>
          </p:nvPr>
        </p:nvSpPr>
        <p:spPr>
          <a:xfrm>
            <a:off x="4394155" y="3665219"/>
            <a:ext cx="3443410" cy="307777"/>
          </a:xfrm>
        </p:spPr>
        <p:txBody>
          <a:bodyPr/>
          <a:lstStyle>
            <a:lvl1pPr marL="0" indent="0">
              <a:buNone/>
              <a:defRPr kumimoji="0" lang="en-IN" sz="2000" b="0" i="0" u="none" strike="noStrike" kern="0" cap="none" spc="0" normalizeH="0" baseline="0" dirty="0">
                <a:ln w="3175">
                  <a:noFill/>
                </a:ln>
                <a:solidFill>
                  <a:schemeClr val="bg2"/>
                </a:solidFill>
                <a:effectLst/>
                <a:uLnTx/>
                <a:uFillTx/>
                <a:latin typeface="+mj-lt"/>
                <a:ea typeface="+mn-ea"/>
                <a:cs typeface="Segoe UI"/>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IN"/>
          </a:p>
        </p:txBody>
      </p:sp>
      <p:sp>
        <p:nvSpPr>
          <p:cNvPr id="95" name="Text Placeholder 94">
            <a:extLst>
              <a:ext uri="{FF2B5EF4-FFF2-40B4-BE49-F238E27FC236}">
                <a16:creationId xmlns:a16="http://schemas.microsoft.com/office/drawing/2014/main" id="{397D4455-F581-7C3A-5390-03E7BA70B44B}"/>
              </a:ext>
            </a:extLst>
          </p:cNvPr>
          <p:cNvSpPr>
            <a:spLocks noGrp="1"/>
          </p:cNvSpPr>
          <p:nvPr>
            <p:ph type="body" sz="quarter" idx="18"/>
          </p:nvPr>
        </p:nvSpPr>
        <p:spPr>
          <a:xfrm>
            <a:off x="8139093" y="3665219"/>
            <a:ext cx="3390116" cy="307777"/>
          </a:xfrm>
        </p:spPr>
        <p:txBody>
          <a:bodyPr/>
          <a:lstStyle>
            <a:lvl1pPr marL="0" indent="0">
              <a:buNone/>
              <a:defRPr kumimoji="0" lang="en-IN" sz="2000" b="0" i="0" u="none" strike="noStrike" kern="0" cap="none" spc="0" normalizeH="0" baseline="0" dirty="0">
                <a:ln w="3175">
                  <a:noFill/>
                </a:ln>
                <a:solidFill>
                  <a:schemeClr val="bg2"/>
                </a:solidFill>
                <a:effectLst/>
                <a:uLnTx/>
                <a:uFillTx/>
                <a:latin typeface="+mj-lt"/>
                <a:ea typeface="+mn-ea"/>
                <a:cs typeface="Segoe UI"/>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IN"/>
          </a:p>
        </p:txBody>
      </p:sp>
      <p:sp>
        <p:nvSpPr>
          <p:cNvPr id="87" name="Text Placeholder 86">
            <a:extLst>
              <a:ext uri="{FF2B5EF4-FFF2-40B4-BE49-F238E27FC236}">
                <a16:creationId xmlns:a16="http://schemas.microsoft.com/office/drawing/2014/main" id="{B63800A0-A7A9-B0CC-405A-3275959E8545}"/>
              </a:ext>
            </a:extLst>
          </p:cNvPr>
          <p:cNvSpPr>
            <a:spLocks noGrp="1"/>
          </p:cNvSpPr>
          <p:nvPr>
            <p:ph type="body" sz="quarter" idx="14"/>
          </p:nvPr>
        </p:nvSpPr>
        <p:spPr>
          <a:xfrm>
            <a:off x="662791" y="4146517"/>
            <a:ext cx="3355234" cy="276999"/>
          </a:xfrm>
        </p:spPr>
        <p:txBody>
          <a:bodyPr>
            <a:spAutoFit/>
          </a:bodyPr>
          <a:lstStyle>
            <a:lvl1pPr marL="0" indent="0">
              <a:buNone/>
              <a:defRPr kumimoji="0" lang="en-IN" sz="1800" b="0" i="0" u="none" strike="noStrike" kern="1200" cap="none" spc="0" normalizeH="0" baseline="0" dirty="0">
                <a:ln w="3175">
                  <a:noFill/>
                </a:ln>
                <a:solidFill>
                  <a:srgbClr val="000000"/>
                </a:solidFill>
                <a:effectLst/>
                <a:uLnTx/>
                <a:uFillTx/>
                <a:latin typeface="Segoe UI"/>
                <a:ea typeface="+mn-ea"/>
                <a:cs typeface="Segoe UI"/>
              </a:defRPr>
            </a:lvl1pPr>
          </a:lstStyle>
          <a:p>
            <a:pPr lvl="0"/>
            <a:endParaRPr lang="en-IN"/>
          </a:p>
        </p:txBody>
      </p:sp>
      <p:sp>
        <p:nvSpPr>
          <p:cNvPr id="89" name="Text Placeholder 88">
            <a:extLst>
              <a:ext uri="{FF2B5EF4-FFF2-40B4-BE49-F238E27FC236}">
                <a16:creationId xmlns:a16="http://schemas.microsoft.com/office/drawing/2014/main" id="{3ECA340A-6DEC-B917-980A-E3DBCB4C0F95}"/>
              </a:ext>
            </a:extLst>
          </p:cNvPr>
          <p:cNvSpPr>
            <a:spLocks noGrp="1"/>
          </p:cNvSpPr>
          <p:nvPr>
            <p:ph type="body" sz="quarter" idx="15"/>
          </p:nvPr>
        </p:nvSpPr>
        <p:spPr>
          <a:xfrm>
            <a:off x="4394155" y="4146517"/>
            <a:ext cx="3355234" cy="276999"/>
          </a:xfrm>
        </p:spPr>
        <p:txBody>
          <a:bodyPr>
            <a:spAutoFit/>
          </a:bodyPr>
          <a:lstStyle>
            <a:lvl1pPr marL="0" indent="0">
              <a:buNone/>
              <a:defRPr kumimoji="0" lang="en-IN" sz="1800" b="0" i="0" u="none" strike="noStrike" kern="1200" cap="none" spc="0" normalizeH="0" baseline="0" dirty="0">
                <a:ln w="3175">
                  <a:noFill/>
                </a:ln>
                <a:solidFill>
                  <a:srgbClr val="000000"/>
                </a:solidFill>
                <a:effectLst/>
                <a:uLnTx/>
                <a:uFillTx/>
                <a:latin typeface="Segoe UI"/>
                <a:ea typeface="+mn-ea"/>
                <a:cs typeface="Segoe UI"/>
              </a:defRPr>
            </a:lvl1pPr>
          </a:lstStyle>
          <a:p>
            <a:pPr lvl="0"/>
            <a:endParaRPr lang="en-IN"/>
          </a:p>
        </p:txBody>
      </p:sp>
      <p:sp>
        <p:nvSpPr>
          <p:cNvPr id="91" name="Text Placeholder 90">
            <a:extLst>
              <a:ext uri="{FF2B5EF4-FFF2-40B4-BE49-F238E27FC236}">
                <a16:creationId xmlns:a16="http://schemas.microsoft.com/office/drawing/2014/main" id="{BFDAA7AC-C0C8-BA21-8452-454E77EB15DF}"/>
              </a:ext>
            </a:extLst>
          </p:cNvPr>
          <p:cNvSpPr>
            <a:spLocks noGrp="1"/>
          </p:cNvSpPr>
          <p:nvPr>
            <p:ph type="body" sz="quarter" idx="16"/>
          </p:nvPr>
        </p:nvSpPr>
        <p:spPr>
          <a:xfrm>
            <a:off x="8139093" y="4146516"/>
            <a:ext cx="3355234" cy="276999"/>
          </a:xfrm>
        </p:spPr>
        <p:txBody>
          <a:bodyPr>
            <a:spAutoFit/>
          </a:bodyPr>
          <a:lstStyle>
            <a:lvl1pPr marL="0" indent="0">
              <a:buNone/>
              <a:defRPr kumimoji="0" lang="en-IN" sz="1800" b="0" i="0" u="none" strike="noStrike" kern="1200" cap="none" spc="0" normalizeH="0" baseline="0" dirty="0">
                <a:ln w="3175">
                  <a:noFill/>
                </a:ln>
                <a:solidFill>
                  <a:srgbClr val="000000"/>
                </a:solidFill>
                <a:effectLst/>
                <a:uLnTx/>
                <a:uFillTx/>
                <a:latin typeface="Segoe UI"/>
                <a:ea typeface="+mn-ea"/>
                <a:cs typeface="Segoe UI"/>
              </a:defRPr>
            </a:lvl1pPr>
          </a:lstStyle>
          <a:p>
            <a:pPr lvl="0"/>
            <a:endParaRPr lang="en-IN"/>
          </a:p>
        </p:txBody>
      </p:sp>
      <mc:AlternateContent xmlns:mc="http://schemas.openxmlformats.org/markup-compatibility/2006" xmlns:pslz="http://schemas.microsoft.com/office/powerpoint/2016/slidezoom">
        <mc:Choice Requires="pslz">
          <p:graphicFrame>
            <p:nvGraphicFramePr>
              <p:cNvPr id="42" name="Slide Zoom 41">
                <a:extLst>
                  <a:ext uri="{FF2B5EF4-FFF2-40B4-BE49-F238E27FC236}">
                    <a16:creationId xmlns:a16="http://schemas.microsoft.com/office/drawing/2014/main" id="{29BC9AE0-4E4D-1216-579A-F3BE85773AE2}"/>
                  </a:ext>
                </a:extLst>
              </p:cNvPr>
              <p:cNvGraphicFramePr>
                <a:graphicFrameLocks noChangeAspect="1"/>
              </p:cNvGraphicFramePr>
              <p:nvPr userDrawn="1"/>
            </p:nvGraphicFramePr>
            <p:xfrm>
              <a:off x="724069" y="1562012"/>
              <a:ext cx="3171793" cy="1784134"/>
            </p:xfrm>
            <a:graphic>
              <a:graphicData uri="http://schemas.microsoft.com/office/powerpoint/2016/slidezoom">
                <pslz:sldZm>
                  <pslz:sldZmObj sldId="2147479606" cId="658539043">
                    <pslz:zmPr id="{F9C9E222-E46E-42BE-81BF-0089E53DD17D}" returnToParent="0" transitionDur="1000">
                      <p166:blipFill xmlns:p166="http://schemas.microsoft.com/office/powerpoint/2016/6/main">
                        <a:blip r:embed="rId2"/>
                        <a:stretch>
                          <a:fillRect/>
                        </a:stretch>
                      </p166:blipFill>
                      <p166:spPr xmlns:p166="http://schemas.microsoft.com/office/powerpoint/2016/6/main">
                        <a:xfrm>
                          <a:off x="0" y="0"/>
                          <a:ext cx="3171793" cy="1784134"/>
                        </a:xfrm>
                        <a:prstGeom prst="rect">
                          <a:avLst/>
                        </a:prstGeom>
                        <a:ln w="3175">
                          <a:solidFill>
                            <a:prstClr val="ltGray"/>
                          </a:solidFill>
                        </a:ln>
                      </p166:spPr>
                    </pslz:zmPr>
                  </pslz:sldZmObj>
                </pslz:sldZm>
              </a:graphicData>
            </a:graphic>
          </p:graphicFrame>
        </mc:Choice>
        <mc:Fallback xmlns="">
          <p:pic>
            <p:nvPicPr>
              <p:cNvPr id="42" name="Slide Zoom 41">
                <a:extLst>
                  <a:ext uri="{FF2B5EF4-FFF2-40B4-BE49-F238E27FC236}">
                    <a16:creationId xmlns:a16="http://schemas.microsoft.com/office/drawing/2014/main" id="{29BC9AE0-4E4D-1216-579A-F3BE85773AE2}"/>
                  </a:ext>
                </a:extLst>
              </p:cNvPr>
              <p:cNvPicPr>
                <a:picLocks noGrp="1" noRot="1" noChangeAspect="1" noMove="1" noResize="1" noEditPoints="1" noAdjustHandles="1" noChangeArrowheads="1" noChangeShapeType="1"/>
              </p:cNvPicPr>
              <p:nvPr/>
            </p:nvPicPr>
            <p:blipFill>
              <a:blip r:embed="rId3"/>
              <a:stretch>
                <a:fillRect/>
              </a:stretch>
            </p:blipFill>
            <p:spPr>
              <a:xfrm>
                <a:off x="724069" y="1562012"/>
                <a:ext cx="3171793" cy="1784134"/>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43" name="Slide Zoom 42">
                <a:extLst>
                  <a:ext uri="{FF2B5EF4-FFF2-40B4-BE49-F238E27FC236}">
                    <a16:creationId xmlns:a16="http://schemas.microsoft.com/office/drawing/2014/main" id="{CA3698A5-9779-F0CC-BF2F-8A08BC466AA1}"/>
                  </a:ext>
                </a:extLst>
              </p:cNvPr>
              <p:cNvGraphicFramePr>
                <a:graphicFrameLocks noChangeAspect="1"/>
              </p:cNvGraphicFramePr>
              <p:nvPr userDrawn="1"/>
            </p:nvGraphicFramePr>
            <p:xfrm>
              <a:off x="4511625" y="1562012"/>
              <a:ext cx="3171793" cy="1784134"/>
            </p:xfrm>
            <a:graphic>
              <a:graphicData uri="http://schemas.microsoft.com/office/powerpoint/2016/slidezoom">
                <pslz:sldZm>
                  <pslz:sldZmObj sldId="2147479608" cId="1631586915">
                    <pslz:zmPr id="{7E544481-FBD8-4AA0-9C61-9349447BE0AA}" returnToParent="0" transitionDur="1000">
                      <p166:blipFill xmlns:p166="http://schemas.microsoft.com/office/powerpoint/2016/6/main">
                        <a:blip r:embed="rId3"/>
                        <a:stretch>
                          <a:fillRect/>
                        </a:stretch>
                      </p166:blipFill>
                      <p166:spPr xmlns:p166="http://schemas.microsoft.com/office/powerpoint/2016/6/main">
                        <a:xfrm>
                          <a:off x="0" y="0"/>
                          <a:ext cx="3171793" cy="1784134"/>
                        </a:xfrm>
                        <a:prstGeom prst="rect">
                          <a:avLst/>
                        </a:prstGeom>
                        <a:ln w="3175">
                          <a:solidFill>
                            <a:prstClr val="ltGray"/>
                          </a:solidFill>
                        </a:ln>
                      </p166:spPr>
                    </pslz:zmPr>
                  </pslz:sldZmObj>
                </pslz:sldZm>
              </a:graphicData>
            </a:graphic>
          </p:graphicFrame>
        </mc:Choice>
        <mc:Fallback xmlns="">
          <p:pic>
            <p:nvPicPr>
              <p:cNvPr id="43" name="Slide Zoom 42">
                <a:extLst>
                  <a:ext uri="{FF2B5EF4-FFF2-40B4-BE49-F238E27FC236}">
                    <a16:creationId xmlns:a16="http://schemas.microsoft.com/office/drawing/2014/main" id="{CA3698A5-9779-F0CC-BF2F-8A08BC466AA1}"/>
                  </a:ext>
                </a:extLst>
              </p:cNvPr>
              <p:cNvPicPr>
                <a:picLocks noGrp="1" noRot="1" noChangeAspect="1" noMove="1" noResize="1" noEditPoints="1" noAdjustHandles="1" noChangeArrowheads="1" noChangeShapeType="1"/>
              </p:cNvPicPr>
              <p:nvPr/>
            </p:nvPicPr>
            <p:blipFill>
              <a:blip r:embed="rId3"/>
              <a:stretch>
                <a:fillRect/>
              </a:stretch>
            </p:blipFill>
            <p:spPr>
              <a:xfrm>
                <a:off x="4511625" y="1562012"/>
                <a:ext cx="3171793" cy="1784134"/>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44" name="Slide Zoom 43">
                <a:extLst>
                  <a:ext uri="{FF2B5EF4-FFF2-40B4-BE49-F238E27FC236}">
                    <a16:creationId xmlns:a16="http://schemas.microsoft.com/office/drawing/2014/main" id="{C14B3C69-9942-78D0-3AC5-5FAD6F5A1516}"/>
                  </a:ext>
                </a:extLst>
              </p:cNvPr>
              <p:cNvGraphicFramePr>
                <a:graphicFrameLocks noChangeAspect="1"/>
              </p:cNvGraphicFramePr>
              <p:nvPr userDrawn="1"/>
            </p:nvGraphicFramePr>
            <p:xfrm>
              <a:off x="8299181" y="1562012"/>
              <a:ext cx="3171793" cy="1784134"/>
            </p:xfrm>
            <a:graphic>
              <a:graphicData uri="http://schemas.microsoft.com/office/powerpoint/2016/slidezoom">
                <pslz:sldZm>
                  <pslz:sldZmObj sldId="2147479609" cId="166691253">
                    <pslz:zmPr id="{CA650E4E-AC93-4C42-A422-75278447703D}" returnToParent="0" transitionDur="1000">
                      <p166:blipFill xmlns:p166="http://schemas.microsoft.com/office/powerpoint/2016/6/main">
                        <a:blip r:embed="rId3"/>
                        <a:stretch>
                          <a:fillRect/>
                        </a:stretch>
                      </p166:blipFill>
                      <p166:spPr xmlns:p166="http://schemas.microsoft.com/office/powerpoint/2016/6/main">
                        <a:xfrm>
                          <a:off x="0" y="0"/>
                          <a:ext cx="3171793" cy="1784134"/>
                        </a:xfrm>
                        <a:prstGeom prst="rect">
                          <a:avLst/>
                        </a:prstGeom>
                        <a:ln w="3175">
                          <a:solidFill>
                            <a:prstClr val="ltGray"/>
                          </a:solidFill>
                        </a:ln>
                      </p166:spPr>
                    </pslz:zmPr>
                  </pslz:sldZmObj>
                </pslz:sldZm>
              </a:graphicData>
            </a:graphic>
          </p:graphicFrame>
        </mc:Choice>
        <mc:Fallback xmlns="">
          <p:pic>
            <p:nvPicPr>
              <p:cNvPr id="44" name="Slide Zoom 43">
                <a:extLst>
                  <a:ext uri="{FF2B5EF4-FFF2-40B4-BE49-F238E27FC236}">
                    <a16:creationId xmlns:a16="http://schemas.microsoft.com/office/drawing/2014/main" id="{C14B3C69-9942-78D0-3AC5-5FAD6F5A1516}"/>
                  </a:ext>
                </a:extLst>
              </p:cNvPr>
              <p:cNvPicPr>
                <a:picLocks noGrp="1" noRot="1" noChangeAspect="1" noMove="1" noResize="1" noEditPoints="1" noAdjustHandles="1" noChangeArrowheads="1" noChangeShapeType="1"/>
              </p:cNvPicPr>
              <p:nvPr/>
            </p:nvPicPr>
            <p:blipFill>
              <a:blip r:embed="rId3"/>
              <a:stretch>
                <a:fillRect/>
              </a:stretch>
            </p:blipFill>
            <p:spPr>
              <a:xfrm>
                <a:off x="8299181" y="1562012"/>
                <a:ext cx="3171793" cy="1784134"/>
              </a:xfrm>
              <a:prstGeom prst="rect">
                <a:avLst/>
              </a:prstGeom>
              <a:ln w="3175">
                <a:solidFill>
                  <a:prstClr val="ltGray"/>
                </a:solidFill>
              </a:ln>
            </p:spPr>
          </p:pic>
        </mc:Fallback>
      </mc:AlternateContent>
      <p:sp>
        <p:nvSpPr>
          <p:cNvPr id="46" name="Rectangle: Rounded Corners 45">
            <a:extLst>
              <a:ext uri="{FF2B5EF4-FFF2-40B4-BE49-F238E27FC236}">
                <a16:creationId xmlns:a16="http://schemas.microsoft.com/office/drawing/2014/main" id="{85A62B3E-CCC8-77E8-8F43-CA265F874D97}"/>
              </a:ext>
            </a:extLst>
          </p:cNvPr>
          <p:cNvSpPr/>
          <p:nvPr/>
        </p:nvSpPr>
        <p:spPr bwMode="auto">
          <a:xfrm rot="16200000">
            <a:off x="4984354" y="690004"/>
            <a:ext cx="2229468" cy="3591423"/>
          </a:xfrm>
          <a:prstGeom prst="roundRect">
            <a:avLst>
              <a:gd name="adj" fmla="val 5706"/>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48" name="Rectangle: Rounded Corners 47">
            <a:extLst>
              <a:ext uri="{FF2B5EF4-FFF2-40B4-BE49-F238E27FC236}">
                <a16:creationId xmlns:a16="http://schemas.microsoft.com/office/drawing/2014/main" id="{FF3A529F-CFF1-EF3D-35BC-1884977574C4}"/>
              </a:ext>
            </a:extLst>
          </p:cNvPr>
          <p:cNvSpPr/>
          <p:nvPr/>
        </p:nvSpPr>
        <p:spPr bwMode="auto">
          <a:xfrm rot="16200000">
            <a:off x="5070821" y="760950"/>
            <a:ext cx="2056534" cy="3443409"/>
          </a:xfrm>
          <a:prstGeom prst="roundRect">
            <a:avLst>
              <a:gd name="adj" fmla="val 350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9" name="Media Placeholder 78">
            <a:extLst>
              <a:ext uri="{FF2B5EF4-FFF2-40B4-BE49-F238E27FC236}">
                <a16:creationId xmlns:a16="http://schemas.microsoft.com/office/drawing/2014/main" id="{457FB580-F66B-5A2B-3F23-02CA5D77AE95}"/>
              </a:ext>
            </a:extLst>
          </p:cNvPr>
          <p:cNvSpPr>
            <a:spLocks noGrp="1"/>
          </p:cNvSpPr>
          <p:nvPr>
            <p:ph type="media" sz="quarter" idx="11"/>
          </p:nvPr>
        </p:nvSpPr>
        <p:spPr>
          <a:xfrm>
            <a:off x="4512047" y="1588339"/>
            <a:ext cx="3171370" cy="1786299"/>
          </a:xfrm>
        </p:spPr>
        <p:txBody>
          <a:bodyPr/>
          <a:lstStyle>
            <a:lvl1pPr marL="0" indent="0">
              <a:buNone/>
              <a:defRPr/>
            </a:lvl1pPr>
          </a:lstStyle>
          <a:p>
            <a:endParaRPr lang="en-IN"/>
          </a:p>
        </p:txBody>
      </p:sp>
      <p:sp>
        <p:nvSpPr>
          <p:cNvPr id="51" name="Rectangle: Rounded Corners 50">
            <a:extLst>
              <a:ext uri="{FF2B5EF4-FFF2-40B4-BE49-F238E27FC236}">
                <a16:creationId xmlns:a16="http://schemas.microsoft.com/office/drawing/2014/main" id="{7DF54847-958F-DC6F-5318-4A8AFF8FD08A}"/>
              </a:ext>
            </a:extLst>
          </p:cNvPr>
          <p:cNvSpPr/>
          <p:nvPr/>
        </p:nvSpPr>
        <p:spPr bwMode="auto">
          <a:xfrm rot="16200000">
            <a:off x="8785411" y="760950"/>
            <a:ext cx="2056534" cy="3443409"/>
          </a:xfrm>
          <a:prstGeom prst="roundRect">
            <a:avLst>
              <a:gd name="adj" fmla="val 350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2" name="Media Placeholder 81">
            <a:extLst>
              <a:ext uri="{FF2B5EF4-FFF2-40B4-BE49-F238E27FC236}">
                <a16:creationId xmlns:a16="http://schemas.microsoft.com/office/drawing/2014/main" id="{B305445E-9369-8BB1-91B2-1BC5080F0D65}"/>
              </a:ext>
            </a:extLst>
          </p:cNvPr>
          <p:cNvSpPr>
            <a:spLocks noGrp="1"/>
          </p:cNvSpPr>
          <p:nvPr>
            <p:ph type="media" sz="quarter" idx="12"/>
          </p:nvPr>
        </p:nvSpPr>
        <p:spPr>
          <a:xfrm>
            <a:off x="8225820" y="1587289"/>
            <a:ext cx="3167094" cy="1790320"/>
          </a:xfrm>
        </p:spPr>
        <p:txBody>
          <a:bodyPr/>
          <a:lstStyle>
            <a:lvl1pPr marL="0" indent="0">
              <a:buNone/>
              <a:defRPr/>
            </a:lvl1pPr>
          </a:lstStyle>
          <a:p>
            <a:endParaRPr lang="en-IN"/>
          </a:p>
        </p:txBody>
      </p:sp>
      <p:sp>
        <p:nvSpPr>
          <p:cNvPr id="56" name="Rectangle: Rounded Corners 55">
            <a:extLst>
              <a:ext uri="{FF2B5EF4-FFF2-40B4-BE49-F238E27FC236}">
                <a16:creationId xmlns:a16="http://schemas.microsoft.com/office/drawing/2014/main" id="{3ABE8925-54D0-8ABB-BC29-F0839AC5378D}"/>
              </a:ext>
            </a:extLst>
          </p:cNvPr>
          <p:cNvSpPr/>
          <p:nvPr/>
        </p:nvSpPr>
        <p:spPr bwMode="auto">
          <a:xfrm rot="16200000">
            <a:off x="1269763" y="690006"/>
            <a:ext cx="2229469" cy="3591423"/>
          </a:xfrm>
          <a:prstGeom prst="roundRect">
            <a:avLst>
              <a:gd name="adj" fmla="val 5706"/>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58" name="Rectangle: Rounded Corners 57">
            <a:extLst>
              <a:ext uri="{FF2B5EF4-FFF2-40B4-BE49-F238E27FC236}">
                <a16:creationId xmlns:a16="http://schemas.microsoft.com/office/drawing/2014/main" id="{02D0A289-6ED5-0C5D-1256-A4B2E662C9AC}"/>
              </a:ext>
            </a:extLst>
          </p:cNvPr>
          <p:cNvSpPr/>
          <p:nvPr/>
        </p:nvSpPr>
        <p:spPr bwMode="auto">
          <a:xfrm rot="16200000">
            <a:off x="1356230" y="760950"/>
            <a:ext cx="2056534" cy="3443409"/>
          </a:xfrm>
          <a:prstGeom prst="roundRect">
            <a:avLst>
              <a:gd name="adj" fmla="val 350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6" name="Media Placeholder 75">
            <a:extLst>
              <a:ext uri="{FF2B5EF4-FFF2-40B4-BE49-F238E27FC236}">
                <a16:creationId xmlns:a16="http://schemas.microsoft.com/office/drawing/2014/main" id="{9AB7F340-92EA-7527-E247-13C41522CB66}"/>
              </a:ext>
            </a:extLst>
          </p:cNvPr>
          <p:cNvSpPr>
            <a:spLocks noGrp="1"/>
          </p:cNvSpPr>
          <p:nvPr>
            <p:ph type="media" sz="quarter" idx="10"/>
          </p:nvPr>
        </p:nvSpPr>
        <p:spPr>
          <a:xfrm>
            <a:off x="798856" y="1588138"/>
            <a:ext cx="3172832" cy="1768633"/>
          </a:xfrm>
        </p:spPr>
        <p:txBody>
          <a:bodyPr/>
          <a:lstStyle>
            <a:lvl1pPr marL="0" indent="0">
              <a:buNone/>
              <a:defRPr/>
            </a:lvl1pPr>
          </a:lstStyle>
          <a:p>
            <a:endParaRPr lang="en-IN"/>
          </a:p>
        </p:txBody>
      </p:sp>
      <p:sp>
        <p:nvSpPr>
          <p:cNvPr id="61" name="Arrow: U-Turn 60">
            <a:extLst>
              <a:ext uri="{FF2B5EF4-FFF2-40B4-BE49-F238E27FC236}">
                <a16:creationId xmlns:a16="http://schemas.microsoft.com/office/drawing/2014/main" id="{CA0CA29D-C88E-E858-8EA4-54B7CFABFDBB}"/>
              </a:ext>
            </a:extLst>
          </p:cNvPr>
          <p:cNvSpPr/>
          <p:nvPr/>
        </p:nvSpPr>
        <p:spPr bwMode="auto">
          <a:xfrm>
            <a:off x="585787" y="1364856"/>
            <a:ext cx="3595687" cy="881193"/>
          </a:xfrm>
          <a:prstGeom prst="uturnArrow">
            <a:avLst>
              <a:gd name="adj1" fmla="val 25000"/>
              <a:gd name="adj2" fmla="val 0"/>
              <a:gd name="adj3" fmla="val 25000"/>
              <a:gd name="adj4" fmla="val 13484"/>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2" name="Arrow: U-Turn 61">
            <a:extLst>
              <a:ext uri="{FF2B5EF4-FFF2-40B4-BE49-F238E27FC236}">
                <a16:creationId xmlns:a16="http://schemas.microsoft.com/office/drawing/2014/main" id="{3E4AF707-B4FD-72D9-6A34-44358369E2EA}"/>
              </a:ext>
            </a:extLst>
          </p:cNvPr>
          <p:cNvSpPr/>
          <p:nvPr/>
        </p:nvSpPr>
        <p:spPr bwMode="auto">
          <a:xfrm rot="10800000">
            <a:off x="4180628" y="2206625"/>
            <a:ext cx="114647" cy="2929730"/>
          </a:xfrm>
          <a:prstGeom prst="uturnArrow">
            <a:avLst>
              <a:gd name="adj1" fmla="val 25000"/>
              <a:gd name="adj2" fmla="val 0"/>
              <a:gd name="adj3" fmla="val 25000"/>
              <a:gd name="adj4" fmla="val 50000"/>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4" name="Arrow: U-Turn 63">
            <a:extLst>
              <a:ext uri="{FF2B5EF4-FFF2-40B4-BE49-F238E27FC236}">
                <a16:creationId xmlns:a16="http://schemas.microsoft.com/office/drawing/2014/main" id="{8DCD523F-E8CA-F239-6FE0-52F6C93C742B}"/>
              </a:ext>
            </a:extLst>
          </p:cNvPr>
          <p:cNvSpPr/>
          <p:nvPr/>
        </p:nvSpPr>
        <p:spPr bwMode="auto">
          <a:xfrm>
            <a:off x="4295276" y="1364856"/>
            <a:ext cx="3599524" cy="881193"/>
          </a:xfrm>
          <a:prstGeom prst="uturnArrow">
            <a:avLst>
              <a:gd name="adj1" fmla="val 25000"/>
              <a:gd name="adj2" fmla="val 0"/>
              <a:gd name="adj3" fmla="val 25000"/>
              <a:gd name="adj4" fmla="val 13484"/>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5" name="Arrow: U-Turn 64">
            <a:extLst>
              <a:ext uri="{FF2B5EF4-FFF2-40B4-BE49-F238E27FC236}">
                <a16:creationId xmlns:a16="http://schemas.microsoft.com/office/drawing/2014/main" id="{8367E8C1-A35D-8E6B-71E1-5942A87AFB0F}"/>
              </a:ext>
            </a:extLst>
          </p:cNvPr>
          <p:cNvSpPr/>
          <p:nvPr/>
        </p:nvSpPr>
        <p:spPr bwMode="auto">
          <a:xfrm rot="10800000">
            <a:off x="7899058" y="2206625"/>
            <a:ext cx="114647" cy="2929730"/>
          </a:xfrm>
          <a:prstGeom prst="uturnArrow">
            <a:avLst>
              <a:gd name="adj1" fmla="val 25000"/>
              <a:gd name="adj2" fmla="val 0"/>
              <a:gd name="adj3" fmla="val 25000"/>
              <a:gd name="adj4" fmla="val 50000"/>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6" name="Arrow: U-Turn 65">
            <a:extLst>
              <a:ext uri="{FF2B5EF4-FFF2-40B4-BE49-F238E27FC236}">
                <a16:creationId xmlns:a16="http://schemas.microsoft.com/office/drawing/2014/main" id="{E9E0CD78-F353-1FB4-2F3D-43015CC58D57}"/>
              </a:ext>
            </a:extLst>
          </p:cNvPr>
          <p:cNvSpPr/>
          <p:nvPr/>
        </p:nvSpPr>
        <p:spPr bwMode="auto">
          <a:xfrm>
            <a:off x="8013705" y="1364856"/>
            <a:ext cx="3599524" cy="881193"/>
          </a:xfrm>
          <a:prstGeom prst="uturnArrow">
            <a:avLst>
              <a:gd name="adj1" fmla="val 25000"/>
              <a:gd name="adj2" fmla="val 0"/>
              <a:gd name="adj3" fmla="val 25000"/>
              <a:gd name="adj4" fmla="val 13484"/>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8" name="Freeform: Shape 67">
            <a:extLst>
              <a:ext uri="{FF2B5EF4-FFF2-40B4-BE49-F238E27FC236}">
                <a16:creationId xmlns:a16="http://schemas.microsoft.com/office/drawing/2014/main" id="{2F918174-3ECF-8E0F-9EC5-6899ADC39CD5}"/>
              </a:ext>
            </a:extLst>
          </p:cNvPr>
          <p:cNvSpPr/>
          <p:nvPr/>
        </p:nvSpPr>
        <p:spPr bwMode="auto">
          <a:xfrm>
            <a:off x="11577638" y="2871789"/>
            <a:ext cx="176212" cy="252412"/>
          </a:xfrm>
          <a:custGeom>
            <a:avLst/>
            <a:gdLst>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30956 w 176212"/>
              <a:gd name="connsiteY0" fmla="*/ 0 h 252412"/>
              <a:gd name="connsiteX1" fmla="*/ 176212 w 176212"/>
              <a:gd name="connsiteY1" fmla="*/ 180975 h 252412"/>
              <a:gd name="connsiteX2" fmla="*/ 0 w 176212"/>
              <a:gd name="connsiteY2" fmla="*/ 252412 h 252412"/>
              <a:gd name="connsiteX3" fmla="*/ 30956 w 176212"/>
              <a:gd name="connsiteY3" fmla="*/ 0 h 252412"/>
            </a:gdLst>
            <a:ahLst/>
            <a:cxnLst>
              <a:cxn ang="0">
                <a:pos x="connsiteX0" y="connsiteY0"/>
              </a:cxn>
              <a:cxn ang="0">
                <a:pos x="connsiteX1" y="connsiteY1"/>
              </a:cxn>
              <a:cxn ang="0">
                <a:pos x="connsiteX2" y="connsiteY2"/>
              </a:cxn>
              <a:cxn ang="0">
                <a:pos x="connsiteX3" y="connsiteY3"/>
              </a:cxn>
            </a:cxnLst>
            <a:rect l="l" t="t" r="r" b="b"/>
            <a:pathLst>
              <a:path w="176212" h="252412">
                <a:moveTo>
                  <a:pt x="30956" y="0"/>
                </a:moveTo>
                <a:cubicBezTo>
                  <a:pt x="30162" y="127794"/>
                  <a:pt x="53181" y="179389"/>
                  <a:pt x="176212" y="180975"/>
                </a:cubicBezTo>
                <a:lnTo>
                  <a:pt x="0" y="252412"/>
                </a:lnTo>
                <a:cubicBezTo>
                  <a:pt x="1587" y="166687"/>
                  <a:pt x="5556" y="90487"/>
                  <a:pt x="309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0" name="Arrow: Bent 69">
            <a:extLst>
              <a:ext uri="{FF2B5EF4-FFF2-40B4-BE49-F238E27FC236}">
                <a16:creationId xmlns:a16="http://schemas.microsoft.com/office/drawing/2014/main" id="{12281D7F-A24A-F238-8CD4-18C53E8C9854}"/>
              </a:ext>
            </a:extLst>
          </p:cNvPr>
          <p:cNvSpPr/>
          <p:nvPr/>
        </p:nvSpPr>
        <p:spPr bwMode="auto">
          <a:xfrm rot="10800000" flipH="1">
            <a:off x="11613229" y="2246050"/>
            <a:ext cx="585787" cy="801949"/>
          </a:xfrm>
          <a:prstGeom prst="bentArrow">
            <a:avLst>
              <a:gd name="adj1" fmla="val 25000"/>
              <a:gd name="adj2" fmla="val 0"/>
              <a:gd name="adj3" fmla="val 25000"/>
              <a:gd name="adj4" fmla="val 1814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07F50652-835F-3081-B751-E38667398C22}"/>
              </a:ext>
            </a:extLst>
          </p:cNvPr>
          <p:cNvSpPr/>
          <p:nvPr/>
        </p:nvSpPr>
        <p:spPr bwMode="auto">
          <a:xfrm flipH="1">
            <a:off x="442912" y="2871789"/>
            <a:ext cx="176212" cy="252412"/>
          </a:xfrm>
          <a:custGeom>
            <a:avLst/>
            <a:gdLst>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30956 w 176212"/>
              <a:gd name="connsiteY0" fmla="*/ 0 h 252412"/>
              <a:gd name="connsiteX1" fmla="*/ 176212 w 176212"/>
              <a:gd name="connsiteY1" fmla="*/ 180975 h 252412"/>
              <a:gd name="connsiteX2" fmla="*/ 0 w 176212"/>
              <a:gd name="connsiteY2" fmla="*/ 252412 h 252412"/>
              <a:gd name="connsiteX3" fmla="*/ 30956 w 176212"/>
              <a:gd name="connsiteY3" fmla="*/ 0 h 252412"/>
            </a:gdLst>
            <a:ahLst/>
            <a:cxnLst>
              <a:cxn ang="0">
                <a:pos x="connsiteX0" y="connsiteY0"/>
              </a:cxn>
              <a:cxn ang="0">
                <a:pos x="connsiteX1" y="connsiteY1"/>
              </a:cxn>
              <a:cxn ang="0">
                <a:pos x="connsiteX2" y="connsiteY2"/>
              </a:cxn>
              <a:cxn ang="0">
                <a:pos x="connsiteX3" y="connsiteY3"/>
              </a:cxn>
            </a:cxnLst>
            <a:rect l="l" t="t" r="r" b="b"/>
            <a:pathLst>
              <a:path w="176212" h="252412">
                <a:moveTo>
                  <a:pt x="30956" y="0"/>
                </a:moveTo>
                <a:cubicBezTo>
                  <a:pt x="30162" y="127794"/>
                  <a:pt x="53181" y="179389"/>
                  <a:pt x="176212" y="180975"/>
                </a:cubicBezTo>
                <a:lnTo>
                  <a:pt x="0" y="252412"/>
                </a:lnTo>
                <a:cubicBezTo>
                  <a:pt x="1587" y="166687"/>
                  <a:pt x="5556" y="90487"/>
                  <a:pt x="309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Arrow: Bent 72">
            <a:extLst>
              <a:ext uri="{FF2B5EF4-FFF2-40B4-BE49-F238E27FC236}">
                <a16:creationId xmlns:a16="http://schemas.microsoft.com/office/drawing/2014/main" id="{E94895A6-A139-7521-26C6-B1655083251D}"/>
              </a:ext>
            </a:extLst>
          </p:cNvPr>
          <p:cNvSpPr/>
          <p:nvPr/>
        </p:nvSpPr>
        <p:spPr bwMode="auto">
          <a:xfrm rot="10800000">
            <a:off x="1" y="2246050"/>
            <a:ext cx="585787" cy="801949"/>
          </a:xfrm>
          <a:prstGeom prst="bentArrow">
            <a:avLst>
              <a:gd name="adj1" fmla="val 25000"/>
              <a:gd name="adj2" fmla="val 0"/>
              <a:gd name="adj3" fmla="val 25000"/>
              <a:gd name="adj4" fmla="val 1814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Title 59">
            <a:extLst>
              <a:ext uri="{FF2B5EF4-FFF2-40B4-BE49-F238E27FC236}">
                <a16:creationId xmlns:a16="http://schemas.microsoft.com/office/drawing/2014/main" id="{59641B11-4B97-D963-19A2-D81441F13E5E}"/>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20822803"/>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Screen Column and Content">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FC503D5B-C056-3F4D-8C12-A6E6EBC59339}"/>
              </a:ext>
            </a:extLst>
          </p:cNvPr>
          <p:cNvSpPr/>
          <p:nvPr userDrawn="1"/>
        </p:nvSpPr>
        <p:spPr bwMode="auto">
          <a:xfrm>
            <a:off x="-2" y="5165004"/>
            <a:ext cx="12192002" cy="1400896"/>
          </a:xfrm>
          <a:custGeom>
            <a:avLst/>
            <a:gdLst>
              <a:gd name="connsiteX0" fmla="*/ 36675 w 12192002"/>
              <a:gd name="connsiteY0" fmla="*/ 0 h 1400896"/>
              <a:gd name="connsiteX1" fmla="*/ 6011679 w 12192002"/>
              <a:gd name="connsiteY1" fmla="*/ 0 h 1400896"/>
              <a:gd name="connsiteX2" fmla="*/ 6011678 w 12192002"/>
              <a:gd name="connsiteY2" fmla="*/ 1019712 h 1400896"/>
              <a:gd name="connsiteX3" fmla="*/ 6096001 w 12192002"/>
              <a:gd name="connsiteY3" fmla="*/ 1104035 h 1400896"/>
              <a:gd name="connsiteX4" fmla="*/ 6180324 w 12192002"/>
              <a:gd name="connsiteY4" fmla="*/ 1019712 h 1400896"/>
              <a:gd name="connsiteX5" fmla="*/ 6180324 w 12192002"/>
              <a:gd name="connsiteY5" fmla="*/ 0 h 1400896"/>
              <a:gd name="connsiteX6" fmla="*/ 12155327 w 12192002"/>
              <a:gd name="connsiteY6" fmla="*/ 0 h 1400896"/>
              <a:gd name="connsiteX7" fmla="*/ 12192002 w 12192002"/>
              <a:gd name="connsiteY7" fmla="*/ 36675 h 1400896"/>
              <a:gd name="connsiteX8" fmla="*/ 12192002 w 12192002"/>
              <a:gd name="connsiteY8" fmla="*/ 1364221 h 1400896"/>
              <a:gd name="connsiteX9" fmla="*/ 12155327 w 12192002"/>
              <a:gd name="connsiteY9" fmla="*/ 1400896 h 1400896"/>
              <a:gd name="connsiteX10" fmla="*/ 36675 w 12192002"/>
              <a:gd name="connsiteY10" fmla="*/ 1400896 h 1400896"/>
              <a:gd name="connsiteX11" fmla="*/ 0 w 12192002"/>
              <a:gd name="connsiteY11" fmla="*/ 1364221 h 1400896"/>
              <a:gd name="connsiteX12" fmla="*/ 0 w 12192002"/>
              <a:gd name="connsiteY12" fmla="*/ 36675 h 1400896"/>
              <a:gd name="connsiteX13" fmla="*/ 36675 w 12192002"/>
              <a:gd name="connsiteY13" fmla="*/ 0 h 1400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2" h="1400896">
                <a:moveTo>
                  <a:pt x="36675" y="0"/>
                </a:moveTo>
                <a:lnTo>
                  <a:pt x="6011679" y="0"/>
                </a:lnTo>
                <a:lnTo>
                  <a:pt x="6011678" y="1019712"/>
                </a:lnTo>
                <a:cubicBezTo>
                  <a:pt x="6011678" y="1066282"/>
                  <a:pt x="6049431" y="1104035"/>
                  <a:pt x="6096001" y="1104035"/>
                </a:cubicBezTo>
                <a:cubicBezTo>
                  <a:pt x="6142571" y="1104035"/>
                  <a:pt x="6180324" y="1066282"/>
                  <a:pt x="6180324" y="1019712"/>
                </a:cubicBezTo>
                <a:lnTo>
                  <a:pt x="6180324" y="0"/>
                </a:lnTo>
                <a:lnTo>
                  <a:pt x="12155327" y="0"/>
                </a:lnTo>
                <a:cubicBezTo>
                  <a:pt x="12175582" y="0"/>
                  <a:pt x="12192002" y="16420"/>
                  <a:pt x="12192002" y="36675"/>
                </a:cubicBezTo>
                <a:lnTo>
                  <a:pt x="12192002" y="1364221"/>
                </a:lnTo>
                <a:cubicBezTo>
                  <a:pt x="12192002" y="1384476"/>
                  <a:pt x="12175582" y="1400896"/>
                  <a:pt x="12155327" y="1400896"/>
                </a:cubicBezTo>
                <a:lnTo>
                  <a:pt x="36675" y="1400896"/>
                </a:lnTo>
                <a:cubicBezTo>
                  <a:pt x="16420" y="1400896"/>
                  <a:pt x="0" y="1384476"/>
                  <a:pt x="0" y="1364221"/>
                </a:cubicBezTo>
                <a:lnTo>
                  <a:pt x="0" y="36675"/>
                </a:lnTo>
                <a:cubicBezTo>
                  <a:pt x="0" y="16420"/>
                  <a:pt x="16420" y="0"/>
                  <a:pt x="36675" y="0"/>
                </a:cubicBezTo>
                <a:close/>
              </a:path>
            </a:pathLst>
          </a:cu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pic>
        <p:nvPicPr>
          <p:cNvPr id="4" name="Picture 3">
            <a:extLst>
              <a:ext uri="{FF2B5EF4-FFF2-40B4-BE49-F238E27FC236}">
                <a16:creationId xmlns:a16="http://schemas.microsoft.com/office/drawing/2014/main" id="{D72A26A5-C5B7-9562-3265-D5087C9E26FC}"/>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923220" y="4627731"/>
            <a:ext cx="4885739" cy="144214"/>
          </a:xfrm>
          <a:prstGeom prst="rect">
            <a:avLst/>
          </a:prstGeom>
        </p:spPr>
      </p:pic>
      <p:pic>
        <p:nvPicPr>
          <p:cNvPr id="5" name="Picture 4">
            <a:extLst>
              <a:ext uri="{FF2B5EF4-FFF2-40B4-BE49-F238E27FC236}">
                <a16:creationId xmlns:a16="http://schemas.microsoft.com/office/drawing/2014/main" id="{1BD0F005-167D-F1EC-2537-88AA08FC33F3}"/>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6383043" y="4627731"/>
            <a:ext cx="4885739" cy="144214"/>
          </a:xfrm>
          <a:prstGeom prst="rect">
            <a:avLst/>
          </a:prstGeom>
        </p:spPr>
      </p:pic>
      <p:sp>
        <p:nvSpPr>
          <p:cNvPr id="6" name="Arrow: Bent 5">
            <a:extLst>
              <a:ext uri="{FF2B5EF4-FFF2-40B4-BE49-F238E27FC236}">
                <a16:creationId xmlns:a16="http://schemas.microsoft.com/office/drawing/2014/main" id="{73A992C2-080E-6BC6-2EEE-86D02AF8B24C}"/>
              </a:ext>
            </a:extLst>
          </p:cNvPr>
          <p:cNvSpPr/>
          <p:nvPr userDrawn="1"/>
        </p:nvSpPr>
        <p:spPr bwMode="auto">
          <a:xfrm rot="10800000" flipH="1">
            <a:off x="11437427" y="2594958"/>
            <a:ext cx="761589" cy="801949"/>
          </a:xfrm>
          <a:prstGeom prst="bentArrow">
            <a:avLst>
              <a:gd name="adj1" fmla="val 25000"/>
              <a:gd name="adj2" fmla="val 0"/>
              <a:gd name="adj3" fmla="val 25000"/>
              <a:gd name="adj4" fmla="val 1814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Text Placeholder 20">
            <a:extLst>
              <a:ext uri="{FF2B5EF4-FFF2-40B4-BE49-F238E27FC236}">
                <a16:creationId xmlns:a16="http://schemas.microsoft.com/office/drawing/2014/main" id="{9C4B9FDC-539F-2EEE-F143-7BFB9CC81042}"/>
              </a:ext>
            </a:extLst>
          </p:cNvPr>
          <p:cNvSpPr>
            <a:spLocks noGrp="1"/>
          </p:cNvSpPr>
          <p:nvPr>
            <p:ph type="body" sz="quarter" idx="10"/>
          </p:nvPr>
        </p:nvSpPr>
        <p:spPr>
          <a:xfrm>
            <a:off x="588262" y="1144826"/>
            <a:ext cx="8482713" cy="307777"/>
          </a:xfrm>
        </p:spPr>
        <p:txBody>
          <a:bodyPr/>
          <a:lstStyle>
            <a:lvl1pPr marL="0" indent="0">
              <a:buNone/>
              <a:defRPr sz="2000">
                <a:latin typeface="+mj-lt"/>
              </a:defRPr>
            </a:lvl1pPr>
          </a:lstStyle>
          <a:p>
            <a:pPr lvl="0"/>
            <a:endParaRPr lang="en-IN"/>
          </a:p>
        </p:txBody>
      </p:sp>
      <p:sp>
        <p:nvSpPr>
          <p:cNvPr id="8" name="Arrow: U-Turn 7">
            <a:extLst>
              <a:ext uri="{FF2B5EF4-FFF2-40B4-BE49-F238E27FC236}">
                <a16:creationId xmlns:a16="http://schemas.microsoft.com/office/drawing/2014/main" id="{4B1322C0-751D-8F41-7298-9EF7A4C4C411}"/>
              </a:ext>
            </a:extLst>
          </p:cNvPr>
          <p:cNvSpPr/>
          <p:nvPr userDrawn="1"/>
        </p:nvSpPr>
        <p:spPr bwMode="auto">
          <a:xfrm>
            <a:off x="753171" y="1553029"/>
            <a:ext cx="5257104" cy="1041931"/>
          </a:xfrm>
          <a:prstGeom prst="uturnArrow">
            <a:avLst>
              <a:gd name="adj1" fmla="val 25000"/>
              <a:gd name="adj2" fmla="val 0"/>
              <a:gd name="adj3" fmla="val 19236"/>
              <a:gd name="adj4" fmla="val 13484"/>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9" name="Arrow: U-Turn 8">
            <a:extLst>
              <a:ext uri="{FF2B5EF4-FFF2-40B4-BE49-F238E27FC236}">
                <a16:creationId xmlns:a16="http://schemas.microsoft.com/office/drawing/2014/main" id="{1C583723-6C18-1A78-91E3-6AB24E6EF342}"/>
              </a:ext>
            </a:extLst>
          </p:cNvPr>
          <p:cNvSpPr/>
          <p:nvPr userDrawn="1"/>
        </p:nvSpPr>
        <p:spPr bwMode="auto">
          <a:xfrm>
            <a:off x="6180323" y="1553029"/>
            <a:ext cx="5257104" cy="1041931"/>
          </a:xfrm>
          <a:prstGeom prst="uturnArrow">
            <a:avLst>
              <a:gd name="adj1" fmla="val 25000"/>
              <a:gd name="adj2" fmla="val 0"/>
              <a:gd name="adj3" fmla="val 25000"/>
              <a:gd name="adj4" fmla="val 13484"/>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0" name="Arrow: U-Turn 9">
            <a:extLst>
              <a:ext uri="{FF2B5EF4-FFF2-40B4-BE49-F238E27FC236}">
                <a16:creationId xmlns:a16="http://schemas.microsoft.com/office/drawing/2014/main" id="{CC42B478-A3FA-27DE-335C-505F828D8201}"/>
              </a:ext>
            </a:extLst>
          </p:cNvPr>
          <p:cNvSpPr/>
          <p:nvPr userDrawn="1"/>
        </p:nvSpPr>
        <p:spPr bwMode="auto">
          <a:xfrm rot="10800000">
            <a:off x="6011678" y="2594960"/>
            <a:ext cx="168645" cy="3674078"/>
          </a:xfrm>
          <a:prstGeom prst="uturnArrow">
            <a:avLst>
              <a:gd name="adj1" fmla="val 25000"/>
              <a:gd name="adj2" fmla="val 0"/>
              <a:gd name="adj3" fmla="val 25000"/>
              <a:gd name="adj4" fmla="val 50000"/>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C4B93334-9568-0436-0C62-F96A988B9810}"/>
              </a:ext>
            </a:extLst>
          </p:cNvPr>
          <p:cNvSpPr/>
          <p:nvPr userDrawn="1"/>
        </p:nvSpPr>
        <p:spPr bwMode="auto">
          <a:xfrm flipH="1">
            <a:off x="651522" y="3220700"/>
            <a:ext cx="259207" cy="252412"/>
          </a:xfrm>
          <a:custGeom>
            <a:avLst/>
            <a:gdLst>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30956 w 176212"/>
              <a:gd name="connsiteY0" fmla="*/ 0 h 252412"/>
              <a:gd name="connsiteX1" fmla="*/ 176212 w 176212"/>
              <a:gd name="connsiteY1" fmla="*/ 180975 h 252412"/>
              <a:gd name="connsiteX2" fmla="*/ 0 w 176212"/>
              <a:gd name="connsiteY2" fmla="*/ 252412 h 252412"/>
              <a:gd name="connsiteX3" fmla="*/ 30956 w 176212"/>
              <a:gd name="connsiteY3" fmla="*/ 0 h 252412"/>
            </a:gdLst>
            <a:ahLst/>
            <a:cxnLst>
              <a:cxn ang="0">
                <a:pos x="connsiteX0" y="connsiteY0"/>
              </a:cxn>
              <a:cxn ang="0">
                <a:pos x="connsiteX1" y="connsiteY1"/>
              </a:cxn>
              <a:cxn ang="0">
                <a:pos x="connsiteX2" y="connsiteY2"/>
              </a:cxn>
              <a:cxn ang="0">
                <a:pos x="connsiteX3" y="connsiteY3"/>
              </a:cxn>
            </a:cxnLst>
            <a:rect l="l" t="t" r="r" b="b"/>
            <a:pathLst>
              <a:path w="176212" h="252412">
                <a:moveTo>
                  <a:pt x="30956" y="0"/>
                </a:moveTo>
                <a:cubicBezTo>
                  <a:pt x="30162" y="127794"/>
                  <a:pt x="53181" y="179389"/>
                  <a:pt x="176212" y="180975"/>
                </a:cubicBezTo>
                <a:lnTo>
                  <a:pt x="0" y="252412"/>
                </a:lnTo>
                <a:cubicBezTo>
                  <a:pt x="1587" y="166687"/>
                  <a:pt x="5556" y="90487"/>
                  <a:pt x="309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Arrow: Bent 11">
            <a:extLst>
              <a:ext uri="{FF2B5EF4-FFF2-40B4-BE49-F238E27FC236}">
                <a16:creationId xmlns:a16="http://schemas.microsoft.com/office/drawing/2014/main" id="{CD2F6184-4B99-BC6D-81C0-DD59B55A9266}"/>
              </a:ext>
            </a:extLst>
          </p:cNvPr>
          <p:cNvSpPr/>
          <p:nvPr userDrawn="1"/>
        </p:nvSpPr>
        <p:spPr bwMode="auto">
          <a:xfrm rot="10800000">
            <a:off x="-1" y="2594959"/>
            <a:ext cx="753171" cy="801949"/>
          </a:xfrm>
          <a:prstGeom prst="bentArrow">
            <a:avLst>
              <a:gd name="adj1" fmla="val 25000"/>
              <a:gd name="adj2" fmla="val 0"/>
              <a:gd name="adj3" fmla="val 25000"/>
              <a:gd name="adj4" fmla="val 1814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Rectangle: Rounded Corners 12">
            <a:extLst>
              <a:ext uri="{FF2B5EF4-FFF2-40B4-BE49-F238E27FC236}">
                <a16:creationId xmlns:a16="http://schemas.microsoft.com/office/drawing/2014/main" id="{6845ED52-AA8A-6FF4-0232-BBEFB895C757}"/>
              </a:ext>
            </a:extLst>
          </p:cNvPr>
          <p:cNvSpPr/>
          <p:nvPr userDrawn="1"/>
        </p:nvSpPr>
        <p:spPr bwMode="auto">
          <a:xfrm rot="16200000">
            <a:off x="1907116" y="729872"/>
            <a:ext cx="2917948" cy="4885739"/>
          </a:xfrm>
          <a:prstGeom prst="roundRect">
            <a:avLst>
              <a:gd name="adj" fmla="val 350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0" name="Picture Placeholder 29">
            <a:extLst>
              <a:ext uri="{FF2B5EF4-FFF2-40B4-BE49-F238E27FC236}">
                <a16:creationId xmlns:a16="http://schemas.microsoft.com/office/drawing/2014/main" id="{80A1F5CF-B045-8CDD-AB83-B65FE422FE60}"/>
              </a:ext>
            </a:extLst>
          </p:cNvPr>
          <p:cNvSpPr>
            <a:spLocks noGrp="1"/>
          </p:cNvSpPr>
          <p:nvPr>
            <p:ph type="pic" sz="quarter" idx="15"/>
          </p:nvPr>
        </p:nvSpPr>
        <p:spPr>
          <a:xfrm>
            <a:off x="1093354" y="1905001"/>
            <a:ext cx="4545474" cy="2535480"/>
          </a:xfrm>
        </p:spPr>
        <p:txBody>
          <a:bodyPr anchor="ctr"/>
          <a:lstStyle>
            <a:lvl1pPr marL="0" indent="0" algn="ctr">
              <a:buNone/>
              <a:defRPr/>
            </a:lvl1pPr>
          </a:lstStyle>
          <a:p>
            <a:endParaRPr lang="en-IN"/>
          </a:p>
        </p:txBody>
      </p:sp>
      <p:sp>
        <p:nvSpPr>
          <p:cNvPr id="15" name="Rectangle: Rounded Corners 14">
            <a:extLst>
              <a:ext uri="{FF2B5EF4-FFF2-40B4-BE49-F238E27FC236}">
                <a16:creationId xmlns:a16="http://schemas.microsoft.com/office/drawing/2014/main" id="{588696BD-E384-83D3-D5D3-CB6FFEA7A748}"/>
              </a:ext>
            </a:extLst>
          </p:cNvPr>
          <p:cNvSpPr/>
          <p:nvPr userDrawn="1"/>
        </p:nvSpPr>
        <p:spPr bwMode="auto">
          <a:xfrm rot="16200000">
            <a:off x="7366938" y="729872"/>
            <a:ext cx="2917948" cy="4885739"/>
          </a:xfrm>
          <a:prstGeom prst="roundRect">
            <a:avLst>
              <a:gd name="adj" fmla="val 350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1" name="Picture Placeholder 29">
            <a:extLst>
              <a:ext uri="{FF2B5EF4-FFF2-40B4-BE49-F238E27FC236}">
                <a16:creationId xmlns:a16="http://schemas.microsoft.com/office/drawing/2014/main" id="{B4BB70CA-6620-A55E-B498-96C2127087C6}"/>
              </a:ext>
            </a:extLst>
          </p:cNvPr>
          <p:cNvSpPr>
            <a:spLocks noGrp="1"/>
          </p:cNvSpPr>
          <p:nvPr>
            <p:ph type="pic" sz="quarter" idx="16"/>
          </p:nvPr>
        </p:nvSpPr>
        <p:spPr>
          <a:xfrm>
            <a:off x="6553176" y="1905001"/>
            <a:ext cx="4545474" cy="2535480"/>
          </a:xfrm>
        </p:spPr>
        <p:txBody>
          <a:bodyPr anchor="ctr"/>
          <a:lstStyle>
            <a:lvl1pPr marL="0" indent="0" algn="ctr">
              <a:buNone/>
              <a:defRPr/>
            </a:lvl1pPr>
          </a:lstStyle>
          <a:p>
            <a:endParaRPr lang="en-IN"/>
          </a:p>
        </p:txBody>
      </p:sp>
      <p:sp>
        <p:nvSpPr>
          <p:cNvPr id="23" name="Text Placeholder 22">
            <a:extLst>
              <a:ext uri="{FF2B5EF4-FFF2-40B4-BE49-F238E27FC236}">
                <a16:creationId xmlns:a16="http://schemas.microsoft.com/office/drawing/2014/main" id="{051535CA-E1D1-3CD0-5668-AE67CB02FBAF}"/>
              </a:ext>
            </a:extLst>
          </p:cNvPr>
          <p:cNvSpPr>
            <a:spLocks noGrp="1"/>
          </p:cNvSpPr>
          <p:nvPr>
            <p:ph type="body" sz="quarter" idx="11"/>
          </p:nvPr>
        </p:nvSpPr>
        <p:spPr>
          <a:xfrm>
            <a:off x="923220" y="4936676"/>
            <a:ext cx="4885739" cy="476071"/>
          </a:xfrm>
          <a:prstGeom prst="roundRect">
            <a:avLst>
              <a:gd name="adj" fmla="val 50000"/>
            </a:avLst>
          </a:prstGeom>
          <a:solidFill>
            <a:schemeClr val="bg2">
              <a:lumMod val="20000"/>
              <a:lumOff val="80000"/>
            </a:schemeClr>
          </a:solidFill>
        </p:spPr>
        <p:txBody>
          <a:bodyPr>
            <a:noAutofit/>
          </a:bodyPr>
          <a:lstStyle>
            <a:lvl1pPr marL="0" indent="0">
              <a:buNone/>
              <a:defRPr sz="100">
                <a:solidFill>
                  <a:schemeClr val="bg2">
                    <a:lumMod val="20000"/>
                    <a:lumOff val="80000"/>
                  </a:schemeClr>
                </a:solidFill>
              </a:defRPr>
            </a:lvl1pPr>
          </a:lstStyle>
          <a:p>
            <a:pPr lvl="0"/>
            <a:endParaRPr lang="en-IN"/>
          </a:p>
        </p:txBody>
      </p:sp>
      <p:sp>
        <p:nvSpPr>
          <p:cNvPr id="25" name="Text Placeholder 22">
            <a:extLst>
              <a:ext uri="{FF2B5EF4-FFF2-40B4-BE49-F238E27FC236}">
                <a16:creationId xmlns:a16="http://schemas.microsoft.com/office/drawing/2014/main" id="{87A9F164-2047-DE59-17C5-D47A9C73424B}"/>
              </a:ext>
            </a:extLst>
          </p:cNvPr>
          <p:cNvSpPr>
            <a:spLocks noGrp="1"/>
          </p:cNvSpPr>
          <p:nvPr>
            <p:ph type="body" sz="quarter" idx="12"/>
          </p:nvPr>
        </p:nvSpPr>
        <p:spPr>
          <a:xfrm>
            <a:off x="6383043" y="4936676"/>
            <a:ext cx="4885739" cy="476071"/>
          </a:xfrm>
          <a:prstGeom prst="roundRect">
            <a:avLst>
              <a:gd name="adj" fmla="val 50000"/>
            </a:avLst>
          </a:prstGeom>
          <a:solidFill>
            <a:schemeClr val="bg2">
              <a:lumMod val="20000"/>
              <a:lumOff val="80000"/>
            </a:schemeClr>
          </a:solidFill>
        </p:spPr>
        <p:txBody>
          <a:bodyPr>
            <a:noAutofit/>
          </a:bodyPr>
          <a:lstStyle>
            <a:lvl1pPr marL="0" indent="0">
              <a:buNone/>
              <a:defRPr sz="100">
                <a:solidFill>
                  <a:schemeClr val="bg2">
                    <a:lumMod val="20000"/>
                    <a:lumOff val="80000"/>
                  </a:schemeClr>
                </a:solidFill>
              </a:defRPr>
            </a:lvl1pPr>
          </a:lstStyle>
          <a:p>
            <a:pPr lvl="0"/>
            <a:endParaRPr lang="en-IN"/>
          </a:p>
        </p:txBody>
      </p:sp>
      <p:sp>
        <p:nvSpPr>
          <p:cNvPr id="19" name="Title 18">
            <a:extLst>
              <a:ext uri="{FF2B5EF4-FFF2-40B4-BE49-F238E27FC236}">
                <a16:creationId xmlns:a16="http://schemas.microsoft.com/office/drawing/2014/main" id="{542264D7-C22C-B9DA-3C06-57C89694DBE9}"/>
              </a:ext>
            </a:extLst>
          </p:cNvPr>
          <p:cNvSpPr>
            <a:spLocks noGrp="1"/>
          </p:cNvSpPr>
          <p:nvPr>
            <p:ph type="title"/>
          </p:nvPr>
        </p:nvSpPr>
        <p:spPr/>
        <p:txBody>
          <a:bodyPr/>
          <a:lstStyle/>
          <a:p>
            <a:r>
              <a:rPr lang="en-US"/>
              <a:t>Click to edit Master title style</a:t>
            </a:r>
            <a:endParaRPr lang="en-IN"/>
          </a:p>
        </p:txBody>
      </p:sp>
      <p:sp>
        <p:nvSpPr>
          <p:cNvPr id="27" name="Text Placeholder 26">
            <a:extLst>
              <a:ext uri="{FF2B5EF4-FFF2-40B4-BE49-F238E27FC236}">
                <a16:creationId xmlns:a16="http://schemas.microsoft.com/office/drawing/2014/main" id="{A7DD4ECA-BCFC-B294-8976-D41A0BE1ED31}"/>
              </a:ext>
            </a:extLst>
          </p:cNvPr>
          <p:cNvSpPr>
            <a:spLocks noGrp="1"/>
          </p:cNvSpPr>
          <p:nvPr>
            <p:ph type="body" sz="quarter" idx="13"/>
          </p:nvPr>
        </p:nvSpPr>
        <p:spPr>
          <a:xfrm>
            <a:off x="923220" y="5051601"/>
            <a:ext cx="4885739" cy="246221"/>
          </a:xfrm>
        </p:spPr>
        <p:txBody>
          <a:bodyPr/>
          <a:lstStyle>
            <a:lvl1pPr marL="0" indent="0" algn="ctr">
              <a:buNone/>
              <a:defRPr sz="1600">
                <a:solidFill>
                  <a:schemeClr val="tx1"/>
                </a:solidFill>
                <a:latin typeface="+mj-lt"/>
              </a:defRPr>
            </a:lvl1pPr>
          </a:lstStyle>
          <a:p>
            <a:pPr lvl="0"/>
            <a:endParaRPr lang="en-IN"/>
          </a:p>
        </p:txBody>
      </p:sp>
      <p:sp>
        <p:nvSpPr>
          <p:cNvPr id="28" name="Text Placeholder 26">
            <a:extLst>
              <a:ext uri="{FF2B5EF4-FFF2-40B4-BE49-F238E27FC236}">
                <a16:creationId xmlns:a16="http://schemas.microsoft.com/office/drawing/2014/main" id="{10C69EF2-4E8A-FC3E-A51E-A36AA44391EF}"/>
              </a:ext>
            </a:extLst>
          </p:cNvPr>
          <p:cNvSpPr>
            <a:spLocks noGrp="1"/>
          </p:cNvSpPr>
          <p:nvPr>
            <p:ph type="body" sz="quarter" idx="14"/>
          </p:nvPr>
        </p:nvSpPr>
        <p:spPr>
          <a:xfrm>
            <a:off x="6383043" y="5051601"/>
            <a:ext cx="4885739" cy="246221"/>
          </a:xfrm>
        </p:spPr>
        <p:txBody>
          <a:bodyPr/>
          <a:lstStyle>
            <a:lvl1pPr marL="0" indent="0" algn="ctr">
              <a:buNone/>
              <a:defRPr sz="1600">
                <a:solidFill>
                  <a:schemeClr val="tx1"/>
                </a:solidFill>
                <a:latin typeface="+mj-lt"/>
              </a:defRPr>
            </a:lvl1pPr>
          </a:lstStyle>
          <a:p>
            <a:pPr lvl="0"/>
            <a:endParaRPr lang="en-IN"/>
          </a:p>
        </p:txBody>
      </p:sp>
    </p:spTree>
    <p:extLst>
      <p:ext uri="{BB962C8B-B14F-4D97-AF65-F5344CB8AC3E}">
        <p14:creationId xmlns:p14="http://schemas.microsoft.com/office/powerpoint/2010/main" val="481060350"/>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artner/Analyst">
    <p:spTree>
      <p:nvGrpSpPr>
        <p:cNvPr id="1" name=""/>
        <p:cNvGrpSpPr/>
        <p:nvPr/>
      </p:nvGrpSpPr>
      <p:grpSpPr>
        <a:xfrm>
          <a:off x="0" y="0"/>
          <a:ext cx="0" cy="0"/>
          <a:chOff x="0" y="0"/>
          <a:chExt cx="0" cy="0"/>
        </a:xfrm>
      </p:grpSpPr>
      <p:sp>
        <p:nvSpPr>
          <p:cNvPr id="3" name="Text Placeholder 11">
            <a:extLst>
              <a:ext uri="{FF2B5EF4-FFF2-40B4-BE49-F238E27FC236}">
                <a16:creationId xmlns:a16="http://schemas.microsoft.com/office/drawing/2014/main" id="{D99DE492-00BB-4DCC-8532-724F2F43C2B7}"/>
              </a:ext>
            </a:extLst>
          </p:cNvPr>
          <p:cNvSpPr>
            <a:spLocks noGrp="1"/>
          </p:cNvSpPr>
          <p:nvPr>
            <p:ph type="body" sz="quarter" idx="30"/>
          </p:nvPr>
        </p:nvSpPr>
        <p:spPr>
          <a:xfrm>
            <a:off x="4673599" y="506558"/>
            <a:ext cx="6940296" cy="4608576"/>
          </a:xfr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US" b="0" i="0" u="none" strike="noStrike" cap="none" normalizeH="0" dirty="0">
                <a:ln>
                  <a:noFill/>
                </a:ln>
                <a:solidFill>
                  <a:schemeClr val="bg1"/>
                </a:solidFill>
                <a:effectLst/>
                <a:uLnTx/>
                <a:uFillTx/>
                <a:latin typeface="Segoe UI"/>
                <a:ea typeface="Calibri" panose="020F0502020204030204" pitchFamily="34" charset="0"/>
                <a:cs typeface="Segoe UI" panose="020B0502040204020203" pitchFamily="34" charset="0"/>
              </a:defRPr>
            </a:lvl1pPr>
          </a:lstStyle>
          <a:p>
            <a:pPr marL="0" lvl="0" indent="0" defTabSz="914400">
              <a:spcBef>
                <a:spcPts val="0"/>
              </a:spcBef>
              <a:buSzTx/>
              <a:buFontTx/>
              <a:buNone/>
            </a:pPr>
            <a:endParaRPr lang="en-US"/>
          </a:p>
        </p:txBody>
      </p:sp>
      <p:sp>
        <p:nvSpPr>
          <p:cNvPr id="8" name="Text Placeholder 11">
            <a:extLst>
              <a:ext uri="{FF2B5EF4-FFF2-40B4-BE49-F238E27FC236}">
                <a16:creationId xmlns:a16="http://schemas.microsoft.com/office/drawing/2014/main" id="{25D53018-62A3-F2EE-45A8-F590DF3BC867}"/>
              </a:ext>
            </a:extLst>
          </p:cNvPr>
          <p:cNvSpPr>
            <a:spLocks noGrp="1"/>
          </p:cNvSpPr>
          <p:nvPr>
            <p:ph type="body" sz="quarter" idx="31" hasCustomPrompt="1"/>
          </p:nvPr>
        </p:nvSpPr>
        <p:spPr>
          <a:xfrm>
            <a:off x="8179439" y="1158240"/>
            <a:ext cx="3228222" cy="3779520"/>
          </a:xfr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lvl1pPr>
              <a:defRPr kumimoji="0" lang="en-US" sz="2000" b="0" i="0" u="none" strike="noStrike" cap="none" normalizeH="0" dirty="0">
                <a:ln>
                  <a:noFill/>
                </a:ln>
                <a:solidFill>
                  <a:schemeClr val="bg1">
                    <a:lumMod val="95000"/>
                  </a:schemeClr>
                </a:solidFill>
                <a:effectLst/>
                <a:uLnTx/>
                <a:uFillTx/>
                <a:latin typeface="Segoe UI"/>
                <a:cs typeface="Segoe UI"/>
              </a:defRPr>
            </a:lvl1pPr>
          </a:lstStyle>
          <a:p>
            <a:pPr marL="0" lvl="0" indent="0" defTabSz="928932" fontAlgn="base">
              <a:spcBef>
                <a:spcPct val="0"/>
              </a:spcBef>
              <a:spcAft>
                <a:spcPts val="1800"/>
              </a:spcAft>
              <a:buSzTx/>
              <a:buFont typeface="Arial" panose="020B0604020202020204" pitchFamily="34" charset="0"/>
              <a:buNone/>
            </a:pPr>
            <a:r>
              <a:rPr lang="en-US"/>
              <a:t>Click to edit text styles</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886196"/>
            <a:ext cx="3887098" cy="553998"/>
          </a:xfrm>
        </p:spPr>
        <p:txBody>
          <a:bodyPr/>
          <a:lstStyle/>
          <a:p>
            <a:r>
              <a:rPr lang="en-US"/>
              <a:t>Click to edit Master title style</a:t>
            </a:r>
          </a:p>
        </p:txBody>
      </p:sp>
      <p:sp>
        <p:nvSpPr>
          <p:cNvPr id="65" name="Text Placeholder 11">
            <a:extLst>
              <a:ext uri="{FF2B5EF4-FFF2-40B4-BE49-F238E27FC236}">
                <a16:creationId xmlns:a16="http://schemas.microsoft.com/office/drawing/2014/main" id="{C5A9A83D-5331-01A7-C56F-091E337FD3B1}"/>
              </a:ext>
            </a:extLst>
          </p:cNvPr>
          <p:cNvSpPr>
            <a:spLocks noGrp="1"/>
          </p:cNvSpPr>
          <p:nvPr>
            <p:ph type="body" sz="quarter" idx="17" hasCustomPrompt="1"/>
          </p:nvPr>
        </p:nvSpPr>
        <p:spPr>
          <a:xfrm>
            <a:off x="584200" y="506558"/>
            <a:ext cx="3887098" cy="215444"/>
          </a:xfrm>
        </p:spPr>
        <p:txBody>
          <a:bodyPr anchor="t"/>
          <a:lstStyle>
            <a:lvl1pPr marL="0" indent="0">
              <a:spcBef>
                <a:spcPts val="0"/>
              </a:spcBef>
              <a:buNone/>
              <a:defRPr kumimoji="0" lang="en-US" sz="1400" b="1" i="0" u="none" strike="noStrike" kern="1200" cap="all" spc="150" normalizeH="0" baseline="0" dirty="0">
                <a:ln w="3175">
                  <a:noFill/>
                </a:ln>
                <a:solidFill>
                  <a:srgbClr val="14938C"/>
                </a:solidFill>
                <a:effectLst/>
                <a:uLnTx/>
                <a:uFillTx/>
                <a:latin typeface="Segoe UI"/>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Click to edit text styles</a:t>
            </a:r>
          </a:p>
        </p:txBody>
      </p:sp>
      <p:sp>
        <p:nvSpPr>
          <p:cNvPr id="35" name="Text Placeholder 20">
            <a:extLst>
              <a:ext uri="{FF2B5EF4-FFF2-40B4-BE49-F238E27FC236}">
                <a16:creationId xmlns:a16="http://schemas.microsoft.com/office/drawing/2014/main" id="{322E8D49-B7D0-B59C-0FC9-4D76356D3254}"/>
              </a:ext>
            </a:extLst>
          </p:cNvPr>
          <p:cNvSpPr>
            <a:spLocks noGrp="1"/>
          </p:cNvSpPr>
          <p:nvPr>
            <p:ph type="body" sz="quarter" idx="10" hasCustomPrompt="1"/>
          </p:nvPr>
        </p:nvSpPr>
        <p:spPr>
          <a:xfrm>
            <a:off x="584200" y="6460362"/>
            <a:ext cx="11025188" cy="138499"/>
          </a:xfrm>
        </p:spPr>
        <p:txBody>
          <a:bodyPr anchor="b">
            <a:spAutoFit/>
          </a:bodyPr>
          <a:lstStyle>
            <a:lvl1pPr marL="0" indent="0">
              <a:buFont typeface="Arial" panose="020B0604020202020204" pitchFamily="34" charset="0"/>
              <a:buNone/>
              <a:defRPr kumimoji="0" lang="en-US" sz="900" b="0" i="0" u="none" strike="noStrike" kern="1200" cap="none" spc="0" normalizeH="0" baseline="0" dirty="0">
                <a:ln>
                  <a:noFill/>
                </a:ln>
                <a:solidFill>
                  <a:schemeClr val="bg1">
                    <a:lumMod val="50000"/>
                  </a:schemeClr>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14400" rtl="0" eaLnBrk="1" fontAlgn="auto" latinLnBrk="0" hangingPunct="1">
              <a:lnSpc>
                <a:spcPct val="100000"/>
              </a:lnSpc>
              <a:spcBef>
                <a:spcPts val="0"/>
              </a:spcBef>
              <a:spcAft>
                <a:spcPts val="0"/>
              </a:spcAft>
              <a:buClrTx/>
              <a:buSzTx/>
              <a:tabLst/>
              <a:defRPr/>
            </a:pPr>
            <a:r>
              <a:rPr lang="en-GB"/>
              <a:t>Add text here</a:t>
            </a:r>
          </a:p>
        </p:txBody>
      </p:sp>
      <p:sp>
        <p:nvSpPr>
          <p:cNvPr id="10" name="Text Placeholder 11">
            <a:extLst>
              <a:ext uri="{FF2B5EF4-FFF2-40B4-BE49-F238E27FC236}">
                <a16:creationId xmlns:a16="http://schemas.microsoft.com/office/drawing/2014/main" id="{0C79D948-D4DB-7608-9CFD-0F765DF26AE1}"/>
              </a:ext>
            </a:extLst>
          </p:cNvPr>
          <p:cNvSpPr>
            <a:spLocks noGrp="1"/>
          </p:cNvSpPr>
          <p:nvPr>
            <p:ph type="body" sz="quarter" idx="32" hasCustomPrompt="1"/>
          </p:nvPr>
        </p:nvSpPr>
        <p:spPr>
          <a:xfrm>
            <a:off x="4871838" y="1158240"/>
            <a:ext cx="3228222" cy="3779520"/>
          </a:xfr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lvl1pPr>
              <a:defRPr kumimoji="0" lang="en-US" sz="2000" b="0" i="0" u="none" strike="noStrike" cap="none" normalizeH="0" dirty="0">
                <a:ln>
                  <a:noFill/>
                </a:ln>
                <a:solidFill>
                  <a:schemeClr val="bg1">
                    <a:lumMod val="95000"/>
                  </a:schemeClr>
                </a:solidFill>
                <a:effectLst/>
                <a:uLnTx/>
                <a:uFillTx/>
                <a:latin typeface="Segoe UI"/>
                <a:cs typeface="Segoe UI"/>
              </a:defRPr>
            </a:lvl1pPr>
          </a:lstStyle>
          <a:p>
            <a:pPr marL="0" lvl="0" indent="0" defTabSz="928932" fontAlgn="base">
              <a:spcBef>
                <a:spcPct val="0"/>
              </a:spcBef>
              <a:spcAft>
                <a:spcPts val="1800"/>
              </a:spcAft>
              <a:buSzTx/>
              <a:buFont typeface="Arial" panose="020B0604020202020204" pitchFamily="34" charset="0"/>
              <a:buNone/>
            </a:pPr>
            <a:r>
              <a:rPr lang="en-US"/>
              <a:t>Click to edit text styles</a:t>
            </a:r>
          </a:p>
        </p:txBody>
      </p:sp>
      <p:sp>
        <p:nvSpPr>
          <p:cNvPr id="18" name="Text Placeholder 11">
            <a:extLst>
              <a:ext uri="{FF2B5EF4-FFF2-40B4-BE49-F238E27FC236}">
                <a16:creationId xmlns:a16="http://schemas.microsoft.com/office/drawing/2014/main" id="{1D9251ED-A49F-C86B-FEEB-D53A05189479}"/>
              </a:ext>
            </a:extLst>
          </p:cNvPr>
          <p:cNvSpPr>
            <a:spLocks noGrp="1"/>
          </p:cNvSpPr>
          <p:nvPr>
            <p:ph type="body" sz="quarter" idx="26" hasCustomPrompt="1"/>
          </p:nvPr>
        </p:nvSpPr>
        <p:spPr>
          <a:xfrm>
            <a:off x="4873190" y="703261"/>
            <a:ext cx="6537960" cy="566928"/>
          </a:xfr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kumimoji="0" lang="en-US" sz="2200" b="0" i="0" u="none" strike="noStrike" cap="none" normalizeH="0" dirty="0">
                <a:ln>
                  <a:noFill/>
                </a:ln>
                <a:solidFill>
                  <a:srgbClr val="FFFFFF"/>
                </a:solidFill>
                <a:effectLst/>
                <a:uLnTx/>
                <a:uFillTx/>
                <a:latin typeface="Segoe UI Semibold"/>
                <a:cs typeface="Segoe UI"/>
              </a:defRPr>
            </a:lvl1pPr>
          </a:lstStyle>
          <a:p>
            <a:pPr marL="228600" lvl="0" indent="-228600" algn="ctr" defTabSz="914400">
              <a:spcBef>
                <a:spcPts val="0"/>
              </a:spcBef>
              <a:buSzTx/>
            </a:pPr>
            <a:r>
              <a:rPr lang="en-US"/>
              <a:t>Click to edit text styles</a:t>
            </a:r>
          </a:p>
        </p:txBody>
      </p:sp>
      <p:sp>
        <p:nvSpPr>
          <p:cNvPr id="12" name="Text Placeholder 11">
            <a:extLst>
              <a:ext uri="{FF2B5EF4-FFF2-40B4-BE49-F238E27FC236}">
                <a16:creationId xmlns:a16="http://schemas.microsoft.com/office/drawing/2014/main" id="{C98F8494-987C-277B-96DE-7D78790F41E2}"/>
              </a:ext>
            </a:extLst>
          </p:cNvPr>
          <p:cNvSpPr>
            <a:spLocks noGrp="1"/>
          </p:cNvSpPr>
          <p:nvPr>
            <p:ph type="body" sz="quarter" idx="33"/>
          </p:nvPr>
        </p:nvSpPr>
        <p:spPr>
          <a:xfrm>
            <a:off x="4913748" y="1270189"/>
            <a:ext cx="3144402" cy="3625661"/>
          </a:xfrm>
          <a:solidFill>
            <a:schemeClr val="bg1"/>
          </a:solidFill>
        </p:spPr>
        <p:txBody>
          <a:bodyPr lIns="91440" tIns="91440" rIns="91440" bIns="91440">
            <a:normAutofit/>
          </a:bodyPr>
          <a:lstStyle>
            <a:lvl1pPr marL="0" indent="0">
              <a:spcBef>
                <a:spcPts val="1200"/>
              </a:spcBef>
              <a:buNone/>
              <a:defRPr sz="1800"/>
            </a:lvl1pPr>
            <a:lvl2pPr marL="228600" indent="0">
              <a:spcBef>
                <a:spcPts val="1200"/>
              </a:spcBef>
              <a:buNone/>
              <a:defRPr sz="1600"/>
            </a:lvl2pPr>
            <a:lvl3pPr marL="457200" indent="0">
              <a:spcBef>
                <a:spcPts val="1200"/>
              </a:spcBef>
              <a:buNone/>
              <a:defRPr sz="1600"/>
            </a:lvl3pPr>
            <a:lvl4pPr marL="661988" indent="0">
              <a:spcBef>
                <a:spcPts val="1200"/>
              </a:spcBef>
              <a:buNone/>
              <a:defRPr sz="1600"/>
            </a:lvl4pPr>
            <a:lvl5pPr marL="855663" indent="0">
              <a:spcBef>
                <a:spcPts val="1200"/>
              </a:spcBef>
              <a:buNone/>
              <a:defRPr sz="1600"/>
            </a:lvl5pPr>
          </a:lstStyle>
          <a:p>
            <a:pPr lvl="0"/>
            <a:r>
              <a:rPr lang="en-US"/>
              <a:t>Click to edit Master text styles</a:t>
            </a:r>
          </a:p>
        </p:txBody>
      </p:sp>
      <p:sp>
        <p:nvSpPr>
          <p:cNvPr id="16" name="Text Placeholder 11">
            <a:extLst>
              <a:ext uri="{FF2B5EF4-FFF2-40B4-BE49-F238E27FC236}">
                <a16:creationId xmlns:a16="http://schemas.microsoft.com/office/drawing/2014/main" id="{00C81CE8-C05F-9140-0418-2F852D2C3FF7}"/>
              </a:ext>
            </a:extLst>
          </p:cNvPr>
          <p:cNvSpPr>
            <a:spLocks noGrp="1"/>
          </p:cNvSpPr>
          <p:nvPr>
            <p:ph type="body" sz="quarter" idx="34"/>
          </p:nvPr>
        </p:nvSpPr>
        <p:spPr>
          <a:xfrm>
            <a:off x="8221349" y="1270189"/>
            <a:ext cx="3144402" cy="3625661"/>
          </a:xfrm>
          <a:solidFill>
            <a:schemeClr val="bg1"/>
          </a:solidFill>
        </p:spPr>
        <p:txBody>
          <a:bodyPr lIns="91440" tIns="91440" rIns="91440" bIns="91440">
            <a:normAutofit/>
          </a:bodyPr>
          <a:lstStyle>
            <a:lvl1pPr marL="0" indent="0">
              <a:spcBef>
                <a:spcPts val="1200"/>
              </a:spcBef>
              <a:buNone/>
              <a:defRPr sz="1800"/>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p:txBody>
      </p:sp>
      <p:sp>
        <p:nvSpPr>
          <p:cNvPr id="23" name="Picture Placeholder 56">
            <a:extLst>
              <a:ext uri="{FF2B5EF4-FFF2-40B4-BE49-F238E27FC236}">
                <a16:creationId xmlns:a16="http://schemas.microsoft.com/office/drawing/2014/main" id="{8AA70223-4163-7C0F-6EB5-0E78DD259A8E}"/>
              </a:ext>
            </a:extLst>
          </p:cNvPr>
          <p:cNvSpPr>
            <a:spLocks noGrp="1"/>
          </p:cNvSpPr>
          <p:nvPr>
            <p:ph type="pic" sz="quarter" idx="29" hasCustomPrompt="1"/>
          </p:nvPr>
        </p:nvSpPr>
        <p:spPr>
          <a:xfrm>
            <a:off x="8389939" y="4264024"/>
            <a:ext cx="2816476" cy="555417"/>
          </a:xfrm>
          <a:prstGeom prst="rect">
            <a:avLst/>
          </a:prstGeom>
        </p:spPr>
        <p:txBody>
          <a:bodyPr wrap="none" anchor="ctr">
            <a:noAutofit/>
          </a:bodyPr>
          <a:lstStyle>
            <a:lvl1pPr marL="0" indent="0" algn="ctr">
              <a:buFont typeface="Arial" panose="020B0604020202020204" pitchFamily="34" charset="0"/>
              <a:buNone/>
              <a:defRPr sz="1600">
                <a:latin typeface="+mj-lt"/>
              </a:defRPr>
            </a:lvl1pPr>
          </a:lstStyle>
          <a:p>
            <a:r>
              <a:rPr lang="en-US"/>
              <a:t>Image</a:t>
            </a:r>
          </a:p>
        </p:txBody>
      </p:sp>
      <p:sp>
        <p:nvSpPr>
          <p:cNvPr id="22" name="Picture Placeholder 56">
            <a:extLst>
              <a:ext uri="{FF2B5EF4-FFF2-40B4-BE49-F238E27FC236}">
                <a16:creationId xmlns:a16="http://schemas.microsoft.com/office/drawing/2014/main" id="{026C957F-1738-A388-50AB-F8AFABEB6E51}"/>
              </a:ext>
            </a:extLst>
          </p:cNvPr>
          <p:cNvSpPr>
            <a:spLocks noGrp="1"/>
          </p:cNvSpPr>
          <p:nvPr>
            <p:ph type="pic" sz="quarter" idx="25" hasCustomPrompt="1"/>
          </p:nvPr>
        </p:nvSpPr>
        <p:spPr>
          <a:xfrm>
            <a:off x="5076574" y="4264024"/>
            <a:ext cx="2816476" cy="555417"/>
          </a:xfrm>
          <a:prstGeom prst="rect">
            <a:avLst/>
          </a:prstGeom>
        </p:spPr>
        <p:txBody>
          <a:bodyPr wrap="none" anchor="ctr">
            <a:noAutofit/>
          </a:bodyPr>
          <a:lstStyle>
            <a:lvl1pPr marL="0" indent="0" algn="ctr">
              <a:buFont typeface="Arial" panose="020B0604020202020204" pitchFamily="34" charset="0"/>
              <a:buNone/>
              <a:defRPr sz="1600">
                <a:latin typeface="+mj-lt"/>
              </a:defRPr>
            </a:lvl1pPr>
          </a:lstStyle>
          <a:p>
            <a:r>
              <a:rPr lang="en-US"/>
              <a:t>Image</a:t>
            </a:r>
          </a:p>
        </p:txBody>
      </p:sp>
    </p:spTree>
    <p:extLst>
      <p:ext uri="{BB962C8B-B14F-4D97-AF65-F5344CB8AC3E}">
        <p14:creationId xmlns:p14="http://schemas.microsoft.com/office/powerpoint/2010/main" val="108771469"/>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Economic Impact">
    <p:spTree>
      <p:nvGrpSpPr>
        <p:cNvPr id="1" name=""/>
        <p:cNvGrpSpPr/>
        <p:nvPr/>
      </p:nvGrpSpPr>
      <p:grpSpPr>
        <a:xfrm>
          <a:off x="0" y="0"/>
          <a:ext cx="0" cy="0"/>
          <a:chOff x="0" y="0"/>
          <a:chExt cx="0" cy="0"/>
        </a:xfrm>
      </p:grpSpPr>
      <p:sp>
        <p:nvSpPr>
          <p:cNvPr id="9" name="Rectangle: Top Corners Rounded 8">
            <a:extLst>
              <a:ext uri="{FF2B5EF4-FFF2-40B4-BE49-F238E27FC236}">
                <a16:creationId xmlns:a16="http://schemas.microsoft.com/office/drawing/2014/main" id="{97382247-FCC1-71E5-C33C-03E6BC49D8FE}"/>
              </a:ext>
            </a:extLst>
          </p:cNvPr>
          <p:cNvSpPr/>
          <p:nvPr userDrawn="1"/>
        </p:nvSpPr>
        <p:spPr bwMode="auto">
          <a:xfrm>
            <a:off x="447042" y="2899838"/>
            <a:ext cx="11297918" cy="3371708"/>
          </a:xfrm>
          <a:prstGeom prst="round2SameRect">
            <a:avLst>
              <a:gd name="adj1" fmla="val 2679"/>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Rectangle 2">
            <a:extLst>
              <a:ext uri="{FF2B5EF4-FFF2-40B4-BE49-F238E27FC236}">
                <a16:creationId xmlns:a16="http://schemas.microsoft.com/office/drawing/2014/main" id="{85D8AF78-B3DB-39E5-B682-30064CE141D8}"/>
              </a:ext>
            </a:extLst>
          </p:cNvPr>
          <p:cNvSpPr/>
          <p:nvPr userDrawn="1"/>
        </p:nvSpPr>
        <p:spPr bwMode="auto">
          <a:xfrm>
            <a:off x="584200" y="2800952"/>
            <a:ext cx="11018518" cy="37538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886196"/>
            <a:ext cx="11018520" cy="553998"/>
          </a:xfrm>
        </p:spPr>
        <p:txBody>
          <a:bodyPr/>
          <a:lstStyle/>
          <a:p>
            <a:r>
              <a:rPr lang="en-US"/>
              <a:t>Click to edit Master title style</a:t>
            </a:r>
          </a:p>
        </p:txBody>
      </p:sp>
      <p:sp>
        <p:nvSpPr>
          <p:cNvPr id="65" name="Text Placeholder 11">
            <a:extLst>
              <a:ext uri="{FF2B5EF4-FFF2-40B4-BE49-F238E27FC236}">
                <a16:creationId xmlns:a16="http://schemas.microsoft.com/office/drawing/2014/main" id="{C5A9A83D-5331-01A7-C56F-091E337FD3B1}"/>
              </a:ext>
            </a:extLst>
          </p:cNvPr>
          <p:cNvSpPr>
            <a:spLocks noGrp="1"/>
          </p:cNvSpPr>
          <p:nvPr>
            <p:ph type="body" sz="quarter" idx="17" hasCustomPrompt="1"/>
          </p:nvPr>
        </p:nvSpPr>
        <p:spPr>
          <a:xfrm>
            <a:off x="584200" y="506558"/>
            <a:ext cx="4718304" cy="215444"/>
          </a:xfrm>
        </p:spPr>
        <p:txBody>
          <a:bodyPr anchor="t"/>
          <a:lstStyle>
            <a:lvl1pPr marL="0" indent="0">
              <a:spcBef>
                <a:spcPts val="0"/>
              </a:spcBef>
              <a:buNone/>
              <a:defRPr kumimoji="0" lang="en-US" sz="1400" b="1" i="0" u="none" strike="noStrike" kern="1200" cap="all" spc="150" normalizeH="0" baseline="0" dirty="0">
                <a:ln w="3175">
                  <a:noFill/>
                </a:ln>
                <a:solidFill>
                  <a:srgbClr val="14938C"/>
                </a:solidFill>
                <a:effectLst/>
                <a:uLnTx/>
                <a:uFillTx/>
                <a:latin typeface="Segoe UI"/>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Click to edit text styles</a:t>
            </a:r>
          </a:p>
        </p:txBody>
      </p:sp>
      <p:sp>
        <p:nvSpPr>
          <p:cNvPr id="10" name="Rectangle 9">
            <a:extLst>
              <a:ext uri="{FF2B5EF4-FFF2-40B4-BE49-F238E27FC236}">
                <a16:creationId xmlns:a16="http://schemas.microsoft.com/office/drawing/2014/main" id="{9C83B5C9-785C-7AC3-62A6-83A48BCF1E67}"/>
              </a:ext>
            </a:extLst>
          </p:cNvPr>
          <p:cNvSpPr/>
          <p:nvPr userDrawn="1"/>
        </p:nvSpPr>
        <p:spPr bwMode="auto">
          <a:xfrm>
            <a:off x="584200" y="1769835"/>
            <a:ext cx="11023600" cy="2440518"/>
          </a:xfrm>
          <a:prstGeom prst="rect">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800" b="0" i="0" u="none" strike="noStrike" kern="1200" cap="none" spc="0" normalizeH="0" baseline="0" noProof="0">
              <a:ln>
                <a:noFill/>
              </a:ln>
              <a:solidFill>
                <a:srgbClr val="000000"/>
              </a:solidFill>
              <a:effectLst/>
              <a:uLnTx/>
              <a:uFillTx/>
              <a:latin typeface="Segoe UI"/>
              <a:ea typeface="Calibri" panose="020F0502020204030204" pitchFamily="34" charset="0"/>
              <a:cs typeface="Segoe UI" panose="020B0502040204020203" pitchFamily="34" charset="0"/>
            </a:endParaRPr>
          </a:p>
        </p:txBody>
      </p:sp>
      <p:cxnSp>
        <p:nvCxnSpPr>
          <p:cNvPr id="21" name="Straight Connector 20">
            <a:extLst>
              <a:ext uri="{FF2B5EF4-FFF2-40B4-BE49-F238E27FC236}">
                <a16:creationId xmlns:a16="http://schemas.microsoft.com/office/drawing/2014/main" id="{44D18AEF-4377-6C7B-629A-93A634751A9E}"/>
              </a:ext>
            </a:extLst>
          </p:cNvPr>
          <p:cNvCxnSpPr>
            <a:cxnSpLocks/>
          </p:cNvCxnSpPr>
          <p:nvPr userDrawn="1"/>
        </p:nvCxnSpPr>
        <p:spPr>
          <a:xfrm>
            <a:off x="8023849" y="4698183"/>
            <a:ext cx="0" cy="1085534"/>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46841CD-F1E6-56AF-A190-F18D7AE88400}"/>
              </a:ext>
            </a:extLst>
          </p:cNvPr>
          <p:cNvCxnSpPr>
            <a:cxnSpLocks/>
          </p:cNvCxnSpPr>
          <p:nvPr userDrawn="1"/>
        </p:nvCxnSpPr>
        <p:spPr>
          <a:xfrm>
            <a:off x="4169739" y="4698183"/>
            <a:ext cx="0" cy="1085534"/>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322E8D49-B7D0-B59C-0FC9-4D76356D3254}"/>
              </a:ext>
            </a:extLst>
          </p:cNvPr>
          <p:cNvSpPr>
            <a:spLocks noGrp="1"/>
          </p:cNvSpPr>
          <p:nvPr>
            <p:ph type="body" sz="quarter" idx="10" hasCustomPrompt="1"/>
          </p:nvPr>
        </p:nvSpPr>
        <p:spPr>
          <a:xfrm>
            <a:off x="584200" y="6460362"/>
            <a:ext cx="11025188" cy="138499"/>
          </a:xfrm>
        </p:spPr>
        <p:txBody>
          <a:bodyPr anchor="b">
            <a:spAutoFit/>
          </a:bodyPr>
          <a:lstStyle>
            <a:lvl1pPr marL="0" indent="0">
              <a:buNone/>
              <a:defRPr kumimoji="0" lang="en-US" sz="900" b="0" i="0" u="none" strike="noStrike" kern="1200" cap="none" spc="0" normalizeH="0" baseline="0" dirty="0">
                <a:ln>
                  <a:noFill/>
                </a:ln>
                <a:solidFill>
                  <a:schemeClr val="bg1">
                    <a:lumMod val="50000"/>
                  </a:schemeClr>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14400" rtl="0" eaLnBrk="1" fontAlgn="auto" latinLnBrk="0" hangingPunct="1">
              <a:lnSpc>
                <a:spcPct val="100000"/>
              </a:lnSpc>
              <a:spcBef>
                <a:spcPts val="0"/>
              </a:spcBef>
              <a:spcAft>
                <a:spcPts val="0"/>
              </a:spcAft>
              <a:buClrTx/>
              <a:buSzTx/>
              <a:tabLst/>
              <a:defRPr/>
            </a:pPr>
            <a:r>
              <a:rPr lang="en-GB"/>
              <a:t>Add text here</a:t>
            </a:r>
          </a:p>
        </p:txBody>
      </p:sp>
      <p:sp>
        <p:nvSpPr>
          <p:cNvPr id="46" name="Text Placeholder 45">
            <a:extLst>
              <a:ext uri="{FF2B5EF4-FFF2-40B4-BE49-F238E27FC236}">
                <a16:creationId xmlns:a16="http://schemas.microsoft.com/office/drawing/2014/main" id="{0AB7458F-F0CA-4F5E-9E21-8C86D4FA9E7E}"/>
              </a:ext>
            </a:extLst>
          </p:cNvPr>
          <p:cNvSpPr>
            <a:spLocks noGrp="1"/>
          </p:cNvSpPr>
          <p:nvPr>
            <p:ph type="body" sz="quarter" idx="38"/>
          </p:nvPr>
        </p:nvSpPr>
        <p:spPr>
          <a:xfrm>
            <a:off x="584198" y="1769835"/>
            <a:ext cx="11018520" cy="2441448"/>
          </a:xfrm>
        </p:spPr>
        <p:txBody>
          <a:bodyPr lIns="182880" tIns="91440" rIns="182880" bIns="91440" anchor="ctr">
            <a:noAutofit/>
          </a:bodyPr>
          <a:lstStyle>
            <a:lvl1pPr marL="0" indent="0">
              <a:buNone/>
              <a:defRPr>
                <a:solidFill>
                  <a:schemeClr val="tx1"/>
                </a:solidFill>
              </a:defRPr>
            </a:lvl1pPr>
          </a:lstStyle>
          <a:p>
            <a:pPr lvl="0"/>
            <a:r>
              <a:rPr lang="en-US"/>
              <a:t>Click to edit Master text styles</a:t>
            </a:r>
          </a:p>
        </p:txBody>
      </p:sp>
      <p:sp>
        <p:nvSpPr>
          <p:cNvPr id="47" name="Text Placeholder 45">
            <a:extLst>
              <a:ext uri="{FF2B5EF4-FFF2-40B4-BE49-F238E27FC236}">
                <a16:creationId xmlns:a16="http://schemas.microsoft.com/office/drawing/2014/main" id="{46D9D0E8-C2F2-3AC9-AA13-7835A363DB00}"/>
              </a:ext>
            </a:extLst>
          </p:cNvPr>
          <p:cNvSpPr>
            <a:spLocks noGrp="1"/>
          </p:cNvSpPr>
          <p:nvPr>
            <p:ph type="body" sz="quarter" idx="39" hasCustomPrompt="1"/>
          </p:nvPr>
        </p:nvSpPr>
        <p:spPr>
          <a:xfrm>
            <a:off x="584198" y="4456712"/>
            <a:ext cx="3319275" cy="557894"/>
          </a:xfrm>
        </p:spPr>
        <p:txBody>
          <a:bodyPr lIns="0" tIns="0" rIns="0">
            <a:noAutofit/>
          </a:bodyPr>
          <a:lstStyle>
            <a:lvl1pPr marL="0" indent="0">
              <a:buNone/>
              <a:defRPr sz="4000">
                <a:solidFill>
                  <a:srgbClr val="14938C"/>
                </a:solidFill>
                <a:latin typeface="+mj-lt"/>
              </a:defRPr>
            </a:lvl1pPr>
          </a:lstStyle>
          <a:p>
            <a:pPr lvl="0"/>
            <a:r>
              <a:rPr lang="en-US"/>
              <a:t>##</a:t>
            </a:r>
          </a:p>
        </p:txBody>
      </p:sp>
      <p:sp>
        <p:nvSpPr>
          <p:cNvPr id="49" name="Text Placeholder 45">
            <a:extLst>
              <a:ext uri="{FF2B5EF4-FFF2-40B4-BE49-F238E27FC236}">
                <a16:creationId xmlns:a16="http://schemas.microsoft.com/office/drawing/2014/main" id="{E73758C4-F1A3-0FB8-738F-8E2CAC827513}"/>
              </a:ext>
            </a:extLst>
          </p:cNvPr>
          <p:cNvSpPr>
            <a:spLocks noGrp="1"/>
          </p:cNvSpPr>
          <p:nvPr>
            <p:ph type="body" sz="quarter" idx="40"/>
          </p:nvPr>
        </p:nvSpPr>
        <p:spPr>
          <a:xfrm>
            <a:off x="584198" y="5097221"/>
            <a:ext cx="3319275" cy="927035"/>
          </a:xfrm>
        </p:spPr>
        <p:txBody>
          <a:bodyPr lIns="0" tIns="0" rIns="0">
            <a:noAutofit/>
          </a:bodyPr>
          <a:lstStyle>
            <a:lvl1pPr marL="0" indent="0">
              <a:buNone/>
              <a:defRPr sz="2200">
                <a:solidFill>
                  <a:schemeClr val="tx1"/>
                </a:solidFill>
              </a:defRPr>
            </a:lvl1pPr>
          </a:lstStyle>
          <a:p>
            <a:pPr lvl="0"/>
            <a:r>
              <a:rPr lang="en-US"/>
              <a:t>Click to edit Master text styles</a:t>
            </a:r>
          </a:p>
        </p:txBody>
      </p:sp>
      <p:sp>
        <p:nvSpPr>
          <p:cNvPr id="52" name="Text Placeholder 45">
            <a:extLst>
              <a:ext uri="{FF2B5EF4-FFF2-40B4-BE49-F238E27FC236}">
                <a16:creationId xmlns:a16="http://schemas.microsoft.com/office/drawing/2014/main" id="{33EBE6C3-1FF9-8EB2-BAEF-B086E610EF32}"/>
              </a:ext>
            </a:extLst>
          </p:cNvPr>
          <p:cNvSpPr>
            <a:spLocks noGrp="1"/>
          </p:cNvSpPr>
          <p:nvPr>
            <p:ph type="body" sz="quarter" idx="41" hasCustomPrompt="1"/>
          </p:nvPr>
        </p:nvSpPr>
        <p:spPr>
          <a:xfrm>
            <a:off x="4436362" y="4456712"/>
            <a:ext cx="3319275" cy="557894"/>
          </a:xfrm>
        </p:spPr>
        <p:txBody>
          <a:bodyPr lIns="0" tIns="0" rIns="0">
            <a:noAutofit/>
          </a:bodyPr>
          <a:lstStyle>
            <a:lvl1pPr marL="0" indent="0">
              <a:buNone/>
              <a:defRPr sz="4000">
                <a:solidFill>
                  <a:srgbClr val="14938C"/>
                </a:solidFill>
                <a:latin typeface="+mj-lt"/>
              </a:defRPr>
            </a:lvl1pPr>
          </a:lstStyle>
          <a:p>
            <a:pPr lvl="0"/>
            <a:r>
              <a:rPr lang="en-US"/>
              <a:t>##</a:t>
            </a:r>
          </a:p>
        </p:txBody>
      </p:sp>
      <p:sp>
        <p:nvSpPr>
          <p:cNvPr id="53" name="Text Placeholder 45">
            <a:extLst>
              <a:ext uri="{FF2B5EF4-FFF2-40B4-BE49-F238E27FC236}">
                <a16:creationId xmlns:a16="http://schemas.microsoft.com/office/drawing/2014/main" id="{3A06A2B6-8AAF-2710-ABF6-86F4CE4F425B}"/>
              </a:ext>
            </a:extLst>
          </p:cNvPr>
          <p:cNvSpPr>
            <a:spLocks noGrp="1"/>
          </p:cNvSpPr>
          <p:nvPr>
            <p:ph type="body" sz="quarter" idx="42"/>
          </p:nvPr>
        </p:nvSpPr>
        <p:spPr>
          <a:xfrm>
            <a:off x="4436362" y="5097221"/>
            <a:ext cx="3319275" cy="927035"/>
          </a:xfrm>
        </p:spPr>
        <p:txBody>
          <a:bodyPr lIns="0" tIns="0" rIns="0">
            <a:noAutofit/>
          </a:bodyPr>
          <a:lstStyle>
            <a:lvl1pPr marL="0" indent="0">
              <a:buNone/>
              <a:defRPr sz="2200">
                <a:solidFill>
                  <a:schemeClr val="tx1"/>
                </a:solidFill>
              </a:defRPr>
            </a:lvl1pPr>
          </a:lstStyle>
          <a:p>
            <a:pPr lvl="0"/>
            <a:r>
              <a:rPr lang="en-US"/>
              <a:t>Click to edit Master text styles</a:t>
            </a:r>
          </a:p>
        </p:txBody>
      </p:sp>
      <p:sp>
        <p:nvSpPr>
          <p:cNvPr id="54" name="Text Placeholder 45">
            <a:extLst>
              <a:ext uri="{FF2B5EF4-FFF2-40B4-BE49-F238E27FC236}">
                <a16:creationId xmlns:a16="http://schemas.microsoft.com/office/drawing/2014/main" id="{D473A9E8-1948-D60C-1734-9E202FA6ED0F}"/>
              </a:ext>
            </a:extLst>
          </p:cNvPr>
          <p:cNvSpPr>
            <a:spLocks noGrp="1"/>
          </p:cNvSpPr>
          <p:nvPr>
            <p:ph type="body" sz="quarter" idx="43" hasCustomPrompt="1"/>
          </p:nvPr>
        </p:nvSpPr>
        <p:spPr>
          <a:xfrm>
            <a:off x="8290113" y="4456712"/>
            <a:ext cx="3319275" cy="557894"/>
          </a:xfrm>
        </p:spPr>
        <p:txBody>
          <a:bodyPr lIns="0" tIns="0" rIns="0">
            <a:noAutofit/>
          </a:bodyPr>
          <a:lstStyle>
            <a:lvl1pPr marL="0" indent="0">
              <a:buNone/>
              <a:defRPr sz="4000">
                <a:solidFill>
                  <a:srgbClr val="14938C"/>
                </a:solidFill>
                <a:latin typeface="+mj-lt"/>
              </a:defRPr>
            </a:lvl1pPr>
          </a:lstStyle>
          <a:p>
            <a:pPr lvl="0"/>
            <a:r>
              <a:rPr lang="en-US"/>
              <a:t>##</a:t>
            </a:r>
          </a:p>
        </p:txBody>
      </p:sp>
      <p:sp>
        <p:nvSpPr>
          <p:cNvPr id="55" name="Text Placeholder 45">
            <a:extLst>
              <a:ext uri="{FF2B5EF4-FFF2-40B4-BE49-F238E27FC236}">
                <a16:creationId xmlns:a16="http://schemas.microsoft.com/office/drawing/2014/main" id="{D26D42E3-52BC-0E65-5892-E61493D41945}"/>
              </a:ext>
            </a:extLst>
          </p:cNvPr>
          <p:cNvSpPr>
            <a:spLocks noGrp="1"/>
          </p:cNvSpPr>
          <p:nvPr>
            <p:ph type="body" sz="quarter" idx="44"/>
          </p:nvPr>
        </p:nvSpPr>
        <p:spPr>
          <a:xfrm>
            <a:off x="8290113" y="5097221"/>
            <a:ext cx="3319275" cy="927035"/>
          </a:xfrm>
        </p:spPr>
        <p:txBody>
          <a:bodyPr lIns="0" tIns="0" rIns="0">
            <a:noAutofit/>
          </a:bodyPr>
          <a:lstStyle>
            <a:lvl1pPr marL="0" indent="0">
              <a:buNone/>
              <a:defRPr sz="22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267792384"/>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usiness Impact">
    <p:spTree>
      <p:nvGrpSpPr>
        <p:cNvPr id="1" name=""/>
        <p:cNvGrpSpPr/>
        <p:nvPr/>
      </p:nvGrpSpPr>
      <p:grpSpPr>
        <a:xfrm>
          <a:off x="0" y="0"/>
          <a:ext cx="0" cy="0"/>
          <a:chOff x="0" y="0"/>
          <a:chExt cx="0" cy="0"/>
        </a:xfrm>
      </p:grpSpPr>
      <p:sp>
        <p:nvSpPr>
          <p:cNvPr id="3" name="Rectangle: Top Corners Rounded 2">
            <a:extLst>
              <a:ext uri="{FF2B5EF4-FFF2-40B4-BE49-F238E27FC236}">
                <a16:creationId xmlns:a16="http://schemas.microsoft.com/office/drawing/2014/main" id="{C49E777D-77AE-6C9F-78EB-57FE423DCD21}"/>
              </a:ext>
            </a:extLst>
          </p:cNvPr>
          <p:cNvSpPr/>
          <p:nvPr userDrawn="1"/>
        </p:nvSpPr>
        <p:spPr bwMode="auto">
          <a:xfrm rot="10800000">
            <a:off x="5850946" y="1991226"/>
            <a:ext cx="1492828" cy="1720960"/>
          </a:xfrm>
          <a:prstGeom prst="round2SameRect">
            <a:avLst>
              <a:gd name="adj1" fmla="val 50000"/>
              <a:gd name="adj2" fmla="val 0"/>
            </a:avLst>
          </a:prstGeom>
          <a:solidFill>
            <a:schemeClr val="bg1">
              <a:alpha val="77000"/>
            </a:schemeClr>
          </a:solidFill>
          <a:ln w="15875">
            <a:noFill/>
            <a:headEnd type="none" w="med" len="med"/>
            <a:tailEnd type="none" w="med" len="med"/>
          </a:ln>
          <a:effectLst>
            <a:outerShdw blurRad="2286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4" name="Rectangle: Top Corners Rounded 3">
            <a:extLst>
              <a:ext uri="{FF2B5EF4-FFF2-40B4-BE49-F238E27FC236}">
                <a16:creationId xmlns:a16="http://schemas.microsoft.com/office/drawing/2014/main" id="{AA36565A-CC06-8390-77CC-2538A936107E}"/>
              </a:ext>
            </a:extLst>
          </p:cNvPr>
          <p:cNvSpPr/>
          <p:nvPr userDrawn="1"/>
        </p:nvSpPr>
        <p:spPr bwMode="auto">
          <a:xfrm rot="10800000">
            <a:off x="7914477" y="1991226"/>
            <a:ext cx="1492828" cy="1720960"/>
          </a:xfrm>
          <a:prstGeom prst="round2SameRect">
            <a:avLst>
              <a:gd name="adj1" fmla="val 50000"/>
              <a:gd name="adj2" fmla="val 0"/>
            </a:avLst>
          </a:prstGeom>
          <a:solidFill>
            <a:schemeClr val="bg1">
              <a:alpha val="77000"/>
            </a:schemeClr>
          </a:solidFill>
          <a:ln w="15875">
            <a:noFill/>
            <a:headEnd type="none" w="med" len="med"/>
            <a:tailEnd type="none" w="med" len="med"/>
          </a:ln>
          <a:effectLst>
            <a:outerShdw blurRad="2286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5" name="Rectangle: Top Corners Rounded 4">
            <a:extLst>
              <a:ext uri="{FF2B5EF4-FFF2-40B4-BE49-F238E27FC236}">
                <a16:creationId xmlns:a16="http://schemas.microsoft.com/office/drawing/2014/main" id="{869B36D9-3315-FDE0-EDE0-E25464CBBE10}"/>
              </a:ext>
            </a:extLst>
          </p:cNvPr>
          <p:cNvSpPr/>
          <p:nvPr userDrawn="1"/>
        </p:nvSpPr>
        <p:spPr bwMode="auto">
          <a:xfrm rot="10800000">
            <a:off x="9978008" y="1991226"/>
            <a:ext cx="1492828" cy="1720960"/>
          </a:xfrm>
          <a:prstGeom prst="round2SameRect">
            <a:avLst>
              <a:gd name="adj1" fmla="val 50000"/>
              <a:gd name="adj2" fmla="val 0"/>
            </a:avLst>
          </a:prstGeom>
          <a:solidFill>
            <a:schemeClr val="bg1">
              <a:alpha val="77000"/>
            </a:schemeClr>
          </a:solidFill>
          <a:ln w="15875">
            <a:noFill/>
            <a:headEnd type="none" w="med" len="med"/>
            <a:tailEnd type="none" w="med" len="med"/>
          </a:ln>
          <a:effectLst>
            <a:outerShdw blurRad="2286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6" name="Freeform: Shape 5">
            <a:extLst>
              <a:ext uri="{FF2B5EF4-FFF2-40B4-BE49-F238E27FC236}">
                <a16:creationId xmlns:a16="http://schemas.microsoft.com/office/drawing/2014/main" id="{0E9AE189-67A7-1D71-43B6-11B627D5D0B9}"/>
              </a:ext>
            </a:extLst>
          </p:cNvPr>
          <p:cNvSpPr/>
          <p:nvPr userDrawn="1"/>
        </p:nvSpPr>
        <p:spPr bwMode="auto">
          <a:xfrm rot="10800000">
            <a:off x="5457824" y="2052318"/>
            <a:ext cx="160569" cy="160569"/>
          </a:xfrm>
          <a:custGeom>
            <a:avLst/>
            <a:gdLst>
              <a:gd name="connsiteX0" fmla="*/ 160569 w 160569"/>
              <a:gd name="connsiteY0" fmla="*/ 160569 h 160569"/>
              <a:gd name="connsiteX1" fmla="*/ 0 w 160569"/>
              <a:gd name="connsiteY1" fmla="*/ 160569 h 160569"/>
              <a:gd name="connsiteX2" fmla="*/ 160569 w 160569"/>
              <a:gd name="connsiteY2" fmla="*/ 0 h 160569"/>
            </a:gdLst>
            <a:ahLst/>
            <a:cxnLst>
              <a:cxn ang="0">
                <a:pos x="connsiteX0" y="connsiteY0"/>
              </a:cxn>
              <a:cxn ang="0">
                <a:pos x="connsiteX1" y="connsiteY1"/>
              </a:cxn>
              <a:cxn ang="0">
                <a:pos x="connsiteX2" y="connsiteY2"/>
              </a:cxn>
            </a:cxnLst>
            <a:rect l="l" t="t" r="r" b="b"/>
            <a:pathLst>
              <a:path w="160569" h="160569">
                <a:moveTo>
                  <a:pt x="160569" y="160569"/>
                </a:moveTo>
                <a:lnTo>
                  <a:pt x="0" y="160569"/>
                </a:lnTo>
                <a:cubicBezTo>
                  <a:pt x="88680" y="160569"/>
                  <a:pt x="160569" y="88680"/>
                  <a:pt x="160569" y="0"/>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ABFCD77F-66E4-830A-7E78-B5926A97FDE2}"/>
              </a:ext>
            </a:extLst>
          </p:cNvPr>
          <p:cNvSpPr/>
          <p:nvPr userDrawn="1"/>
        </p:nvSpPr>
        <p:spPr bwMode="auto">
          <a:xfrm rot="10800000" flipH="1">
            <a:off x="262405" y="1741711"/>
            <a:ext cx="11929593" cy="3106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Rectangle: Single Corner Rounded 7">
            <a:extLst>
              <a:ext uri="{FF2B5EF4-FFF2-40B4-BE49-F238E27FC236}">
                <a16:creationId xmlns:a16="http://schemas.microsoft.com/office/drawing/2014/main" id="{9574F7C6-0567-14AA-0BD5-42726AB6A14B}"/>
              </a:ext>
            </a:extLst>
          </p:cNvPr>
          <p:cNvSpPr/>
          <p:nvPr userDrawn="1"/>
        </p:nvSpPr>
        <p:spPr bwMode="auto">
          <a:xfrm rot="10800000" flipH="1">
            <a:off x="-1" y="1741709"/>
            <a:ext cx="5457825" cy="4916265"/>
          </a:xfrm>
          <a:prstGeom prst="round1Rect">
            <a:avLst>
              <a:gd name="adj" fmla="val 327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1" name="Straight Connector 10">
            <a:extLst>
              <a:ext uri="{FF2B5EF4-FFF2-40B4-BE49-F238E27FC236}">
                <a16:creationId xmlns:a16="http://schemas.microsoft.com/office/drawing/2014/main" id="{81B4D7F2-B773-83FD-029A-DA9738372797}"/>
              </a:ext>
            </a:extLst>
          </p:cNvPr>
          <p:cNvCxnSpPr>
            <a:cxnSpLocks/>
          </p:cNvCxnSpPr>
          <p:nvPr userDrawn="1"/>
        </p:nvCxnSpPr>
        <p:spPr>
          <a:xfrm>
            <a:off x="7629127" y="3991294"/>
            <a:ext cx="0" cy="2285681"/>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Arrow: Bent 11">
            <a:extLst>
              <a:ext uri="{FF2B5EF4-FFF2-40B4-BE49-F238E27FC236}">
                <a16:creationId xmlns:a16="http://schemas.microsoft.com/office/drawing/2014/main" id="{1AC745DE-0C69-96FE-E9AE-027389F0BBFA}"/>
              </a:ext>
            </a:extLst>
          </p:cNvPr>
          <p:cNvSpPr/>
          <p:nvPr userDrawn="1"/>
        </p:nvSpPr>
        <p:spPr bwMode="auto">
          <a:xfrm rot="5400000" flipH="1">
            <a:off x="512440" y="1712591"/>
            <a:ext cx="4432937" cy="5457830"/>
          </a:xfrm>
          <a:prstGeom prst="bentArrow">
            <a:avLst>
              <a:gd name="adj1" fmla="val 25000"/>
              <a:gd name="adj2" fmla="val 0"/>
              <a:gd name="adj3" fmla="val 25000"/>
              <a:gd name="adj4" fmla="val 3807"/>
            </a:avLst>
          </a:prstGeom>
          <a:solidFill>
            <a:schemeClr val="accent1"/>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Arrow: Bent 12">
            <a:extLst>
              <a:ext uri="{FF2B5EF4-FFF2-40B4-BE49-F238E27FC236}">
                <a16:creationId xmlns:a16="http://schemas.microsoft.com/office/drawing/2014/main" id="{76018BE7-A988-6E23-771E-5D6851766898}"/>
              </a:ext>
            </a:extLst>
          </p:cNvPr>
          <p:cNvSpPr/>
          <p:nvPr userDrawn="1"/>
        </p:nvSpPr>
        <p:spPr bwMode="auto">
          <a:xfrm rot="16200000" flipH="1">
            <a:off x="7483794" y="26353"/>
            <a:ext cx="2682240" cy="6734181"/>
          </a:xfrm>
          <a:prstGeom prst="bentArrow">
            <a:avLst>
              <a:gd name="adj1" fmla="val 25000"/>
              <a:gd name="adj2" fmla="val 0"/>
              <a:gd name="adj3" fmla="val 25000"/>
              <a:gd name="adj4" fmla="val 5935"/>
            </a:avLst>
          </a:prstGeom>
          <a:solidFill>
            <a:schemeClr val="accent1"/>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6C1C5EC6-742E-183C-3DBA-BB6275896828}"/>
              </a:ext>
            </a:extLst>
          </p:cNvPr>
          <p:cNvSpPr/>
          <p:nvPr userDrawn="1"/>
        </p:nvSpPr>
        <p:spPr bwMode="auto">
          <a:xfrm rot="10800000" flipH="1">
            <a:off x="-1" y="1741707"/>
            <a:ext cx="12191999" cy="991967"/>
          </a:xfrm>
          <a:custGeom>
            <a:avLst/>
            <a:gdLst>
              <a:gd name="connsiteX0" fmla="*/ 0 w 12191999"/>
              <a:gd name="connsiteY0" fmla="*/ 991967 h 991967"/>
              <a:gd name="connsiteX1" fmla="*/ 5276851 w 12191999"/>
              <a:gd name="connsiteY1" fmla="*/ 991967 h 991967"/>
              <a:gd name="connsiteX2" fmla="*/ 5276851 w 12191999"/>
              <a:gd name="connsiteY2" fmla="*/ 991964 h 991967"/>
              <a:gd name="connsiteX3" fmla="*/ 12191999 w 12191999"/>
              <a:gd name="connsiteY3" fmla="*/ 991964 h 991967"/>
              <a:gd name="connsiteX4" fmla="*/ 12191999 w 12191999"/>
              <a:gd name="connsiteY4" fmla="*/ 860778 h 991967"/>
              <a:gd name="connsiteX5" fmla="*/ 5539243 w 12191999"/>
              <a:gd name="connsiteY5" fmla="*/ 860778 h 991967"/>
              <a:gd name="connsiteX6" fmla="*/ 5461225 w 12191999"/>
              <a:gd name="connsiteY6" fmla="*/ 848983 h 991967"/>
              <a:gd name="connsiteX7" fmla="*/ 5297470 w 12191999"/>
              <a:gd name="connsiteY7" fmla="*/ 700514 h 991967"/>
              <a:gd name="connsiteX8" fmla="*/ 5276851 w 12191999"/>
              <a:gd name="connsiteY8" fmla="*/ 598383 h 991967"/>
              <a:gd name="connsiteX9" fmla="*/ 5276851 w 12191999"/>
              <a:gd name="connsiteY9" fmla="*/ 165331 h 991967"/>
              <a:gd name="connsiteX10" fmla="*/ 5111520 w 12191999"/>
              <a:gd name="connsiteY10" fmla="*/ 0 h 991967"/>
              <a:gd name="connsiteX11" fmla="*/ 0 w 12191999"/>
              <a:gd name="connsiteY11" fmla="*/ 0 h 991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1999" h="991967">
                <a:moveTo>
                  <a:pt x="0" y="991967"/>
                </a:moveTo>
                <a:lnTo>
                  <a:pt x="5276851" y="991967"/>
                </a:lnTo>
                <a:lnTo>
                  <a:pt x="5276851" y="991964"/>
                </a:lnTo>
                <a:lnTo>
                  <a:pt x="12191999" y="991964"/>
                </a:lnTo>
                <a:lnTo>
                  <a:pt x="12191999" y="860778"/>
                </a:lnTo>
                <a:lnTo>
                  <a:pt x="5539243" y="860778"/>
                </a:lnTo>
                <a:lnTo>
                  <a:pt x="5461225" y="848983"/>
                </a:lnTo>
                <a:cubicBezTo>
                  <a:pt x="5387274" y="825982"/>
                  <a:pt x="5327347" y="771150"/>
                  <a:pt x="5297470" y="700514"/>
                </a:cubicBezTo>
                <a:lnTo>
                  <a:pt x="5276851" y="598383"/>
                </a:lnTo>
                <a:lnTo>
                  <a:pt x="5276851" y="165331"/>
                </a:lnTo>
                <a:cubicBezTo>
                  <a:pt x="5276851" y="74021"/>
                  <a:pt x="5202830" y="0"/>
                  <a:pt x="5111520" y="0"/>
                </a:cubicBez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46327B1B-E882-0494-C1E6-B81863529C68}"/>
              </a:ext>
            </a:extLst>
          </p:cNvPr>
          <p:cNvSpPr/>
          <p:nvPr userDrawn="1"/>
        </p:nvSpPr>
        <p:spPr bwMode="auto">
          <a:xfrm>
            <a:off x="-7" y="1"/>
            <a:ext cx="12192006" cy="1741713"/>
          </a:xfrm>
          <a:prstGeom prst="rect">
            <a:avLst/>
          </a:prstGeom>
          <a:solidFill>
            <a:schemeClr val="bg1"/>
          </a:solidFill>
          <a:ln w="15875">
            <a:noFill/>
            <a:headEnd type="none" w="med" len="med"/>
            <a:tailEnd type="none" w="med" len="med"/>
          </a:ln>
          <a:effectLst>
            <a:outerShdw blurRad="63500" sx="102000" sy="102000" algn="ctr" rotWithShape="0">
              <a:schemeClr val="tx1">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19" name="Oval 18">
            <a:extLst>
              <a:ext uri="{FF2B5EF4-FFF2-40B4-BE49-F238E27FC236}">
                <a16:creationId xmlns:a16="http://schemas.microsoft.com/office/drawing/2014/main" id="{BDA3D19A-3F82-7B69-BB87-376F70892A58}"/>
              </a:ext>
            </a:extLst>
          </p:cNvPr>
          <p:cNvSpPr/>
          <p:nvPr userDrawn="1"/>
        </p:nvSpPr>
        <p:spPr bwMode="auto">
          <a:xfrm>
            <a:off x="8025382" y="2303247"/>
            <a:ext cx="1271018" cy="12710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4B4A2395-E8B5-44C6-5D16-BB3100547C3A}"/>
              </a:ext>
            </a:extLst>
          </p:cNvPr>
          <p:cNvSpPr/>
          <p:nvPr userDrawn="1"/>
        </p:nvSpPr>
        <p:spPr bwMode="auto">
          <a:xfrm>
            <a:off x="10088913" y="2303247"/>
            <a:ext cx="1271018" cy="12710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2930AEBB-0B3D-35AA-14A4-092156B9EABD}"/>
              </a:ext>
            </a:extLst>
          </p:cNvPr>
          <p:cNvSpPr/>
          <p:nvPr userDrawn="1"/>
        </p:nvSpPr>
        <p:spPr bwMode="auto">
          <a:xfrm>
            <a:off x="5961851" y="2303247"/>
            <a:ext cx="1271018" cy="12710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7C550B8-64D2-D849-9036-FFF8E6366AE2}"/>
              </a:ext>
            </a:extLst>
          </p:cNvPr>
          <p:cNvCxnSpPr>
            <a:cxnSpLocks/>
          </p:cNvCxnSpPr>
          <p:nvPr userDrawn="1"/>
        </p:nvCxnSpPr>
        <p:spPr>
          <a:xfrm>
            <a:off x="9692658" y="3991294"/>
            <a:ext cx="0" cy="2276156"/>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886196"/>
            <a:ext cx="11018520" cy="553998"/>
          </a:xfrm>
        </p:spPr>
        <p:txBody>
          <a:bodyPr/>
          <a:lstStyle/>
          <a:p>
            <a:r>
              <a:rPr lang="en-US"/>
              <a:t>Click to edit Master title style</a:t>
            </a:r>
          </a:p>
        </p:txBody>
      </p:sp>
      <p:sp>
        <p:nvSpPr>
          <p:cNvPr id="64" name="Text Placeholder 11">
            <a:extLst>
              <a:ext uri="{FF2B5EF4-FFF2-40B4-BE49-F238E27FC236}">
                <a16:creationId xmlns:a16="http://schemas.microsoft.com/office/drawing/2014/main" id="{455F6BBA-1284-8D0A-5612-5126F0347F91}"/>
              </a:ext>
            </a:extLst>
          </p:cNvPr>
          <p:cNvSpPr>
            <a:spLocks noGrp="1"/>
          </p:cNvSpPr>
          <p:nvPr>
            <p:ph type="body" sz="quarter" idx="16" hasCustomPrompt="1"/>
          </p:nvPr>
        </p:nvSpPr>
        <p:spPr>
          <a:xfrm>
            <a:off x="584200" y="2906340"/>
            <a:ext cx="4718304" cy="400110"/>
          </a:xfrm>
        </p:spPr>
        <p:txBody>
          <a:bodyPr anchor="t"/>
          <a:lstStyle>
            <a:lvl1pPr marL="0" indent="0">
              <a:spcBef>
                <a:spcPts val="0"/>
              </a:spcBef>
              <a:buNone/>
              <a:defRPr kumimoji="0" lang="en-US" sz="2600" b="0" i="0" u="none" strike="noStrike" kern="1200" cap="none" spc="0" normalizeH="0" baseline="0" dirty="0">
                <a:ln>
                  <a:noFill/>
                </a:ln>
                <a:solidFill>
                  <a:srgbClr val="000000"/>
                </a:solidFill>
                <a:effectLst/>
                <a:uLnTx/>
                <a:uFillTx/>
                <a:latin typeface="Segoe UI"/>
                <a:ea typeface="Calibri" panose="020F0502020204030204"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65" name="Text Placeholder 11">
            <a:extLst>
              <a:ext uri="{FF2B5EF4-FFF2-40B4-BE49-F238E27FC236}">
                <a16:creationId xmlns:a16="http://schemas.microsoft.com/office/drawing/2014/main" id="{C5A9A83D-5331-01A7-C56F-091E337FD3B1}"/>
              </a:ext>
            </a:extLst>
          </p:cNvPr>
          <p:cNvSpPr>
            <a:spLocks noGrp="1"/>
          </p:cNvSpPr>
          <p:nvPr>
            <p:ph type="body" sz="quarter" idx="17" hasCustomPrompt="1"/>
          </p:nvPr>
        </p:nvSpPr>
        <p:spPr>
          <a:xfrm>
            <a:off x="584200" y="506558"/>
            <a:ext cx="4718304" cy="215444"/>
          </a:xfrm>
        </p:spPr>
        <p:txBody>
          <a:bodyPr anchor="t"/>
          <a:lstStyle>
            <a:lvl1pPr marL="0" indent="0">
              <a:spcBef>
                <a:spcPts val="0"/>
              </a:spcBef>
              <a:buNone/>
              <a:defRPr kumimoji="0" lang="en-US" sz="1400" b="1" i="0" u="none" strike="noStrike" kern="1200" cap="all" spc="150" normalizeH="0" baseline="0" dirty="0">
                <a:ln w="3175">
                  <a:noFill/>
                </a:ln>
                <a:solidFill>
                  <a:srgbClr val="14938C"/>
                </a:solidFill>
                <a:effectLst/>
                <a:uLnTx/>
                <a:uFillTx/>
                <a:latin typeface="Segoe UI"/>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Click to edit text styles</a:t>
            </a:r>
          </a:p>
        </p:txBody>
      </p:sp>
      <p:sp>
        <p:nvSpPr>
          <p:cNvPr id="66" name="Text Placeholder 11">
            <a:extLst>
              <a:ext uri="{FF2B5EF4-FFF2-40B4-BE49-F238E27FC236}">
                <a16:creationId xmlns:a16="http://schemas.microsoft.com/office/drawing/2014/main" id="{F0F886B2-385B-AAF3-4752-63C8FC93625F}"/>
              </a:ext>
            </a:extLst>
          </p:cNvPr>
          <p:cNvSpPr>
            <a:spLocks noGrp="1"/>
          </p:cNvSpPr>
          <p:nvPr>
            <p:ph type="body" sz="quarter" idx="18" hasCustomPrompt="1"/>
          </p:nvPr>
        </p:nvSpPr>
        <p:spPr>
          <a:xfrm>
            <a:off x="6036574" y="2692533"/>
            <a:ext cx="1121573" cy="492443"/>
          </a:xfrm>
        </p:spPr>
        <p:txBody>
          <a:bodyPr anchor="t"/>
          <a:lstStyle>
            <a:lvl1pPr marL="0" indent="0" algn="ctr">
              <a:spcBef>
                <a:spcPts val="0"/>
              </a:spcBef>
              <a:buNone/>
              <a:defRPr kumimoji="0" lang="en-US" sz="3200" b="0" i="0" u="none" strike="noStrike" kern="1200" cap="none" spc="120" normalizeH="0" baseline="0" dirty="0">
                <a:ln>
                  <a:noFill/>
                </a:ln>
                <a:solidFill>
                  <a:srgbClr val="14938C"/>
                </a:solidFill>
                <a:effectLst/>
                <a:uLnTx/>
                <a:uFillTx/>
                <a:latin typeface="Segoe UI Semibold"/>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120" normalizeH="0" baseline="0" noProof="0">
                <a:ln>
                  <a:noFill/>
                </a:ln>
                <a:solidFill>
                  <a:srgbClr val="14938C"/>
                </a:solidFill>
                <a:effectLst/>
                <a:uLnTx/>
                <a:uFillTx/>
                <a:latin typeface="Segoe UI Semibold"/>
                <a:ea typeface="+mn-ea"/>
                <a:cs typeface="Segoe UI" pitchFamily="34" charset="0"/>
              </a:rPr>
              <a:t>XM</a:t>
            </a: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7" name="Text Placeholder 11">
            <a:extLst>
              <a:ext uri="{FF2B5EF4-FFF2-40B4-BE49-F238E27FC236}">
                <a16:creationId xmlns:a16="http://schemas.microsoft.com/office/drawing/2014/main" id="{792C0778-6740-A2F2-D9D6-401050247AF5}"/>
              </a:ext>
            </a:extLst>
          </p:cNvPr>
          <p:cNvSpPr>
            <a:spLocks noGrp="1"/>
          </p:cNvSpPr>
          <p:nvPr>
            <p:ph type="body" sz="quarter" idx="19" hasCustomPrompt="1"/>
          </p:nvPr>
        </p:nvSpPr>
        <p:spPr>
          <a:xfrm>
            <a:off x="8100105" y="2692533"/>
            <a:ext cx="1121573" cy="492443"/>
          </a:xfrm>
        </p:spPr>
        <p:txBody>
          <a:bodyPr anchor="t"/>
          <a:lstStyle>
            <a:lvl1pPr marL="0" indent="0" algn="ctr">
              <a:spcBef>
                <a:spcPts val="0"/>
              </a:spcBef>
              <a:buNone/>
              <a:defRPr kumimoji="0" lang="en-US" sz="3200" b="0" i="0" u="none" strike="noStrike" kern="1200" cap="none" spc="120" normalizeH="0" baseline="0" dirty="0">
                <a:ln>
                  <a:noFill/>
                </a:ln>
                <a:solidFill>
                  <a:srgbClr val="14938C"/>
                </a:solidFill>
                <a:effectLst/>
                <a:uLnTx/>
                <a:uFillTx/>
                <a:latin typeface="Segoe UI Semibold"/>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120" normalizeH="0" baseline="0" noProof="0">
                <a:ln>
                  <a:noFill/>
                </a:ln>
                <a:solidFill>
                  <a:srgbClr val="14938C"/>
                </a:solidFill>
                <a:effectLst/>
                <a:uLnTx/>
                <a:uFillTx/>
                <a:latin typeface="Segoe UI Semibold"/>
                <a:ea typeface="+mn-ea"/>
                <a:cs typeface="Segoe UI" pitchFamily="34" charset="0"/>
              </a:rPr>
              <a:t>XM</a:t>
            </a: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0" name="Text Placeholder 11">
            <a:extLst>
              <a:ext uri="{FF2B5EF4-FFF2-40B4-BE49-F238E27FC236}">
                <a16:creationId xmlns:a16="http://schemas.microsoft.com/office/drawing/2014/main" id="{77A320B2-09D0-2808-D1DA-9D2CDE42A4DC}"/>
              </a:ext>
            </a:extLst>
          </p:cNvPr>
          <p:cNvSpPr>
            <a:spLocks noGrp="1"/>
          </p:cNvSpPr>
          <p:nvPr>
            <p:ph type="body" sz="quarter" idx="20" hasCustomPrompt="1"/>
          </p:nvPr>
        </p:nvSpPr>
        <p:spPr>
          <a:xfrm>
            <a:off x="10163636" y="2692533"/>
            <a:ext cx="1121573" cy="492443"/>
          </a:xfrm>
        </p:spPr>
        <p:txBody>
          <a:bodyPr anchor="t"/>
          <a:lstStyle>
            <a:lvl1pPr marL="0" indent="0" algn="ctr">
              <a:spcBef>
                <a:spcPts val="0"/>
              </a:spcBef>
              <a:buNone/>
              <a:defRPr kumimoji="0" lang="en-US" sz="3200" b="0" i="0" u="none" strike="noStrike" kern="1200" cap="none" spc="120" normalizeH="0" baseline="0" dirty="0">
                <a:ln>
                  <a:noFill/>
                </a:ln>
                <a:solidFill>
                  <a:srgbClr val="14938C"/>
                </a:solidFill>
                <a:effectLst/>
                <a:uLnTx/>
                <a:uFillTx/>
                <a:latin typeface="Segoe UI Semibold"/>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120" normalizeH="0" baseline="0" noProof="0">
                <a:ln>
                  <a:noFill/>
                </a:ln>
                <a:solidFill>
                  <a:srgbClr val="14938C"/>
                </a:solidFill>
                <a:effectLst/>
                <a:uLnTx/>
                <a:uFillTx/>
                <a:latin typeface="Segoe UI Semibold"/>
                <a:ea typeface="+mn-ea"/>
                <a:cs typeface="Segoe UI" pitchFamily="34" charset="0"/>
              </a:rPr>
              <a:t>XM</a:t>
            </a: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1" name="Text Placeholder 11">
            <a:extLst>
              <a:ext uri="{FF2B5EF4-FFF2-40B4-BE49-F238E27FC236}">
                <a16:creationId xmlns:a16="http://schemas.microsoft.com/office/drawing/2014/main" id="{BF26DCBC-28FD-8577-EDBA-69DF87E05D4D}"/>
              </a:ext>
            </a:extLst>
          </p:cNvPr>
          <p:cNvSpPr>
            <a:spLocks noGrp="1"/>
          </p:cNvSpPr>
          <p:nvPr>
            <p:ph type="body" sz="quarter" idx="21" hasCustomPrompt="1"/>
          </p:nvPr>
        </p:nvSpPr>
        <p:spPr>
          <a:xfrm>
            <a:off x="5715000" y="4959583"/>
            <a:ext cx="1764792" cy="615553"/>
          </a:xfrm>
        </p:spPr>
        <p:txBody>
          <a:bodyPr anchor="t"/>
          <a:lstStyle>
            <a:lvl1pPr marL="0" indent="0" algn="ctr">
              <a:spcBef>
                <a:spcPts val="0"/>
              </a:spcBef>
              <a:buNone/>
              <a:defRPr kumimoji="0" lang="en-US" sz="20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600"/>
              </a:spcAft>
              <a:buClrTx/>
              <a:buSzPct val="90000"/>
              <a:buFontTx/>
              <a:buNone/>
              <a:tabLst/>
              <a:defRPr/>
            </a:pPr>
            <a:r>
              <a:rPr lang="en-US"/>
              <a:t>Click to edit text styles</a:t>
            </a:r>
          </a:p>
        </p:txBody>
      </p:sp>
      <p:sp>
        <p:nvSpPr>
          <p:cNvPr id="92" name="Text Placeholder 11">
            <a:extLst>
              <a:ext uri="{FF2B5EF4-FFF2-40B4-BE49-F238E27FC236}">
                <a16:creationId xmlns:a16="http://schemas.microsoft.com/office/drawing/2014/main" id="{F5765622-D82E-D4A9-DC62-8D7CEC03AF2A}"/>
              </a:ext>
            </a:extLst>
          </p:cNvPr>
          <p:cNvSpPr>
            <a:spLocks noGrp="1"/>
          </p:cNvSpPr>
          <p:nvPr>
            <p:ph type="body" sz="quarter" idx="22" hasCustomPrompt="1"/>
          </p:nvPr>
        </p:nvSpPr>
        <p:spPr>
          <a:xfrm>
            <a:off x="7778461" y="4959583"/>
            <a:ext cx="1764792" cy="615553"/>
          </a:xfrm>
        </p:spPr>
        <p:txBody>
          <a:bodyPr anchor="t"/>
          <a:lstStyle>
            <a:lvl1pPr marL="0" indent="0" algn="ctr">
              <a:spcBef>
                <a:spcPts val="0"/>
              </a:spcBef>
              <a:buNone/>
              <a:defRPr kumimoji="0" lang="en-US" sz="20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600"/>
              </a:spcAft>
              <a:buClrTx/>
              <a:buSzPct val="90000"/>
              <a:buFontTx/>
              <a:buNone/>
              <a:tabLst/>
              <a:defRPr/>
            </a:pPr>
            <a:r>
              <a:rPr lang="en-US"/>
              <a:t>Click to edit text styles</a:t>
            </a:r>
          </a:p>
        </p:txBody>
      </p:sp>
      <p:sp>
        <p:nvSpPr>
          <p:cNvPr id="93" name="Text Placeholder 11">
            <a:extLst>
              <a:ext uri="{FF2B5EF4-FFF2-40B4-BE49-F238E27FC236}">
                <a16:creationId xmlns:a16="http://schemas.microsoft.com/office/drawing/2014/main" id="{5D1FA0D8-1182-6252-22FC-8FADE3303179}"/>
              </a:ext>
            </a:extLst>
          </p:cNvPr>
          <p:cNvSpPr>
            <a:spLocks noGrp="1"/>
          </p:cNvSpPr>
          <p:nvPr>
            <p:ph type="body" sz="quarter" idx="23" hasCustomPrompt="1"/>
          </p:nvPr>
        </p:nvSpPr>
        <p:spPr>
          <a:xfrm>
            <a:off x="9841991" y="4959583"/>
            <a:ext cx="1764792" cy="615553"/>
          </a:xfrm>
        </p:spPr>
        <p:txBody>
          <a:bodyPr anchor="t"/>
          <a:lstStyle>
            <a:lvl1pPr marL="0" indent="0" algn="ctr">
              <a:spcBef>
                <a:spcPts val="0"/>
              </a:spcBef>
              <a:buNone/>
              <a:defRPr kumimoji="0" lang="en-US" sz="20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600"/>
              </a:spcAft>
              <a:buClrTx/>
              <a:buSzPct val="90000"/>
              <a:buFontTx/>
              <a:buNone/>
              <a:tabLst/>
              <a:defRPr/>
            </a:pPr>
            <a:r>
              <a:rPr lang="en-US"/>
              <a:t>Click to edit text styles</a:t>
            </a:r>
          </a:p>
        </p:txBody>
      </p:sp>
      <p:sp>
        <p:nvSpPr>
          <p:cNvPr id="94" name="Text Placeholder 20">
            <a:extLst>
              <a:ext uri="{FF2B5EF4-FFF2-40B4-BE49-F238E27FC236}">
                <a16:creationId xmlns:a16="http://schemas.microsoft.com/office/drawing/2014/main" id="{270BC17B-5220-3D25-2332-C72C0C6B9881}"/>
              </a:ext>
            </a:extLst>
          </p:cNvPr>
          <p:cNvSpPr>
            <a:spLocks noGrp="1"/>
          </p:cNvSpPr>
          <p:nvPr>
            <p:ph type="body" sz="quarter" idx="10" hasCustomPrompt="1"/>
          </p:nvPr>
        </p:nvSpPr>
        <p:spPr>
          <a:xfrm>
            <a:off x="5715000" y="6460362"/>
            <a:ext cx="5891779" cy="138499"/>
          </a:xfrm>
        </p:spPr>
        <p:txBody>
          <a:bodyPr wrap="square" anchor="b">
            <a:spAutoFit/>
          </a:bodyPr>
          <a:lstStyle>
            <a:lvl1pPr marL="0" indent="0">
              <a:buNone/>
              <a:defRPr kumimoji="0" lang="en-US" sz="900" b="0" i="0" u="none" strike="noStrike" kern="1200" cap="none" spc="0" normalizeH="0" baseline="0" dirty="0">
                <a:ln>
                  <a:noFill/>
                </a:ln>
                <a:solidFill>
                  <a:schemeClr val="bg1">
                    <a:lumMod val="50000"/>
                  </a:schemeClr>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14400" rtl="0" eaLnBrk="1" fontAlgn="auto" latinLnBrk="0" hangingPunct="1">
              <a:lnSpc>
                <a:spcPct val="100000"/>
              </a:lnSpc>
              <a:spcBef>
                <a:spcPts val="0"/>
              </a:spcBef>
              <a:spcAft>
                <a:spcPts val="0"/>
              </a:spcAft>
              <a:buClrTx/>
              <a:buSzTx/>
              <a:tabLst/>
              <a:defRPr/>
            </a:pPr>
            <a:r>
              <a:rPr lang="en-GB"/>
              <a:t>Add text here</a:t>
            </a:r>
          </a:p>
        </p:txBody>
      </p:sp>
      <p:sp>
        <p:nvSpPr>
          <p:cNvPr id="96" name="Picture Placeholder 56">
            <a:extLst>
              <a:ext uri="{FF2B5EF4-FFF2-40B4-BE49-F238E27FC236}">
                <a16:creationId xmlns:a16="http://schemas.microsoft.com/office/drawing/2014/main" id="{14A7F814-0638-C991-BC38-DD544463328C}"/>
              </a:ext>
            </a:extLst>
          </p:cNvPr>
          <p:cNvSpPr>
            <a:spLocks noGrp="1"/>
          </p:cNvSpPr>
          <p:nvPr>
            <p:ph type="pic" sz="quarter" idx="25" hasCustomPrompt="1"/>
          </p:nvPr>
        </p:nvSpPr>
        <p:spPr>
          <a:xfrm>
            <a:off x="6183321" y="3991294"/>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97" name="Picture Placeholder 56">
            <a:extLst>
              <a:ext uri="{FF2B5EF4-FFF2-40B4-BE49-F238E27FC236}">
                <a16:creationId xmlns:a16="http://schemas.microsoft.com/office/drawing/2014/main" id="{E119EA91-FE27-B7EC-21E6-9631DC496F90}"/>
              </a:ext>
            </a:extLst>
          </p:cNvPr>
          <p:cNvSpPr>
            <a:spLocks noGrp="1"/>
          </p:cNvSpPr>
          <p:nvPr>
            <p:ph type="pic" sz="quarter" idx="26" hasCustomPrompt="1"/>
          </p:nvPr>
        </p:nvSpPr>
        <p:spPr>
          <a:xfrm>
            <a:off x="8246782" y="3991294"/>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98" name="Picture Placeholder 56">
            <a:extLst>
              <a:ext uri="{FF2B5EF4-FFF2-40B4-BE49-F238E27FC236}">
                <a16:creationId xmlns:a16="http://schemas.microsoft.com/office/drawing/2014/main" id="{DA9B98A4-4886-A658-2638-E1EBA92CDCE3}"/>
              </a:ext>
            </a:extLst>
          </p:cNvPr>
          <p:cNvSpPr>
            <a:spLocks noGrp="1"/>
          </p:cNvSpPr>
          <p:nvPr>
            <p:ph type="pic" sz="quarter" idx="27" hasCustomPrompt="1"/>
          </p:nvPr>
        </p:nvSpPr>
        <p:spPr>
          <a:xfrm>
            <a:off x="10310312" y="3991294"/>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Tree>
    <p:extLst>
      <p:ext uri="{BB962C8B-B14F-4D97-AF65-F5344CB8AC3E}">
        <p14:creationId xmlns:p14="http://schemas.microsoft.com/office/powerpoint/2010/main" val="73443536"/>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Arrow: Right 2">
            <a:extLst>
              <a:ext uri="{FF2B5EF4-FFF2-40B4-BE49-F238E27FC236}">
                <a16:creationId xmlns:a16="http://schemas.microsoft.com/office/drawing/2014/main" id="{9AC421B8-2C39-15D6-FC81-127FC4A6A410}"/>
              </a:ext>
            </a:extLst>
          </p:cNvPr>
          <p:cNvSpPr/>
          <p:nvPr userDrawn="1"/>
        </p:nvSpPr>
        <p:spPr bwMode="auto">
          <a:xfrm>
            <a:off x="10188" y="3735646"/>
            <a:ext cx="12048462" cy="318426"/>
          </a:xfrm>
          <a:prstGeom prst="right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D7FA8A09-6617-92BB-F8CF-BB483183A07F}"/>
              </a:ext>
            </a:extLst>
          </p:cNvPr>
          <p:cNvCxnSpPr>
            <a:cxnSpLocks/>
          </p:cNvCxnSpPr>
          <p:nvPr userDrawn="1"/>
        </p:nvCxnSpPr>
        <p:spPr>
          <a:xfrm flipV="1">
            <a:off x="4630329" y="3426510"/>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77073A2-77E3-8950-299D-3974C95FDD85}"/>
              </a:ext>
            </a:extLst>
          </p:cNvPr>
          <p:cNvCxnSpPr>
            <a:cxnSpLocks/>
          </p:cNvCxnSpPr>
          <p:nvPr userDrawn="1"/>
        </p:nvCxnSpPr>
        <p:spPr>
          <a:xfrm flipH="1" flipV="1">
            <a:off x="6098247" y="4111425"/>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41D6E7C-1965-0D53-B9EB-0EF9764C1E81}"/>
              </a:ext>
            </a:extLst>
          </p:cNvPr>
          <p:cNvCxnSpPr>
            <a:cxnSpLocks/>
          </p:cNvCxnSpPr>
          <p:nvPr userDrawn="1"/>
        </p:nvCxnSpPr>
        <p:spPr>
          <a:xfrm flipV="1">
            <a:off x="7566165" y="3426510"/>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7883AE1-4972-ECD9-D6DD-9C88BBE94D93}"/>
              </a:ext>
            </a:extLst>
          </p:cNvPr>
          <p:cNvCxnSpPr>
            <a:cxnSpLocks/>
            <a:stCxn id="10" idx="0"/>
            <a:endCxn id="20" idx="4"/>
          </p:cNvCxnSpPr>
          <p:nvPr userDrawn="1"/>
        </p:nvCxnSpPr>
        <p:spPr>
          <a:xfrm flipH="1" flipV="1">
            <a:off x="9034083" y="4111425"/>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7F54579-7B37-8E21-055D-F8506DB13437}"/>
              </a:ext>
            </a:extLst>
          </p:cNvPr>
          <p:cNvSpPr/>
          <p:nvPr userDrawn="1"/>
        </p:nvSpPr>
        <p:spPr bwMode="auto">
          <a:xfrm>
            <a:off x="1777211" y="4363208"/>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C037E56F-ECF6-82CF-5CAD-724709739A83}"/>
              </a:ext>
            </a:extLst>
          </p:cNvPr>
          <p:cNvSpPr/>
          <p:nvPr userDrawn="1"/>
        </p:nvSpPr>
        <p:spPr bwMode="auto">
          <a:xfrm>
            <a:off x="4713047" y="4363208"/>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4A6BCB98-6F09-6FEA-2E49-AAEFFD627329}"/>
              </a:ext>
            </a:extLst>
          </p:cNvPr>
          <p:cNvSpPr/>
          <p:nvPr userDrawn="1"/>
        </p:nvSpPr>
        <p:spPr bwMode="auto">
          <a:xfrm>
            <a:off x="7648883" y="4363208"/>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A72CE325-811D-8010-DA2A-D3CE9A919BA4}"/>
              </a:ext>
            </a:extLst>
          </p:cNvPr>
          <p:cNvSpPr/>
          <p:nvPr userDrawn="1"/>
        </p:nvSpPr>
        <p:spPr bwMode="auto">
          <a:xfrm>
            <a:off x="309293" y="1199232"/>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593FB05-820C-513D-A5EB-01D4F19C1E73}"/>
              </a:ext>
            </a:extLst>
          </p:cNvPr>
          <p:cNvSpPr/>
          <p:nvPr userDrawn="1"/>
        </p:nvSpPr>
        <p:spPr bwMode="auto">
          <a:xfrm>
            <a:off x="3245129" y="1199232"/>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71E0F134-2735-6064-79D5-EEBC32CF5558}"/>
              </a:ext>
            </a:extLst>
          </p:cNvPr>
          <p:cNvSpPr/>
          <p:nvPr userDrawn="1"/>
        </p:nvSpPr>
        <p:spPr bwMode="auto">
          <a:xfrm>
            <a:off x="6180965" y="1199232"/>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459A5C35-32F2-C019-9466-A8EA5F9F69D7}"/>
              </a:ext>
            </a:extLst>
          </p:cNvPr>
          <p:cNvSpPr/>
          <p:nvPr userDrawn="1"/>
        </p:nvSpPr>
        <p:spPr bwMode="auto">
          <a:xfrm>
            <a:off x="9116800" y="1199232"/>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Oval 14">
            <a:extLst>
              <a:ext uri="{FF2B5EF4-FFF2-40B4-BE49-F238E27FC236}">
                <a16:creationId xmlns:a16="http://schemas.microsoft.com/office/drawing/2014/main" id="{1FFC58F4-509A-BBC8-740A-DC90026521FF}"/>
              </a:ext>
            </a:extLst>
          </p:cNvPr>
          <p:cNvSpPr/>
          <p:nvPr userDrawn="1"/>
        </p:nvSpPr>
        <p:spPr>
          <a:xfrm>
            <a:off x="1477927"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0</a:t>
            </a:r>
          </a:p>
        </p:txBody>
      </p:sp>
      <p:sp>
        <p:nvSpPr>
          <p:cNvPr id="16" name="Oval 15">
            <a:extLst>
              <a:ext uri="{FF2B5EF4-FFF2-40B4-BE49-F238E27FC236}">
                <a16:creationId xmlns:a16="http://schemas.microsoft.com/office/drawing/2014/main" id="{76D5866A-5827-FCCE-18B3-513F75186D50}"/>
              </a:ext>
            </a:extLst>
          </p:cNvPr>
          <p:cNvSpPr/>
          <p:nvPr userDrawn="1"/>
        </p:nvSpPr>
        <p:spPr>
          <a:xfrm>
            <a:off x="2945845"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1</a:t>
            </a:r>
          </a:p>
        </p:txBody>
      </p:sp>
      <p:sp>
        <p:nvSpPr>
          <p:cNvPr id="17" name="Oval 16">
            <a:extLst>
              <a:ext uri="{FF2B5EF4-FFF2-40B4-BE49-F238E27FC236}">
                <a16:creationId xmlns:a16="http://schemas.microsoft.com/office/drawing/2014/main" id="{6AD14159-DA23-DEFF-5535-25ED604CA625}"/>
              </a:ext>
            </a:extLst>
          </p:cNvPr>
          <p:cNvSpPr/>
          <p:nvPr userDrawn="1"/>
        </p:nvSpPr>
        <p:spPr>
          <a:xfrm>
            <a:off x="4413763"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2</a:t>
            </a:r>
          </a:p>
        </p:txBody>
      </p:sp>
      <p:sp>
        <p:nvSpPr>
          <p:cNvPr id="18" name="Oval 17">
            <a:extLst>
              <a:ext uri="{FF2B5EF4-FFF2-40B4-BE49-F238E27FC236}">
                <a16:creationId xmlns:a16="http://schemas.microsoft.com/office/drawing/2014/main" id="{92B86796-C689-93E1-AA11-12D316F4C92A}"/>
              </a:ext>
            </a:extLst>
          </p:cNvPr>
          <p:cNvSpPr/>
          <p:nvPr userDrawn="1"/>
        </p:nvSpPr>
        <p:spPr>
          <a:xfrm>
            <a:off x="5881681"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3</a:t>
            </a:r>
          </a:p>
        </p:txBody>
      </p:sp>
      <p:sp>
        <p:nvSpPr>
          <p:cNvPr id="19" name="Oval 18">
            <a:extLst>
              <a:ext uri="{FF2B5EF4-FFF2-40B4-BE49-F238E27FC236}">
                <a16:creationId xmlns:a16="http://schemas.microsoft.com/office/drawing/2014/main" id="{68138B66-3052-5320-EE57-9CB04AA02437}"/>
              </a:ext>
            </a:extLst>
          </p:cNvPr>
          <p:cNvSpPr/>
          <p:nvPr userDrawn="1"/>
        </p:nvSpPr>
        <p:spPr>
          <a:xfrm>
            <a:off x="7349599"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4</a:t>
            </a:r>
          </a:p>
        </p:txBody>
      </p:sp>
      <p:sp>
        <p:nvSpPr>
          <p:cNvPr id="20" name="Oval 19">
            <a:extLst>
              <a:ext uri="{FF2B5EF4-FFF2-40B4-BE49-F238E27FC236}">
                <a16:creationId xmlns:a16="http://schemas.microsoft.com/office/drawing/2014/main" id="{D6521086-AE93-422F-163B-CCD636CC3DC6}"/>
              </a:ext>
            </a:extLst>
          </p:cNvPr>
          <p:cNvSpPr/>
          <p:nvPr userDrawn="1"/>
        </p:nvSpPr>
        <p:spPr>
          <a:xfrm>
            <a:off x="8817517"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5</a:t>
            </a:r>
          </a:p>
        </p:txBody>
      </p:sp>
      <p:sp>
        <p:nvSpPr>
          <p:cNvPr id="22" name="Oval 21">
            <a:extLst>
              <a:ext uri="{FF2B5EF4-FFF2-40B4-BE49-F238E27FC236}">
                <a16:creationId xmlns:a16="http://schemas.microsoft.com/office/drawing/2014/main" id="{11011F88-B7D0-C6AC-D801-D600EF8310FB}"/>
              </a:ext>
            </a:extLst>
          </p:cNvPr>
          <p:cNvSpPr/>
          <p:nvPr userDrawn="1"/>
        </p:nvSpPr>
        <p:spPr>
          <a:xfrm>
            <a:off x="10285434"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6</a:t>
            </a:r>
          </a:p>
        </p:txBody>
      </p:sp>
      <p:cxnSp>
        <p:nvCxnSpPr>
          <p:cNvPr id="23" name="Straight Connector 22">
            <a:extLst>
              <a:ext uri="{FF2B5EF4-FFF2-40B4-BE49-F238E27FC236}">
                <a16:creationId xmlns:a16="http://schemas.microsoft.com/office/drawing/2014/main" id="{38A18DA3-F323-162B-C7CB-EC86A67CF0D6}"/>
              </a:ext>
            </a:extLst>
          </p:cNvPr>
          <p:cNvCxnSpPr>
            <a:cxnSpLocks/>
            <a:stCxn id="22" idx="0"/>
            <a:endCxn id="14" idx="2"/>
          </p:cNvCxnSpPr>
          <p:nvPr userDrawn="1"/>
        </p:nvCxnSpPr>
        <p:spPr>
          <a:xfrm flipV="1">
            <a:off x="10502000" y="3426510"/>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E8A7FEF-0A9C-D00F-3A6B-E09C73444263}"/>
              </a:ext>
            </a:extLst>
          </p:cNvPr>
          <p:cNvCxnSpPr>
            <a:cxnSpLocks/>
          </p:cNvCxnSpPr>
          <p:nvPr userDrawn="1"/>
        </p:nvCxnSpPr>
        <p:spPr>
          <a:xfrm flipH="1" flipV="1">
            <a:off x="3162411" y="4111425"/>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EED38E4-0E1C-F23D-9BAE-5FB9C353D678}"/>
              </a:ext>
            </a:extLst>
          </p:cNvPr>
          <p:cNvCxnSpPr>
            <a:cxnSpLocks/>
          </p:cNvCxnSpPr>
          <p:nvPr userDrawn="1"/>
        </p:nvCxnSpPr>
        <p:spPr>
          <a:xfrm flipV="1">
            <a:off x="1694493" y="3426510"/>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1">
            <a:extLst>
              <a:ext uri="{FF2B5EF4-FFF2-40B4-BE49-F238E27FC236}">
                <a16:creationId xmlns:a16="http://schemas.microsoft.com/office/drawing/2014/main" id="{BC175DF2-4183-BB5C-7ACB-C6684DD0703D}"/>
              </a:ext>
            </a:extLst>
          </p:cNvPr>
          <p:cNvSpPr>
            <a:spLocks noGrp="1"/>
          </p:cNvSpPr>
          <p:nvPr>
            <p:ph type="body" sz="quarter" idx="16" hasCustomPrompt="1"/>
          </p:nvPr>
        </p:nvSpPr>
        <p:spPr>
          <a:xfrm>
            <a:off x="383848" y="2343138"/>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27" name="Text Placeholder 11">
            <a:extLst>
              <a:ext uri="{FF2B5EF4-FFF2-40B4-BE49-F238E27FC236}">
                <a16:creationId xmlns:a16="http://schemas.microsoft.com/office/drawing/2014/main" id="{1B5A7297-DE91-1A12-172E-0645F3917768}"/>
              </a:ext>
            </a:extLst>
          </p:cNvPr>
          <p:cNvSpPr>
            <a:spLocks noGrp="1"/>
          </p:cNvSpPr>
          <p:nvPr>
            <p:ph type="body" sz="quarter" idx="17" hasCustomPrompt="1"/>
          </p:nvPr>
        </p:nvSpPr>
        <p:spPr>
          <a:xfrm>
            <a:off x="3319684" y="2343138"/>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28" name="Text Placeholder 11">
            <a:extLst>
              <a:ext uri="{FF2B5EF4-FFF2-40B4-BE49-F238E27FC236}">
                <a16:creationId xmlns:a16="http://schemas.microsoft.com/office/drawing/2014/main" id="{23E91340-EF29-F3DC-3807-6AE7C195E41A}"/>
              </a:ext>
            </a:extLst>
          </p:cNvPr>
          <p:cNvSpPr>
            <a:spLocks noGrp="1"/>
          </p:cNvSpPr>
          <p:nvPr>
            <p:ph type="body" sz="quarter" idx="18" hasCustomPrompt="1"/>
          </p:nvPr>
        </p:nvSpPr>
        <p:spPr>
          <a:xfrm>
            <a:off x="6255520" y="2343138"/>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29" name="Text Placeholder 11">
            <a:extLst>
              <a:ext uri="{FF2B5EF4-FFF2-40B4-BE49-F238E27FC236}">
                <a16:creationId xmlns:a16="http://schemas.microsoft.com/office/drawing/2014/main" id="{BC4B9C08-2088-DFE3-60E9-2AA79144A73C}"/>
              </a:ext>
            </a:extLst>
          </p:cNvPr>
          <p:cNvSpPr>
            <a:spLocks noGrp="1"/>
          </p:cNvSpPr>
          <p:nvPr>
            <p:ph type="body" sz="quarter" idx="19" hasCustomPrompt="1"/>
          </p:nvPr>
        </p:nvSpPr>
        <p:spPr>
          <a:xfrm>
            <a:off x="9191355" y="2343138"/>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30" name="Text Placeholder 11">
            <a:extLst>
              <a:ext uri="{FF2B5EF4-FFF2-40B4-BE49-F238E27FC236}">
                <a16:creationId xmlns:a16="http://schemas.microsoft.com/office/drawing/2014/main" id="{D58C93FB-B4A5-AEAC-A785-F557C034E958}"/>
              </a:ext>
            </a:extLst>
          </p:cNvPr>
          <p:cNvSpPr>
            <a:spLocks noGrp="1"/>
          </p:cNvSpPr>
          <p:nvPr>
            <p:ph type="body" sz="quarter" idx="20" hasCustomPrompt="1"/>
          </p:nvPr>
        </p:nvSpPr>
        <p:spPr>
          <a:xfrm>
            <a:off x="1851766" y="5500732"/>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31" name="Text Placeholder 11">
            <a:extLst>
              <a:ext uri="{FF2B5EF4-FFF2-40B4-BE49-F238E27FC236}">
                <a16:creationId xmlns:a16="http://schemas.microsoft.com/office/drawing/2014/main" id="{EDFA4A35-BF71-058A-B48D-FF0D977DB8EA}"/>
              </a:ext>
            </a:extLst>
          </p:cNvPr>
          <p:cNvSpPr>
            <a:spLocks noGrp="1"/>
          </p:cNvSpPr>
          <p:nvPr>
            <p:ph type="body" sz="quarter" idx="21" hasCustomPrompt="1"/>
          </p:nvPr>
        </p:nvSpPr>
        <p:spPr>
          <a:xfrm>
            <a:off x="4787602" y="5500732"/>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32" name="Text Placeholder 11">
            <a:extLst>
              <a:ext uri="{FF2B5EF4-FFF2-40B4-BE49-F238E27FC236}">
                <a16:creationId xmlns:a16="http://schemas.microsoft.com/office/drawing/2014/main" id="{E6531D51-5A29-7D2B-74C1-D0CB1DD130B8}"/>
              </a:ext>
            </a:extLst>
          </p:cNvPr>
          <p:cNvSpPr>
            <a:spLocks noGrp="1"/>
          </p:cNvSpPr>
          <p:nvPr>
            <p:ph type="body" sz="quarter" idx="22" hasCustomPrompt="1"/>
          </p:nvPr>
        </p:nvSpPr>
        <p:spPr>
          <a:xfrm>
            <a:off x="7723438" y="5500732"/>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33" name="Picture Placeholder 56">
            <a:extLst>
              <a:ext uri="{FF2B5EF4-FFF2-40B4-BE49-F238E27FC236}">
                <a16:creationId xmlns:a16="http://schemas.microsoft.com/office/drawing/2014/main" id="{4B7B17AE-9FD4-78FD-625A-BF6DC1970342}"/>
              </a:ext>
            </a:extLst>
          </p:cNvPr>
          <p:cNvSpPr>
            <a:spLocks noGrp="1"/>
          </p:cNvSpPr>
          <p:nvPr>
            <p:ph type="pic" sz="quarter" idx="23" hasCustomPrompt="1"/>
          </p:nvPr>
        </p:nvSpPr>
        <p:spPr>
          <a:xfrm>
            <a:off x="459293" y="1262981"/>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4" name="Picture Placeholder 56">
            <a:extLst>
              <a:ext uri="{FF2B5EF4-FFF2-40B4-BE49-F238E27FC236}">
                <a16:creationId xmlns:a16="http://schemas.microsoft.com/office/drawing/2014/main" id="{A4FA298A-FDB0-62D1-348C-BA97EE95C963}"/>
              </a:ext>
            </a:extLst>
          </p:cNvPr>
          <p:cNvSpPr>
            <a:spLocks noGrp="1"/>
          </p:cNvSpPr>
          <p:nvPr>
            <p:ph type="pic" sz="quarter" idx="24" hasCustomPrompt="1"/>
          </p:nvPr>
        </p:nvSpPr>
        <p:spPr>
          <a:xfrm>
            <a:off x="3395129" y="1262981"/>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5" name="Picture Placeholder 56">
            <a:extLst>
              <a:ext uri="{FF2B5EF4-FFF2-40B4-BE49-F238E27FC236}">
                <a16:creationId xmlns:a16="http://schemas.microsoft.com/office/drawing/2014/main" id="{A90042C2-9ECF-07BD-6584-798A2ABE8F73}"/>
              </a:ext>
            </a:extLst>
          </p:cNvPr>
          <p:cNvSpPr>
            <a:spLocks noGrp="1"/>
          </p:cNvSpPr>
          <p:nvPr>
            <p:ph type="pic" sz="quarter" idx="25" hasCustomPrompt="1"/>
          </p:nvPr>
        </p:nvSpPr>
        <p:spPr>
          <a:xfrm>
            <a:off x="6330965" y="1262981"/>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6" name="Picture Placeholder 56">
            <a:extLst>
              <a:ext uri="{FF2B5EF4-FFF2-40B4-BE49-F238E27FC236}">
                <a16:creationId xmlns:a16="http://schemas.microsoft.com/office/drawing/2014/main" id="{86701723-00E8-A3B0-15A8-A9AED8CC7E9F}"/>
              </a:ext>
            </a:extLst>
          </p:cNvPr>
          <p:cNvSpPr>
            <a:spLocks noGrp="1"/>
          </p:cNvSpPr>
          <p:nvPr>
            <p:ph type="pic" sz="quarter" idx="26" hasCustomPrompt="1"/>
          </p:nvPr>
        </p:nvSpPr>
        <p:spPr>
          <a:xfrm>
            <a:off x="9266800" y="1262981"/>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7" name="Picture Placeholder 56">
            <a:extLst>
              <a:ext uri="{FF2B5EF4-FFF2-40B4-BE49-F238E27FC236}">
                <a16:creationId xmlns:a16="http://schemas.microsoft.com/office/drawing/2014/main" id="{F3D04200-5627-CE5C-6CE1-16F486651EFE}"/>
              </a:ext>
            </a:extLst>
          </p:cNvPr>
          <p:cNvSpPr>
            <a:spLocks noGrp="1"/>
          </p:cNvSpPr>
          <p:nvPr>
            <p:ph type="pic" sz="quarter" idx="27" hasCustomPrompt="1"/>
          </p:nvPr>
        </p:nvSpPr>
        <p:spPr>
          <a:xfrm>
            <a:off x="7798883" y="4429986"/>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8" name="Picture Placeholder 56">
            <a:extLst>
              <a:ext uri="{FF2B5EF4-FFF2-40B4-BE49-F238E27FC236}">
                <a16:creationId xmlns:a16="http://schemas.microsoft.com/office/drawing/2014/main" id="{885C2546-BE15-1B4E-2F9E-A906A939426C}"/>
              </a:ext>
            </a:extLst>
          </p:cNvPr>
          <p:cNvSpPr>
            <a:spLocks noGrp="1"/>
          </p:cNvSpPr>
          <p:nvPr>
            <p:ph type="pic" sz="quarter" idx="28" hasCustomPrompt="1"/>
          </p:nvPr>
        </p:nvSpPr>
        <p:spPr>
          <a:xfrm>
            <a:off x="4863047" y="4429986"/>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9" name="Picture Placeholder 56">
            <a:extLst>
              <a:ext uri="{FF2B5EF4-FFF2-40B4-BE49-F238E27FC236}">
                <a16:creationId xmlns:a16="http://schemas.microsoft.com/office/drawing/2014/main" id="{28DF2A32-A1D1-E469-4143-AF20954B662F}"/>
              </a:ext>
            </a:extLst>
          </p:cNvPr>
          <p:cNvSpPr>
            <a:spLocks noGrp="1"/>
          </p:cNvSpPr>
          <p:nvPr>
            <p:ph type="pic" sz="quarter" idx="29" hasCustomPrompt="1"/>
          </p:nvPr>
        </p:nvSpPr>
        <p:spPr>
          <a:xfrm>
            <a:off x="1927211" y="4429986"/>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Tree>
    <p:extLst>
      <p:ext uri="{BB962C8B-B14F-4D97-AF65-F5344CB8AC3E}">
        <p14:creationId xmlns:p14="http://schemas.microsoft.com/office/powerpoint/2010/main" val="3078994217"/>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457327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0646431"/>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203908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1"/>
            <a:ext cx="5214937" cy="4187827"/>
          </a:xfrm>
        </p:spPr>
        <p:txBody>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6"/>
          </a:xfrm>
        </p:spPr>
        <p:txBody>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51437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4">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17894" y="0"/>
            <a:ext cx="12209894" cy="6868066"/>
          </a:xfrm>
          <a:prstGeom prst="rect">
            <a:avLst/>
          </a:prstGeom>
        </p:spPr>
      </p:pic>
      <p:pic>
        <p:nvPicPr>
          <p:cNvPr id="11" name="Picture 10" descr="A blue and orange background&#10;&#10;AI-generated content may be incorrect.">
            <a:extLst>
              <a:ext uri="{FF2B5EF4-FFF2-40B4-BE49-F238E27FC236}">
                <a16:creationId xmlns:a16="http://schemas.microsoft.com/office/drawing/2014/main" id="{051DD8BC-6E15-4478-EACE-6ADFF16CF9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0F261CA3-A777-DE33-D141-CA5CC5633FDA}"/>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61471768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MCS TDM TY">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591EB205-B779-0D6A-E681-F10835F983C0}"/>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Rectangle: Single Corner Rounded 3">
            <a:extLst>
              <a:ext uri="{FF2B5EF4-FFF2-40B4-BE49-F238E27FC236}">
                <a16:creationId xmlns:a16="http://schemas.microsoft.com/office/drawing/2014/main" id="{E89BB27C-FD99-BA84-DA95-3D252BC397B0}"/>
              </a:ext>
            </a:extLst>
          </p:cNvPr>
          <p:cNvSpPr/>
          <p:nvPr userDrawn="1"/>
        </p:nvSpPr>
        <p:spPr>
          <a:xfrm rot="5400000" flipH="1">
            <a:off x="1051385" y="-453565"/>
            <a:ext cx="6260180" cy="8362950"/>
          </a:xfrm>
          <a:prstGeom prst="round1Rect">
            <a:avLst>
              <a:gd name="adj" fmla="val 7526"/>
            </a:avLst>
          </a:prstGeom>
          <a:solidFill>
            <a:schemeClr val="bg2">
              <a:lumMod val="75000"/>
            </a:schemeClr>
          </a:solidFill>
          <a:ln w="13730" cap="flat">
            <a:noFill/>
            <a:prstDash val="solid"/>
            <a:miter/>
          </a:ln>
          <a:effectLst>
            <a:outerShdw blurRad="990600" dist="38100" algn="l" rotWithShape="0">
              <a:prstClr val="black">
                <a:alpha val="14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Rectangle: Single Corner Rounded 4">
            <a:extLst>
              <a:ext uri="{FF2B5EF4-FFF2-40B4-BE49-F238E27FC236}">
                <a16:creationId xmlns:a16="http://schemas.microsoft.com/office/drawing/2014/main" id="{ACB51BF4-AC27-1523-5605-8314C9BA0839}"/>
              </a:ext>
            </a:extLst>
          </p:cNvPr>
          <p:cNvSpPr/>
          <p:nvPr userDrawn="1"/>
        </p:nvSpPr>
        <p:spPr>
          <a:xfrm rot="5400000">
            <a:off x="649212" y="-649210"/>
            <a:ext cx="6473979" cy="7772402"/>
          </a:xfrm>
          <a:prstGeom prst="round1Rect">
            <a:avLst>
              <a:gd name="adj" fmla="val 21121"/>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Rectangle: Single Corner Rounded 5">
            <a:extLst>
              <a:ext uri="{FF2B5EF4-FFF2-40B4-BE49-F238E27FC236}">
                <a16:creationId xmlns:a16="http://schemas.microsoft.com/office/drawing/2014/main" id="{CF9E901C-E240-9626-E6FF-FCFF444AAC91}"/>
              </a:ext>
            </a:extLst>
          </p:cNvPr>
          <p:cNvSpPr/>
          <p:nvPr userDrawn="1"/>
        </p:nvSpPr>
        <p:spPr>
          <a:xfrm flipH="1">
            <a:off x="11714484" y="1207802"/>
            <a:ext cx="477515" cy="3296919"/>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4887E5D5-401F-A838-17AB-051301A16973}"/>
              </a:ext>
            </a:extLst>
          </p:cNvPr>
          <p:cNvGrpSpPr/>
          <p:nvPr userDrawn="1"/>
        </p:nvGrpSpPr>
        <p:grpSpPr>
          <a:xfrm>
            <a:off x="9407085" y="5058333"/>
            <a:ext cx="2312991" cy="1235231"/>
            <a:chOff x="775130" y="5095348"/>
            <a:chExt cx="1891914" cy="1010359"/>
          </a:xfrm>
          <a:solidFill>
            <a:schemeClr val="bg2"/>
          </a:solidFill>
        </p:grpSpPr>
        <p:sp>
          <p:nvSpPr>
            <p:cNvPr id="8" name="Freeform: Shape 7">
              <a:extLst>
                <a:ext uri="{FF2B5EF4-FFF2-40B4-BE49-F238E27FC236}">
                  <a16:creationId xmlns:a16="http://schemas.microsoft.com/office/drawing/2014/main" id="{B6EC192C-E746-8A38-6B8D-6F2EFA223630}"/>
                </a:ext>
              </a:extLst>
            </p:cNvPr>
            <p:cNvSpPr/>
            <p:nvPr/>
          </p:nvSpPr>
          <p:spPr>
            <a:xfrm>
              <a:off x="775130"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316A56C3-60FE-3032-EACF-1A8675CF330C}"/>
                </a:ext>
              </a:extLst>
            </p:cNvPr>
            <p:cNvSpPr/>
            <p:nvPr/>
          </p:nvSpPr>
          <p:spPr>
            <a:xfrm>
              <a:off x="1216028"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5F19F2A9-EE6D-182F-58ED-A4C318A1DF08}"/>
                </a:ext>
              </a:extLst>
            </p:cNvPr>
            <p:cNvSpPr/>
            <p:nvPr/>
          </p:nvSpPr>
          <p:spPr>
            <a:xfrm>
              <a:off x="1656925"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06020952-32FC-B8E6-3E02-43E2127E4C7A}"/>
                </a:ext>
              </a:extLst>
            </p:cNvPr>
            <p:cNvSpPr/>
            <p:nvPr/>
          </p:nvSpPr>
          <p:spPr>
            <a:xfrm>
              <a:off x="2098058" y="5095348"/>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9B06273F-21DB-DB1F-9538-3227E12A1793}"/>
                </a:ext>
              </a:extLst>
            </p:cNvPr>
            <p:cNvSpPr/>
            <p:nvPr/>
          </p:nvSpPr>
          <p:spPr>
            <a:xfrm>
              <a:off x="2538720"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E00FCCFD-9AB3-AB26-4FDE-7914CB39589D}"/>
                </a:ext>
              </a:extLst>
            </p:cNvPr>
            <p:cNvSpPr/>
            <p:nvPr/>
          </p:nvSpPr>
          <p:spPr>
            <a:xfrm>
              <a:off x="775130"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EB6C9F1B-750F-7883-8387-F19017F597AD}"/>
                </a:ext>
              </a:extLst>
            </p:cNvPr>
            <p:cNvSpPr/>
            <p:nvPr/>
          </p:nvSpPr>
          <p:spPr>
            <a:xfrm>
              <a:off x="1216028"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7172347F-1144-ADFA-1DA1-749EF3DB4F49}"/>
                </a:ext>
              </a:extLst>
            </p:cNvPr>
            <p:cNvSpPr/>
            <p:nvPr/>
          </p:nvSpPr>
          <p:spPr>
            <a:xfrm>
              <a:off x="1656925"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82658335-7CD2-8EBF-08EA-1872102BA2C4}"/>
                </a:ext>
              </a:extLst>
            </p:cNvPr>
            <p:cNvSpPr/>
            <p:nvPr/>
          </p:nvSpPr>
          <p:spPr>
            <a:xfrm>
              <a:off x="2098058" y="5536482"/>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06C5190B-4D19-22B1-A458-8772A9B5E0CE}"/>
                </a:ext>
              </a:extLst>
            </p:cNvPr>
            <p:cNvSpPr/>
            <p:nvPr/>
          </p:nvSpPr>
          <p:spPr>
            <a:xfrm>
              <a:off x="2538720"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B0EA2D44-C2FF-5478-BDB4-C660C2C9A7C2}"/>
                </a:ext>
              </a:extLst>
            </p:cNvPr>
            <p:cNvSpPr/>
            <p:nvPr/>
          </p:nvSpPr>
          <p:spPr>
            <a:xfrm>
              <a:off x="775130"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3AF898B3-5530-4D67-FF58-24EA4B9CC190}"/>
                </a:ext>
              </a:extLst>
            </p:cNvPr>
            <p:cNvSpPr/>
            <p:nvPr/>
          </p:nvSpPr>
          <p:spPr>
            <a:xfrm>
              <a:off x="1216028"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45F705C9-D5C9-DE29-DEBD-6C739FA528EA}"/>
                </a:ext>
              </a:extLst>
            </p:cNvPr>
            <p:cNvSpPr/>
            <p:nvPr/>
          </p:nvSpPr>
          <p:spPr>
            <a:xfrm>
              <a:off x="1656925"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C26C6EBD-48FC-F99E-A1F9-6DF811505989}"/>
                </a:ext>
              </a:extLst>
            </p:cNvPr>
            <p:cNvSpPr/>
            <p:nvPr/>
          </p:nvSpPr>
          <p:spPr>
            <a:xfrm>
              <a:off x="2098058" y="5977379"/>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DA44FAC7-5DE5-506A-37CA-F249A54DD5B8}"/>
                </a:ext>
              </a:extLst>
            </p:cNvPr>
            <p:cNvSpPr/>
            <p:nvPr/>
          </p:nvSpPr>
          <p:spPr>
            <a:xfrm>
              <a:off x="2538720"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3" name="Rectangle: Single Corner Rounded 22">
            <a:extLst>
              <a:ext uri="{FF2B5EF4-FFF2-40B4-BE49-F238E27FC236}">
                <a16:creationId xmlns:a16="http://schemas.microsoft.com/office/drawing/2014/main" id="{B0BA93C0-7092-988B-D5DB-417DDBFDE35A}"/>
              </a:ext>
            </a:extLst>
          </p:cNvPr>
          <p:cNvSpPr/>
          <p:nvPr userDrawn="1"/>
        </p:nvSpPr>
        <p:spPr>
          <a:xfrm rot="5400000" flipH="1">
            <a:off x="-124054" y="5339270"/>
            <a:ext cx="1258762" cy="1010657"/>
          </a:xfrm>
          <a:prstGeom prst="round1Rect">
            <a:avLst>
              <a:gd name="adj" fmla="val 50000"/>
            </a:avLst>
          </a:pr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81B5CE95-BEC8-78FF-66C0-B2E0D8807281}"/>
              </a:ext>
            </a:extLst>
          </p:cNvPr>
          <p:cNvGrpSpPr/>
          <p:nvPr userDrawn="1"/>
        </p:nvGrpSpPr>
        <p:grpSpPr>
          <a:xfrm>
            <a:off x="604894" y="597820"/>
            <a:ext cx="3084456" cy="292608"/>
            <a:chOff x="604894" y="597820"/>
            <a:chExt cx="3084456" cy="292608"/>
          </a:xfrm>
        </p:grpSpPr>
        <p:pic>
          <p:nvPicPr>
            <p:cNvPr id="27" name="Graphic 26" descr="Microsoft Power Platform logo">
              <a:extLst>
                <a:ext uri="{FF2B5EF4-FFF2-40B4-BE49-F238E27FC236}">
                  <a16:creationId xmlns:a16="http://schemas.microsoft.com/office/drawing/2014/main" id="{120ADA71-126C-9752-3940-1CEAF3C7672E}"/>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8" name="Graphic 27" descr="Microsoft Power Platform logo">
              <a:extLst>
                <a:ext uri="{FF2B5EF4-FFF2-40B4-BE49-F238E27FC236}">
                  <a16:creationId xmlns:a16="http://schemas.microsoft.com/office/drawing/2014/main" id="{1DC06F3F-EF47-D8B4-9C2E-3901B12D65BF}"/>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29" name="Text Box 3" descr="This is a copyright notice that should be included on the final slide.">
            <a:extLst>
              <a:ext uri="{FF2B5EF4-FFF2-40B4-BE49-F238E27FC236}">
                <a16:creationId xmlns:a16="http://schemas.microsoft.com/office/drawing/2014/main" id="{2D9864F0-4559-931C-5DEE-74E1A5C458F7}"/>
              </a:ext>
            </a:extLst>
          </p:cNvPr>
          <p:cNvSpPr txBox="1">
            <a:spLocks noChangeArrowheads="1"/>
          </p:cNvSpPr>
          <p:nvPr userDrawn="1"/>
        </p:nvSpPr>
        <p:spPr bwMode="blackWhite">
          <a:xfrm>
            <a:off x="122066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588263" y="3732514"/>
            <a:ext cx="6784994"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588263" y="4151724"/>
            <a:ext cx="6784994" cy="246221"/>
          </a:xfrm>
        </p:spPr>
        <p:txBody>
          <a:bodyPr/>
          <a:lstStyle>
            <a:lvl1pPr marL="0" indent="0">
              <a:buNone/>
              <a:defRPr sz="1600">
                <a:solidFill>
                  <a:schemeClr val="bg1"/>
                </a:solidFill>
              </a:defRPr>
            </a:lvl1pPr>
          </a:lstStyle>
          <a:p>
            <a:pPr lvl="0"/>
            <a:r>
              <a:rPr lang="en-US"/>
              <a:t>Contact information</a:t>
            </a:r>
          </a:p>
        </p:txBody>
      </p:sp>
      <p:sp>
        <p:nvSpPr>
          <p:cNvPr id="2" name="Title 1">
            <a:extLst>
              <a:ext uri="{FF2B5EF4-FFF2-40B4-BE49-F238E27FC236}">
                <a16:creationId xmlns:a16="http://schemas.microsoft.com/office/drawing/2014/main" id="{BC94F8B2-A920-AB0E-5686-1B46D40E934D}"/>
              </a:ext>
            </a:extLst>
          </p:cNvPr>
          <p:cNvSpPr>
            <a:spLocks noGrp="1"/>
          </p:cNvSpPr>
          <p:nvPr>
            <p:ph type="title" hasCustomPrompt="1"/>
          </p:nvPr>
        </p:nvSpPr>
        <p:spPr>
          <a:xfrm>
            <a:off x="588263" y="2386823"/>
            <a:ext cx="6784994" cy="73866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4800" b="0" i="0" u="none" strike="noStrike" kern="1200" cap="none" spc="0" normalizeH="0" baseline="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spTree>
    <p:extLst>
      <p:ext uri="{BB962C8B-B14F-4D97-AF65-F5344CB8AC3E}">
        <p14:creationId xmlns:p14="http://schemas.microsoft.com/office/powerpoint/2010/main" val="373200781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MCS BDM TY">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7E89DBC2-E590-B707-4E80-EAE9EA2C1CC5}"/>
              </a:ext>
            </a:extLst>
          </p:cNvPr>
          <p:cNvSpPr/>
          <p:nvPr userDrawn="1"/>
        </p:nvSpPr>
        <p:spPr>
          <a:xfrm>
            <a:off x="8028871" y="0"/>
            <a:ext cx="2906668" cy="1212512"/>
          </a:xfrm>
          <a:custGeom>
            <a:avLst/>
            <a:gdLst>
              <a:gd name="connsiteX0" fmla="*/ 0 w 2906668"/>
              <a:gd name="connsiteY0" fmla="*/ 0 h 1212512"/>
              <a:gd name="connsiteX1" fmla="*/ 2906668 w 2906668"/>
              <a:gd name="connsiteY1" fmla="*/ 0 h 1212512"/>
              <a:gd name="connsiteX2" fmla="*/ 1864298 w 2906668"/>
              <a:gd name="connsiteY2" fmla="*/ 1042371 h 1212512"/>
              <a:gd name="connsiteX3" fmla="*/ 1042370 w 2906668"/>
              <a:gd name="connsiteY3" fmla="*/ 1042371 h 1212512"/>
            </a:gdLst>
            <a:ahLst/>
            <a:cxnLst>
              <a:cxn ang="0">
                <a:pos x="connsiteX0" y="connsiteY0"/>
              </a:cxn>
              <a:cxn ang="0">
                <a:pos x="connsiteX1" y="connsiteY1"/>
              </a:cxn>
              <a:cxn ang="0">
                <a:pos x="connsiteX2" y="connsiteY2"/>
              </a:cxn>
              <a:cxn ang="0">
                <a:pos x="connsiteX3" y="connsiteY3"/>
              </a:cxn>
            </a:cxnLst>
            <a:rect l="l" t="t" r="r" b="b"/>
            <a:pathLst>
              <a:path w="2906668" h="1212512">
                <a:moveTo>
                  <a:pt x="0" y="0"/>
                </a:moveTo>
                <a:lnTo>
                  <a:pt x="2906668" y="0"/>
                </a:lnTo>
                <a:lnTo>
                  <a:pt x="1864298" y="1042371"/>
                </a:lnTo>
                <a:cubicBezTo>
                  <a:pt x="1637442" y="1269226"/>
                  <a:pt x="1269466" y="1269226"/>
                  <a:pt x="1042370" y="1042371"/>
                </a:cubicBezTo>
                <a:close/>
              </a:path>
            </a:pathLst>
          </a:custGeom>
          <a:solidFill>
            <a:schemeClr val="bg1">
              <a:lumMod val="95000"/>
            </a:schemeClr>
          </a:soli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 name="Freeform: Shape 43">
            <a:extLst>
              <a:ext uri="{FF2B5EF4-FFF2-40B4-BE49-F238E27FC236}">
                <a16:creationId xmlns:a16="http://schemas.microsoft.com/office/drawing/2014/main" id="{861B9A56-268D-67C2-DDDF-FA3A506DD8F2}"/>
              </a:ext>
            </a:extLst>
          </p:cNvPr>
          <p:cNvSpPr/>
          <p:nvPr userDrawn="1"/>
        </p:nvSpPr>
        <p:spPr>
          <a:xfrm>
            <a:off x="0" y="0"/>
            <a:ext cx="7115420" cy="6835839"/>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noFill/>
          <a:ln w="9525" cap="flat">
            <a:noFill/>
            <a:prstDash val="solid"/>
            <a:miter/>
          </a:ln>
        </p:spPr>
        <p:txBody>
          <a:bodyPr rtlCol="0" anchor="ctr"/>
          <a:lstStyle/>
          <a:p>
            <a:endParaRPr lang="en-IN"/>
          </a:p>
        </p:txBody>
      </p:sp>
      <p:sp>
        <p:nvSpPr>
          <p:cNvPr id="6" name="Freeform: Shape 65">
            <a:extLst>
              <a:ext uri="{FF2B5EF4-FFF2-40B4-BE49-F238E27FC236}">
                <a16:creationId xmlns:a16="http://schemas.microsoft.com/office/drawing/2014/main" id="{F699FA12-58D9-188E-991B-064FBC138412}"/>
              </a:ext>
            </a:extLst>
          </p:cNvPr>
          <p:cNvSpPr/>
          <p:nvPr userDrawn="1"/>
        </p:nvSpPr>
        <p:spPr>
          <a:xfrm>
            <a:off x="9149325" y="657946"/>
            <a:ext cx="3042675" cy="4045330"/>
          </a:xfrm>
          <a:custGeom>
            <a:avLst/>
            <a:gdLst>
              <a:gd name="connsiteX0" fmla="*/ 2022666 w 3042675"/>
              <a:gd name="connsiteY0" fmla="*/ 0 h 4045330"/>
              <a:gd name="connsiteX1" fmla="*/ 2512421 w 3042675"/>
              <a:gd name="connsiteY1" fmla="*/ 202880 h 4045330"/>
              <a:gd name="connsiteX2" fmla="*/ 3042675 w 3042675"/>
              <a:gd name="connsiteY2" fmla="*/ 733134 h 4045330"/>
              <a:gd name="connsiteX3" fmla="*/ 3042675 w 3042675"/>
              <a:gd name="connsiteY3" fmla="*/ 3312195 h 4045330"/>
              <a:gd name="connsiteX4" fmla="*/ 2512421 w 3042675"/>
              <a:gd name="connsiteY4" fmla="*/ 3842449 h 4045330"/>
              <a:gd name="connsiteX5" fmla="*/ 1532912 w 3042675"/>
              <a:gd name="connsiteY5" fmla="*/ 3842449 h 4045330"/>
              <a:gd name="connsiteX6" fmla="*/ 202880 w 3042675"/>
              <a:gd name="connsiteY6" fmla="*/ 2512420 h 4045330"/>
              <a:gd name="connsiteX7" fmla="*/ 202880 w 3042675"/>
              <a:gd name="connsiteY7" fmla="*/ 1532910 h 4045330"/>
              <a:gd name="connsiteX8" fmla="*/ 1532912 w 3042675"/>
              <a:gd name="connsiteY8" fmla="*/ 202880 h 4045330"/>
              <a:gd name="connsiteX9" fmla="*/ 2022666 w 3042675"/>
              <a:gd name="connsiteY9" fmla="*/ 0 h 404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2675" h="4045330">
                <a:moveTo>
                  <a:pt x="2022666" y="0"/>
                </a:moveTo>
                <a:cubicBezTo>
                  <a:pt x="2199916" y="0"/>
                  <a:pt x="2377167" y="67626"/>
                  <a:pt x="2512421" y="202880"/>
                </a:cubicBezTo>
                <a:lnTo>
                  <a:pt x="3042675" y="733134"/>
                </a:lnTo>
                <a:lnTo>
                  <a:pt x="3042675" y="3312195"/>
                </a:lnTo>
                <a:lnTo>
                  <a:pt x="2512421" y="3842449"/>
                </a:lnTo>
                <a:cubicBezTo>
                  <a:pt x="2241913" y="4112957"/>
                  <a:pt x="1803418" y="4112957"/>
                  <a:pt x="1532912" y="3842449"/>
                </a:cubicBezTo>
                <a:lnTo>
                  <a:pt x="202880" y="2512420"/>
                </a:lnTo>
                <a:cubicBezTo>
                  <a:pt x="-67626" y="2241912"/>
                  <a:pt x="-67626" y="1803418"/>
                  <a:pt x="202880" y="1532910"/>
                </a:cubicBezTo>
                <a:lnTo>
                  <a:pt x="1532912" y="202880"/>
                </a:lnTo>
                <a:cubicBezTo>
                  <a:pt x="1668165" y="67626"/>
                  <a:pt x="1845415" y="0"/>
                  <a:pt x="2022666" y="0"/>
                </a:cubicBezTo>
                <a:close/>
              </a:path>
            </a:pathLst>
          </a:custGeom>
          <a:solidFill>
            <a:schemeClr val="bg1">
              <a:lumMod val="95000"/>
            </a:schemeClr>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7" name="Freeform: Shape 67">
            <a:extLst>
              <a:ext uri="{FF2B5EF4-FFF2-40B4-BE49-F238E27FC236}">
                <a16:creationId xmlns:a16="http://schemas.microsoft.com/office/drawing/2014/main" id="{9B6AAD40-7A48-BA5A-1A1F-7A9563E8D7C2}"/>
              </a:ext>
            </a:extLst>
          </p:cNvPr>
          <p:cNvSpPr/>
          <p:nvPr userDrawn="1"/>
        </p:nvSpPr>
        <p:spPr>
          <a:xfrm>
            <a:off x="10989364" y="3351596"/>
            <a:ext cx="1202635" cy="1563304"/>
          </a:xfrm>
          <a:custGeom>
            <a:avLst/>
            <a:gdLst>
              <a:gd name="connsiteX0" fmla="*/ 1426739 w 2195042"/>
              <a:gd name="connsiteY0" fmla="*/ 0 h 2853334"/>
              <a:gd name="connsiteX1" fmla="*/ 1772204 w 2195042"/>
              <a:gd name="connsiteY1" fmla="*/ 143019 h 2853334"/>
              <a:gd name="connsiteX2" fmla="*/ 2195042 w 2195042"/>
              <a:gd name="connsiteY2" fmla="*/ 565856 h 2853334"/>
              <a:gd name="connsiteX3" fmla="*/ 2195042 w 2195042"/>
              <a:gd name="connsiteY3" fmla="*/ 2287334 h 2853334"/>
              <a:gd name="connsiteX4" fmla="*/ 1772204 w 2195042"/>
              <a:gd name="connsiteY4" fmla="*/ 2710172 h 2853334"/>
              <a:gd name="connsiteX5" fmla="*/ 1081274 w 2195042"/>
              <a:gd name="connsiteY5" fmla="*/ 2710172 h 2853334"/>
              <a:gd name="connsiteX6" fmla="*/ 143163 w 2195042"/>
              <a:gd name="connsiteY6" fmla="*/ 1772062 h 2853334"/>
              <a:gd name="connsiteX7" fmla="*/ 143163 w 2195042"/>
              <a:gd name="connsiteY7" fmla="*/ 1081129 h 2853334"/>
              <a:gd name="connsiteX8" fmla="*/ 1081274 w 2195042"/>
              <a:gd name="connsiteY8" fmla="*/ 143019 h 2853334"/>
              <a:gd name="connsiteX9" fmla="*/ 1426739 w 2195042"/>
              <a:gd name="connsiteY9" fmla="*/ 0 h 285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5042" h="2853334">
                <a:moveTo>
                  <a:pt x="1426739" y="0"/>
                </a:moveTo>
                <a:cubicBezTo>
                  <a:pt x="1551751" y="0"/>
                  <a:pt x="1676763" y="47673"/>
                  <a:pt x="1772204" y="143019"/>
                </a:cubicBezTo>
                <a:lnTo>
                  <a:pt x="2195042" y="565856"/>
                </a:lnTo>
                <a:lnTo>
                  <a:pt x="2195042" y="2287334"/>
                </a:lnTo>
                <a:lnTo>
                  <a:pt x="1772204" y="2710172"/>
                </a:lnTo>
                <a:cubicBezTo>
                  <a:pt x="1581321" y="2901055"/>
                  <a:pt x="1272157" y="2901055"/>
                  <a:pt x="1081274" y="2710172"/>
                </a:cubicBezTo>
                <a:lnTo>
                  <a:pt x="143163" y="1772062"/>
                </a:lnTo>
                <a:cubicBezTo>
                  <a:pt x="-47720" y="1581178"/>
                  <a:pt x="-47720" y="1272013"/>
                  <a:pt x="143163" y="1081129"/>
                </a:cubicBezTo>
                <a:lnTo>
                  <a:pt x="1081274" y="143019"/>
                </a:lnTo>
                <a:cubicBezTo>
                  <a:pt x="1176716" y="47673"/>
                  <a:pt x="1301727" y="0"/>
                  <a:pt x="1426739" y="0"/>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IN"/>
          </a:p>
        </p:txBody>
      </p:sp>
      <p:sp>
        <p:nvSpPr>
          <p:cNvPr id="8" name="Freeform: Shape 42">
            <a:extLst>
              <a:ext uri="{FF2B5EF4-FFF2-40B4-BE49-F238E27FC236}">
                <a16:creationId xmlns:a16="http://schemas.microsoft.com/office/drawing/2014/main" id="{82052EFA-31C2-FB2F-6549-476706AF16F3}"/>
              </a:ext>
            </a:extLst>
          </p:cNvPr>
          <p:cNvSpPr/>
          <p:nvPr userDrawn="1"/>
        </p:nvSpPr>
        <p:spPr>
          <a:xfrm>
            <a:off x="-1" y="0"/>
            <a:ext cx="7138487" cy="6858000"/>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gradFill>
            <a:gsLst>
              <a:gs pos="100000">
                <a:schemeClr val="bg2"/>
              </a:gs>
              <a:gs pos="0">
                <a:schemeClr val="tx2">
                  <a:alpha val="9900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0" name="Freeform: Shape 45">
            <a:extLst>
              <a:ext uri="{FF2B5EF4-FFF2-40B4-BE49-F238E27FC236}">
                <a16:creationId xmlns:a16="http://schemas.microsoft.com/office/drawing/2014/main" id="{43B0CF48-2EC9-28C3-A2FB-197B69CF4B5C}"/>
              </a:ext>
            </a:extLst>
          </p:cNvPr>
          <p:cNvSpPr/>
          <p:nvPr userDrawn="1"/>
        </p:nvSpPr>
        <p:spPr>
          <a:xfrm>
            <a:off x="4416650" y="5542838"/>
            <a:ext cx="2550524" cy="1315162"/>
          </a:xfrm>
          <a:custGeom>
            <a:avLst/>
            <a:gdLst>
              <a:gd name="connsiteX0" fmla="*/ 2800816 w 2802809"/>
              <a:gd name="connsiteY0" fmla="*/ 1445252 h 1445251"/>
              <a:gd name="connsiteX1" fmla="*/ 1990 w 2802809"/>
              <a:gd name="connsiteY1" fmla="*/ 1445252 h 1445251"/>
              <a:gd name="connsiteX2" fmla="*/ 140579 w 2802809"/>
              <a:gd name="connsiteY2" fmla="*/ 1062061 h 1445251"/>
              <a:gd name="connsiteX3" fmla="*/ 1062123 w 2802809"/>
              <a:gd name="connsiteY3" fmla="*/ 140518 h 1445251"/>
              <a:gd name="connsiteX4" fmla="*/ 1740779 w 2802809"/>
              <a:gd name="connsiteY4" fmla="*/ 140518 h 1445251"/>
              <a:gd name="connsiteX5" fmla="*/ 2662323 w 2802809"/>
              <a:gd name="connsiteY5" fmla="*/ 1062061 h 1445251"/>
              <a:gd name="connsiteX6" fmla="*/ 2800816 w 2802809"/>
              <a:gd name="connsiteY6" fmla="*/ 1445252 h 1445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2809" h="1445251">
                <a:moveTo>
                  <a:pt x="2800816" y="1445252"/>
                </a:moveTo>
                <a:lnTo>
                  <a:pt x="1990" y="1445252"/>
                </a:lnTo>
                <a:cubicBezTo>
                  <a:pt x="-10488" y="1308283"/>
                  <a:pt x="35709" y="1166932"/>
                  <a:pt x="140579" y="1062061"/>
                </a:cubicBezTo>
                <a:lnTo>
                  <a:pt x="1062123" y="140518"/>
                </a:lnTo>
                <a:cubicBezTo>
                  <a:pt x="1249479" y="-46839"/>
                  <a:pt x="1553327" y="-46839"/>
                  <a:pt x="1740779" y="140518"/>
                </a:cubicBezTo>
                <a:lnTo>
                  <a:pt x="2662323" y="1062061"/>
                </a:lnTo>
                <a:cubicBezTo>
                  <a:pt x="2767193" y="1166932"/>
                  <a:pt x="2813294" y="1308283"/>
                  <a:pt x="2800816" y="1445252"/>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4" name="Freeform: Shape 46">
            <a:extLst>
              <a:ext uri="{FF2B5EF4-FFF2-40B4-BE49-F238E27FC236}">
                <a16:creationId xmlns:a16="http://schemas.microsoft.com/office/drawing/2014/main" id="{A8AEFA1B-FFEC-7EC7-A93A-E11E46461F11}"/>
              </a:ext>
            </a:extLst>
          </p:cNvPr>
          <p:cNvSpPr/>
          <p:nvPr userDrawn="1"/>
        </p:nvSpPr>
        <p:spPr>
          <a:xfrm>
            <a:off x="7607668" y="1051007"/>
            <a:ext cx="1203136" cy="1203136"/>
          </a:xfrm>
          <a:custGeom>
            <a:avLst/>
            <a:gdLst>
              <a:gd name="connsiteX0" fmla="*/ 1275159 w 1342453"/>
              <a:gd name="connsiteY0" fmla="*/ 833771 h 1342453"/>
              <a:gd name="connsiteX1" fmla="*/ 833771 w 1342453"/>
              <a:gd name="connsiteY1" fmla="*/ 1275159 h 1342453"/>
              <a:gd name="connsiteX2" fmla="*/ 508682 w 1342453"/>
              <a:gd name="connsiteY2" fmla="*/ 1275159 h 1342453"/>
              <a:gd name="connsiteX3" fmla="*/ 67294 w 1342453"/>
              <a:gd name="connsiteY3" fmla="*/ 833771 h 1342453"/>
              <a:gd name="connsiteX4" fmla="*/ 67294 w 1342453"/>
              <a:gd name="connsiteY4" fmla="*/ 508683 h 1342453"/>
              <a:gd name="connsiteX5" fmla="*/ 508682 w 1342453"/>
              <a:gd name="connsiteY5" fmla="*/ 67294 h 1342453"/>
              <a:gd name="connsiteX6" fmla="*/ 833771 w 1342453"/>
              <a:gd name="connsiteY6" fmla="*/ 67294 h 1342453"/>
              <a:gd name="connsiteX7" fmla="*/ 1275159 w 1342453"/>
              <a:gd name="connsiteY7" fmla="*/ 508683 h 1342453"/>
              <a:gd name="connsiteX8" fmla="*/ 1275159 w 1342453"/>
              <a:gd name="connsiteY8" fmla="*/ 833771 h 134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453" h="1342453">
                <a:moveTo>
                  <a:pt x="1275159" y="833771"/>
                </a:moveTo>
                <a:lnTo>
                  <a:pt x="833771" y="1275159"/>
                </a:lnTo>
                <a:cubicBezTo>
                  <a:pt x="744045" y="1364885"/>
                  <a:pt x="598503" y="1364885"/>
                  <a:pt x="508682" y="1275159"/>
                </a:cubicBezTo>
                <a:lnTo>
                  <a:pt x="67294" y="833771"/>
                </a:lnTo>
                <a:cubicBezTo>
                  <a:pt x="-22431" y="744045"/>
                  <a:pt x="-22431" y="598503"/>
                  <a:pt x="67294" y="508683"/>
                </a:cubicBezTo>
                <a:lnTo>
                  <a:pt x="508682" y="67294"/>
                </a:lnTo>
                <a:cubicBezTo>
                  <a:pt x="598408" y="-22431"/>
                  <a:pt x="743950" y="-22431"/>
                  <a:pt x="833771" y="67294"/>
                </a:cubicBezTo>
                <a:lnTo>
                  <a:pt x="1275159" y="508683"/>
                </a:lnTo>
                <a:cubicBezTo>
                  <a:pt x="1364885" y="598408"/>
                  <a:pt x="1364885" y="743950"/>
                  <a:pt x="1275159" y="833771"/>
                </a:cubicBezTo>
                <a:close/>
              </a:path>
            </a:pathLst>
          </a:custGeom>
          <a:gradFill>
            <a:gsLst>
              <a:gs pos="0">
                <a:schemeClr val="accent2">
                  <a:alpha val="40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5" name="Freeform: Shape 47">
            <a:extLst>
              <a:ext uri="{FF2B5EF4-FFF2-40B4-BE49-F238E27FC236}">
                <a16:creationId xmlns:a16="http://schemas.microsoft.com/office/drawing/2014/main" id="{2D12AD1E-5A50-B221-CF80-4EBCD0160B61}"/>
              </a:ext>
            </a:extLst>
          </p:cNvPr>
          <p:cNvSpPr/>
          <p:nvPr userDrawn="1"/>
        </p:nvSpPr>
        <p:spPr>
          <a:xfrm>
            <a:off x="5943600" y="664956"/>
            <a:ext cx="838200" cy="838200"/>
          </a:xfrm>
          <a:custGeom>
            <a:avLst/>
            <a:gdLst>
              <a:gd name="connsiteX0" fmla="*/ 662892 w 697896"/>
              <a:gd name="connsiteY0" fmla="*/ 433435 h 697896"/>
              <a:gd name="connsiteX1" fmla="*/ 433435 w 697896"/>
              <a:gd name="connsiteY1" fmla="*/ 662892 h 697896"/>
              <a:gd name="connsiteX2" fmla="*/ 264462 w 697896"/>
              <a:gd name="connsiteY2" fmla="*/ 662892 h 697896"/>
              <a:gd name="connsiteX3" fmla="*/ 35004 w 697896"/>
              <a:gd name="connsiteY3" fmla="*/ 433435 h 697896"/>
              <a:gd name="connsiteX4" fmla="*/ 35004 w 697896"/>
              <a:gd name="connsiteY4" fmla="*/ 264462 h 697896"/>
              <a:gd name="connsiteX5" fmla="*/ 264462 w 697896"/>
              <a:gd name="connsiteY5" fmla="*/ 35004 h 697896"/>
              <a:gd name="connsiteX6" fmla="*/ 433435 w 697896"/>
              <a:gd name="connsiteY6" fmla="*/ 35004 h 697896"/>
              <a:gd name="connsiteX7" fmla="*/ 662892 w 697896"/>
              <a:gd name="connsiteY7" fmla="*/ 264462 h 697896"/>
              <a:gd name="connsiteX8" fmla="*/ 662892 w 697896"/>
              <a:gd name="connsiteY8" fmla="*/ 433435 h 69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896" h="697896">
                <a:moveTo>
                  <a:pt x="662892" y="433435"/>
                </a:moveTo>
                <a:lnTo>
                  <a:pt x="433435" y="662892"/>
                </a:lnTo>
                <a:cubicBezTo>
                  <a:pt x="386763" y="709565"/>
                  <a:pt x="311134" y="709565"/>
                  <a:pt x="264462" y="662892"/>
                </a:cubicBezTo>
                <a:lnTo>
                  <a:pt x="35004" y="433435"/>
                </a:lnTo>
                <a:cubicBezTo>
                  <a:pt x="-11668" y="386763"/>
                  <a:pt x="-11668" y="311134"/>
                  <a:pt x="35004" y="264462"/>
                </a:cubicBezTo>
                <a:lnTo>
                  <a:pt x="264462" y="35004"/>
                </a:lnTo>
                <a:cubicBezTo>
                  <a:pt x="311134" y="-11668"/>
                  <a:pt x="386763" y="-11668"/>
                  <a:pt x="433435" y="35004"/>
                </a:cubicBezTo>
                <a:lnTo>
                  <a:pt x="662892" y="264462"/>
                </a:lnTo>
                <a:cubicBezTo>
                  <a:pt x="709565" y="311134"/>
                  <a:pt x="709565" y="386763"/>
                  <a:pt x="662892" y="433435"/>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20" name="Freeform: Shape 49">
            <a:extLst>
              <a:ext uri="{FF2B5EF4-FFF2-40B4-BE49-F238E27FC236}">
                <a16:creationId xmlns:a16="http://schemas.microsoft.com/office/drawing/2014/main" id="{49FCA802-0F32-433E-C874-76E5D1066F55}"/>
              </a:ext>
            </a:extLst>
          </p:cNvPr>
          <p:cNvSpPr/>
          <p:nvPr userDrawn="1"/>
        </p:nvSpPr>
        <p:spPr>
          <a:xfrm rot="18900000">
            <a:off x="8172545" y="4881734"/>
            <a:ext cx="1276518" cy="1276518"/>
          </a:xfrm>
          <a:custGeom>
            <a:avLst/>
            <a:gdLst>
              <a:gd name="connsiteX0" fmla="*/ 134207 w 632841"/>
              <a:gd name="connsiteY0" fmla="*/ 0 h 632841"/>
              <a:gd name="connsiteX1" fmla="*/ 498634 w 632841"/>
              <a:gd name="connsiteY1" fmla="*/ 0 h 632841"/>
              <a:gd name="connsiteX2" fmla="*/ 632841 w 632841"/>
              <a:gd name="connsiteY2" fmla="*/ 134207 h 632841"/>
              <a:gd name="connsiteX3" fmla="*/ 632841 w 632841"/>
              <a:gd name="connsiteY3" fmla="*/ 498634 h 632841"/>
              <a:gd name="connsiteX4" fmla="*/ 498634 w 632841"/>
              <a:gd name="connsiteY4" fmla="*/ 632841 h 632841"/>
              <a:gd name="connsiteX5" fmla="*/ 134207 w 632841"/>
              <a:gd name="connsiteY5" fmla="*/ 632841 h 632841"/>
              <a:gd name="connsiteX6" fmla="*/ 0 w 632841"/>
              <a:gd name="connsiteY6" fmla="*/ 498634 h 632841"/>
              <a:gd name="connsiteX7" fmla="*/ 0 w 632841"/>
              <a:gd name="connsiteY7" fmla="*/ 134207 h 632841"/>
              <a:gd name="connsiteX8" fmla="*/ 134207 w 632841"/>
              <a:gd name="connsiteY8" fmla="*/ 0 h 63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2841" h="632841">
                <a:moveTo>
                  <a:pt x="134207" y="0"/>
                </a:moveTo>
                <a:lnTo>
                  <a:pt x="498634" y="0"/>
                </a:lnTo>
                <a:cubicBezTo>
                  <a:pt x="572739" y="0"/>
                  <a:pt x="632841" y="60103"/>
                  <a:pt x="632841" y="134207"/>
                </a:cubicBezTo>
                <a:lnTo>
                  <a:pt x="632841" y="498634"/>
                </a:lnTo>
                <a:cubicBezTo>
                  <a:pt x="632841" y="572738"/>
                  <a:pt x="572739" y="632841"/>
                  <a:pt x="498634" y="632841"/>
                </a:cubicBezTo>
                <a:lnTo>
                  <a:pt x="134207" y="632841"/>
                </a:lnTo>
                <a:cubicBezTo>
                  <a:pt x="60103" y="632841"/>
                  <a:pt x="0" y="572738"/>
                  <a:pt x="0" y="498634"/>
                </a:cubicBezTo>
                <a:lnTo>
                  <a:pt x="0" y="134207"/>
                </a:lnTo>
                <a:cubicBezTo>
                  <a:pt x="0" y="60103"/>
                  <a:pt x="60103" y="0"/>
                  <a:pt x="134207" y="0"/>
                </a:cubicBezTo>
                <a:close/>
              </a:path>
            </a:pathLst>
          </a:custGeom>
          <a:solidFill>
            <a:schemeClr val="bg1">
              <a:lumMod val="95000"/>
            </a:schemeClr>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grpSp>
        <p:nvGrpSpPr>
          <p:cNvPr id="25" name="Group 24">
            <a:extLst>
              <a:ext uri="{FF2B5EF4-FFF2-40B4-BE49-F238E27FC236}">
                <a16:creationId xmlns:a16="http://schemas.microsoft.com/office/drawing/2014/main" id="{98036FDF-A847-A0F1-89A2-B3FFAE56A415}"/>
              </a:ext>
            </a:extLst>
          </p:cNvPr>
          <p:cNvGrpSpPr/>
          <p:nvPr userDrawn="1"/>
        </p:nvGrpSpPr>
        <p:grpSpPr>
          <a:xfrm>
            <a:off x="604894" y="597820"/>
            <a:ext cx="3084456" cy="292608"/>
            <a:chOff x="604894" y="597820"/>
            <a:chExt cx="3084456" cy="292608"/>
          </a:xfrm>
        </p:grpSpPr>
        <p:pic>
          <p:nvPicPr>
            <p:cNvPr id="26" name="Graphic 25" descr="Microsoft Power Platform logo">
              <a:extLst>
                <a:ext uri="{FF2B5EF4-FFF2-40B4-BE49-F238E27FC236}">
                  <a16:creationId xmlns:a16="http://schemas.microsoft.com/office/drawing/2014/main" id="{2C32B4D3-870A-3D16-E671-E9E5EE332AAC}"/>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7" name="Graphic 26" descr="Microsoft Power Platform logo">
              <a:extLst>
                <a:ext uri="{FF2B5EF4-FFF2-40B4-BE49-F238E27FC236}">
                  <a16:creationId xmlns:a16="http://schemas.microsoft.com/office/drawing/2014/main" id="{4BE174D5-5FA4-25E8-D5A3-86A9FD2F187F}"/>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28" name="Rectangle 27">
            <a:extLst>
              <a:ext uri="{FF2B5EF4-FFF2-40B4-BE49-F238E27FC236}">
                <a16:creationId xmlns:a16="http://schemas.microsoft.com/office/drawing/2014/main" id="{8ED97726-6615-4B1E-4EE0-45ED40432796}"/>
              </a:ext>
            </a:extLst>
          </p:cNvPr>
          <p:cNvSpPr/>
          <p:nvPr userDrawn="1"/>
        </p:nvSpPr>
        <p:spPr>
          <a:xfrm rot="10800000" flipH="1">
            <a:off x="1" y="1902878"/>
            <a:ext cx="241159" cy="3052244"/>
          </a:xfrm>
          <a:prstGeom prst="rect">
            <a:avLst/>
          </a:prstGeom>
          <a:solidFill>
            <a:schemeClr val="accent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Text Box 3" descr="This is a copyright notice that should be included on the final slide.">
            <a:extLst>
              <a:ext uri="{FF2B5EF4-FFF2-40B4-BE49-F238E27FC236}">
                <a16:creationId xmlns:a16="http://schemas.microsoft.com/office/drawing/2014/main" id="{8F78F77A-D1AE-DC3B-27C3-404F633EAF5A}"/>
              </a:ext>
            </a:extLst>
          </p:cNvPr>
          <p:cNvSpPr txBox="1">
            <a:spLocks noChangeArrowheads="1"/>
          </p:cNvSpPr>
          <p:nvPr userDrawn="1"/>
        </p:nvSpPr>
        <p:spPr bwMode="blackWhite">
          <a:xfrm>
            <a:off x="604894" y="6462131"/>
            <a:ext cx="448212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egoe UI"/>
                <a:ea typeface="+mn-ea"/>
                <a:cs typeface="Segoe UI" pitchFamily="34" charset="0"/>
              </a:rPr>
              <a:t>© Copyright Microsoft Corporation. All rights reserved. </a:t>
            </a:r>
          </a:p>
        </p:txBody>
      </p:sp>
      <p:sp>
        <p:nvSpPr>
          <p:cNvPr id="3" name="Title 1">
            <a:extLst>
              <a:ext uri="{FF2B5EF4-FFF2-40B4-BE49-F238E27FC236}">
                <a16:creationId xmlns:a16="http://schemas.microsoft.com/office/drawing/2014/main" id="{EDFEE6E9-8666-CBFD-B1A5-1DAFB51F4B7A}"/>
              </a:ext>
            </a:extLst>
          </p:cNvPr>
          <p:cNvSpPr>
            <a:spLocks noGrp="1"/>
          </p:cNvSpPr>
          <p:nvPr>
            <p:ph type="title" hasCustomPrompt="1"/>
          </p:nvPr>
        </p:nvSpPr>
        <p:spPr>
          <a:xfrm>
            <a:off x="585216" y="2285223"/>
            <a:ext cx="4567355" cy="923330"/>
          </a:xfrm>
        </p:spPr>
        <p:txBody>
          <a:bodyPr anchor="ctr"/>
          <a:lstStyle>
            <a:lvl1pPr marL="0" marR="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defRPr kumimoji="0" lang="en-GB" sz="6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GB"/>
              <a:t>Thank you!</a:t>
            </a:r>
          </a:p>
        </p:txBody>
      </p:sp>
      <p:sp>
        <p:nvSpPr>
          <p:cNvPr id="29" name="Text Placeholder 4">
            <a:extLst>
              <a:ext uri="{FF2B5EF4-FFF2-40B4-BE49-F238E27FC236}">
                <a16:creationId xmlns:a16="http://schemas.microsoft.com/office/drawing/2014/main" id="{ED1427E7-1656-6F99-4DC0-44C3C0980B9B}"/>
              </a:ext>
            </a:extLst>
          </p:cNvPr>
          <p:cNvSpPr>
            <a:spLocks noGrp="1"/>
          </p:cNvSpPr>
          <p:nvPr>
            <p:ph type="body" sz="quarter" idx="12" hasCustomPrompt="1"/>
          </p:nvPr>
        </p:nvSpPr>
        <p:spPr>
          <a:xfrm>
            <a:off x="588263" y="3732514"/>
            <a:ext cx="4564308"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0" name="Text Placeholder 3">
            <a:extLst>
              <a:ext uri="{FF2B5EF4-FFF2-40B4-BE49-F238E27FC236}">
                <a16:creationId xmlns:a16="http://schemas.microsoft.com/office/drawing/2014/main" id="{10C2B09A-54BA-8905-D458-3913B0BEA66C}"/>
              </a:ext>
            </a:extLst>
          </p:cNvPr>
          <p:cNvSpPr>
            <a:spLocks noGrp="1"/>
          </p:cNvSpPr>
          <p:nvPr>
            <p:ph type="body" sz="quarter" idx="13" hasCustomPrompt="1"/>
          </p:nvPr>
        </p:nvSpPr>
        <p:spPr>
          <a:xfrm>
            <a:off x="588263" y="4151724"/>
            <a:ext cx="4564308" cy="246221"/>
          </a:xfrm>
        </p:spPr>
        <p:txBody>
          <a:bodyPr/>
          <a:lstStyle>
            <a:lvl1pPr marL="0" indent="0">
              <a:buNone/>
              <a:defRPr sz="1600">
                <a:solidFill>
                  <a:schemeClr val="bg1"/>
                </a:solidFill>
              </a:defRPr>
            </a:lvl1pPr>
          </a:lstStyle>
          <a:p>
            <a:pPr lvl="0"/>
            <a:r>
              <a:rPr lang="en-US"/>
              <a:t>Contact information</a:t>
            </a:r>
          </a:p>
        </p:txBody>
      </p:sp>
    </p:spTree>
    <p:extLst>
      <p:ext uri="{BB962C8B-B14F-4D97-AF65-F5344CB8AC3E}">
        <p14:creationId xmlns:p14="http://schemas.microsoft.com/office/powerpoint/2010/main" val="379567199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2D98E6F3-7EE0-FB03-9025-521119AF4593}"/>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E81611C8-93AA-7022-A142-671523F3CEA8}"/>
              </a:ext>
            </a:extLst>
          </p:cNvPr>
          <p:cNvSpPr/>
          <p:nvPr userDrawn="1"/>
        </p:nvSpPr>
        <p:spPr>
          <a:xfrm>
            <a:off x="0" y="0"/>
            <a:ext cx="7115420" cy="6858000"/>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gradFill>
            <a:gsLst>
              <a:gs pos="100000">
                <a:schemeClr val="bg2"/>
              </a:gs>
              <a:gs pos="0">
                <a:schemeClr val="tx2">
                  <a:alpha val="9900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grpSp>
        <p:nvGrpSpPr>
          <p:cNvPr id="26" name="Group 25">
            <a:extLst>
              <a:ext uri="{FF2B5EF4-FFF2-40B4-BE49-F238E27FC236}">
                <a16:creationId xmlns:a16="http://schemas.microsoft.com/office/drawing/2014/main" id="{81B5CE95-BEC8-78FF-66C0-B2E0D8807281}"/>
              </a:ext>
            </a:extLst>
          </p:cNvPr>
          <p:cNvGrpSpPr/>
          <p:nvPr userDrawn="1"/>
        </p:nvGrpSpPr>
        <p:grpSpPr>
          <a:xfrm>
            <a:off x="604894" y="597820"/>
            <a:ext cx="3084456" cy="292608"/>
            <a:chOff x="604894" y="597820"/>
            <a:chExt cx="3084456" cy="292608"/>
          </a:xfrm>
        </p:grpSpPr>
        <p:pic>
          <p:nvPicPr>
            <p:cNvPr id="27" name="Graphic 26" descr="Microsoft Power Platform logo">
              <a:extLst>
                <a:ext uri="{FF2B5EF4-FFF2-40B4-BE49-F238E27FC236}">
                  <a16:creationId xmlns:a16="http://schemas.microsoft.com/office/drawing/2014/main" id="{120ADA71-126C-9752-3940-1CEAF3C7672E}"/>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8" name="Graphic 27" descr="Microsoft Power Platform logo">
              <a:extLst>
                <a:ext uri="{FF2B5EF4-FFF2-40B4-BE49-F238E27FC236}">
                  <a16:creationId xmlns:a16="http://schemas.microsoft.com/office/drawing/2014/main" id="{1DC06F3F-EF47-D8B4-9C2E-3901B12D65BF}"/>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588263" y="3732514"/>
            <a:ext cx="6784994"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588263" y="4151724"/>
            <a:ext cx="6784994" cy="246221"/>
          </a:xfrm>
        </p:spPr>
        <p:txBody>
          <a:bodyPr/>
          <a:lstStyle>
            <a:lvl1pPr marL="0" indent="0">
              <a:buNone/>
              <a:defRPr sz="1600">
                <a:solidFill>
                  <a:schemeClr val="bg1"/>
                </a:solidFill>
              </a:defRPr>
            </a:lvl1pPr>
          </a:lstStyle>
          <a:p>
            <a:pPr lvl="0"/>
            <a:r>
              <a:rPr lang="en-US"/>
              <a:t>Contact information</a:t>
            </a:r>
          </a:p>
        </p:txBody>
      </p:sp>
      <p:sp>
        <p:nvSpPr>
          <p:cNvPr id="2" name="Title 1">
            <a:extLst>
              <a:ext uri="{FF2B5EF4-FFF2-40B4-BE49-F238E27FC236}">
                <a16:creationId xmlns:a16="http://schemas.microsoft.com/office/drawing/2014/main" id="{BC94F8B2-A920-AB0E-5686-1B46D40E934D}"/>
              </a:ext>
            </a:extLst>
          </p:cNvPr>
          <p:cNvSpPr>
            <a:spLocks noGrp="1"/>
          </p:cNvSpPr>
          <p:nvPr>
            <p:ph type="title" hasCustomPrompt="1"/>
          </p:nvPr>
        </p:nvSpPr>
        <p:spPr>
          <a:xfrm>
            <a:off x="588263" y="2386823"/>
            <a:ext cx="6784994" cy="73866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4800" b="0" i="0" u="none" strike="noStrike" kern="1200" cap="none" spc="0" normalizeH="0" baseline="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sp>
        <p:nvSpPr>
          <p:cNvPr id="25" name="Freeform: Shape 24">
            <a:extLst>
              <a:ext uri="{FF2B5EF4-FFF2-40B4-BE49-F238E27FC236}">
                <a16:creationId xmlns:a16="http://schemas.microsoft.com/office/drawing/2014/main" id="{02B87522-736E-9852-6D47-C8CEF32F44AB}"/>
              </a:ext>
            </a:extLst>
          </p:cNvPr>
          <p:cNvSpPr/>
          <p:nvPr userDrawn="1"/>
        </p:nvSpPr>
        <p:spPr>
          <a:xfrm>
            <a:off x="0" y="0"/>
            <a:ext cx="7115420" cy="6835839"/>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noFill/>
          <a:ln w="9525" cap="flat">
            <a:no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E6E44912-C00E-DCB4-D5A9-AB47917BB602}"/>
              </a:ext>
            </a:extLst>
          </p:cNvPr>
          <p:cNvSpPr/>
          <p:nvPr userDrawn="1"/>
        </p:nvSpPr>
        <p:spPr>
          <a:xfrm>
            <a:off x="9149325" y="1129894"/>
            <a:ext cx="3042675" cy="4045330"/>
          </a:xfrm>
          <a:custGeom>
            <a:avLst/>
            <a:gdLst>
              <a:gd name="connsiteX0" fmla="*/ 2022666 w 3042675"/>
              <a:gd name="connsiteY0" fmla="*/ 0 h 4045330"/>
              <a:gd name="connsiteX1" fmla="*/ 2512421 w 3042675"/>
              <a:gd name="connsiteY1" fmla="*/ 202880 h 4045330"/>
              <a:gd name="connsiteX2" fmla="*/ 3042675 w 3042675"/>
              <a:gd name="connsiteY2" fmla="*/ 733134 h 4045330"/>
              <a:gd name="connsiteX3" fmla="*/ 3042675 w 3042675"/>
              <a:gd name="connsiteY3" fmla="*/ 3312195 h 4045330"/>
              <a:gd name="connsiteX4" fmla="*/ 2512421 w 3042675"/>
              <a:gd name="connsiteY4" fmla="*/ 3842449 h 4045330"/>
              <a:gd name="connsiteX5" fmla="*/ 1532912 w 3042675"/>
              <a:gd name="connsiteY5" fmla="*/ 3842449 h 4045330"/>
              <a:gd name="connsiteX6" fmla="*/ 202880 w 3042675"/>
              <a:gd name="connsiteY6" fmla="*/ 2512420 h 4045330"/>
              <a:gd name="connsiteX7" fmla="*/ 202880 w 3042675"/>
              <a:gd name="connsiteY7" fmla="*/ 1532910 h 4045330"/>
              <a:gd name="connsiteX8" fmla="*/ 1532912 w 3042675"/>
              <a:gd name="connsiteY8" fmla="*/ 202880 h 4045330"/>
              <a:gd name="connsiteX9" fmla="*/ 2022666 w 3042675"/>
              <a:gd name="connsiteY9" fmla="*/ 0 h 404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2675" h="4045330">
                <a:moveTo>
                  <a:pt x="2022666" y="0"/>
                </a:moveTo>
                <a:cubicBezTo>
                  <a:pt x="2199916" y="0"/>
                  <a:pt x="2377167" y="67626"/>
                  <a:pt x="2512421" y="202880"/>
                </a:cubicBezTo>
                <a:lnTo>
                  <a:pt x="3042675" y="733134"/>
                </a:lnTo>
                <a:lnTo>
                  <a:pt x="3042675" y="3312195"/>
                </a:lnTo>
                <a:lnTo>
                  <a:pt x="2512421" y="3842449"/>
                </a:lnTo>
                <a:cubicBezTo>
                  <a:pt x="2241913" y="4112957"/>
                  <a:pt x="1803418" y="4112957"/>
                  <a:pt x="1532912" y="3842449"/>
                </a:cubicBezTo>
                <a:lnTo>
                  <a:pt x="202880" y="2512420"/>
                </a:lnTo>
                <a:cubicBezTo>
                  <a:pt x="-67626" y="2241912"/>
                  <a:pt x="-67626" y="1803418"/>
                  <a:pt x="202880" y="1532910"/>
                </a:cubicBezTo>
                <a:lnTo>
                  <a:pt x="1532912" y="202880"/>
                </a:lnTo>
                <a:cubicBezTo>
                  <a:pt x="1668165" y="67626"/>
                  <a:pt x="1845415" y="0"/>
                  <a:pt x="2022666" y="0"/>
                </a:cubicBezTo>
                <a:close/>
              </a:path>
            </a:pathLst>
          </a:custGeom>
          <a:gradFill>
            <a:gsLst>
              <a:gs pos="100000">
                <a:schemeClr val="bg2"/>
              </a:gs>
              <a:gs pos="0">
                <a:schemeClr val="tx2">
                  <a:alpha val="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1" name="Freeform: Shape 30">
            <a:extLst>
              <a:ext uri="{FF2B5EF4-FFF2-40B4-BE49-F238E27FC236}">
                <a16:creationId xmlns:a16="http://schemas.microsoft.com/office/drawing/2014/main" id="{B57D4C78-5153-04B6-D95C-10D5548BB268}"/>
              </a:ext>
            </a:extLst>
          </p:cNvPr>
          <p:cNvSpPr/>
          <p:nvPr userDrawn="1"/>
        </p:nvSpPr>
        <p:spPr>
          <a:xfrm>
            <a:off x="9996958" y="3351596"/>
            <a:ext cx="2195042" cy="2853334"/>
          </a:xfrm>
          <a:custGeom>
            <a:avLst/>
            <a:gdLst>
              <a:gd name="connsiteX0" fmla="*/ 1426739 w 2195042"/>
              <a:gd name="connsiteY0" fmla="*/ 0 h 2853334"/>
              <a:gd name="connsiteX1" fmla="*/ 1772204 w 2195042"/>
              <a:gd name="connsiteY1" fmla="*/ 143019 h 2853334"/>
              <a:gd name="connsiteX2" fmla="*/ 2195042 w 2195042"/>
              <a:gd name="connsiteY2" fmla="*/ 565856 h 2853334"/>
              <a:gd name="connsiteX3" fmla="*/ 2195042 w 2195042"/>
              <a:gd name="connsiteY3" fmla="*/ 2287334 h 2853334"/>
              <a:gd name="connsiteX4" fmla="*/ 1772204 w 2195042"/>
              <a:gd name="connsiteY4" fmla="*/ 2710172 h 2853334"/>
              <a:gd name="connsiteX5" fmla="*/ 1081274 w 2195042"/>
              <a:gd name="connsiteY5" fmla="*/ 2710172 h 2853334"/>
              <a:gd name="connsiteX6" fmla="*/ 143163 w 2195042"/>
              <a:gd name="connsiteY6" fmla="*/ 1772062 h 2853334"/>
              <a:gd name="connsiteX7" fmla="*/ 143163 w 2195042"/>
              <a:gd name="connsiteY7" fmla="*/ 1081129 h 2853334"/>
              <a:gd name="connsiteX8" fmla="*/ 1081274 w 2195042"/>
              <a:gd name="connsiteY8" fmla="*/ 143019 h 2853334"/>
              <a:gd name="connsiteX9" fmla="*/ 1426739 w 2195042"/>
              <a:gd name="connsiteY9" fmla="*/ 0 h 285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5042" h="2853334">
                <a:moveTo>
                  <a:pt x="1426739" y="0"/>
                </a:moveTo>
                <a:cubicBezTo>
                  <a:pt x="1551751" y="0"/>
                  <a:pt x="1676763" y="47673"/>
                  <a:pt x="1772204" y="143019"/>
                </a:cubicBezTo>
                <a:lnTo>
                  <a:pt x="2195042" y="565856"/>
                </a:lnTo>
                <a:lnTo>
                  <a:pt x="2195042" y="2287334"/>
                </a:lnTo>
                <a:lnTo>
                  <a:pt x="1772204" y="2710172"/>
                </a:lnTo>
                <a:cubicBezTo>
                  <a:pt x="1581321" y="2901055"/>
                  <a:pt x="1272157" y="2901055"/>
                  <a:pt x="1081274" y="2710172"/>
                </a:cubicBezTo>
                <a:lnTo>
                  <a:pt x="143163" y="1772062"/>
                </a:lnTo>
                <a:cubicBezTo>
                  <a:pt x="-47720" y="1581178"/>
                  <a:pt x="-47720" y="1272013"/>
                  <a:pt x="143163" y="1081129"/>
                </a:cubicBezTo>
                <a:lnTo>
                  <a:pt x="1081274" y="143019"/>
                </a:lnTo>
                <a:cubicBezTo>
                  <a:pt x="1176716" y="47673"/>
                  <a:pt x="1301727" y="0"/>
                  <a:pt x="1426739" y="0"/>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3" name="Freeform: Shape 32">
            <a:extLst>
              <a:ext uri="{FF2B5EF4-FFF2-40B4-BE49-F238E27FC236}">
                <a16:creationId xmlns:a16="http://schemas.microsoft.com/office/drawing/2014/main" id="{1C888D4E-EF77-F66A-0410-0F85E991CC63}"/>
              </a:ext>
            </a:extLst>
          </p:cNvPr>
          <p:cNvSpPr/>
          <p:nvPr userDrawn="1"/>
        </p:nvSpPr>
        <p:spPr>
          <a:xfrm>
            <a:off x="4630468" y="0"/>
            <a:ext cx="2706859" cy="1094861"/>
          </a:xfrm>
          <a:custGeom>
            <a:avLst/>
            <a:gdLst>
              <a:gd name="connsiteX0" fmla="*/ 1878616 w 1878615"/>
              <a:gd name="connsiteY0" fmla="*/ 0 h 759856"/>
              <a:gd name="connsiteX1" fmla="*/ 1864900 w 1878615"/>
              <a:gd name="connsiteY1" fmla="*/ 14383 h 759856"/>
              <a:gd name="connsiteX2" fmla="*/ 1246632 w 1878615"/>
              <a:gd name="connsiteY2" fmla="*/ 632555 h 759856"/>
              <a:gd name="connsiteX3" fmla="*/ 1236726 w 1878615"/>
              <a:gd name="connsiteY3" fmla="*/ 642176 h 759856"/>
              <a:gd name="connsiteX4" fmla="*/ 631888 w 1878615"/>
              <a:gd name="connsiteY4" fmla="*/ 632555 h 759856"/>
              <a:gd name="connsiteX5" fmla="*/ 424910 w 1878615"/>
              <a:gd name="connsiteY5" fmla="*/ 425577 h 759856"/>
              <a:gd name="connsiteX6" fmla="*/ 13716 w 1878615"/>
              <a:gd name="connsiteY6" fmla="*/ 14383 h 759856"/>
              <a:gd name="connsiteX7" fmla="*/ 0 w 1878615"/>
              <a:gd name="connsiteY7" fmla="*/ 0 h 759856"/>
              <a:gd name="connsiteX8" fmla="*/ 1878616 w 1878615"/>
              <a:gd name="connsiteY8" fmla="*/ 0 h 75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15" h="759856">
                <a:moveTo>
                  <a:pt x="1878616" y="0"/>
                </a:moveTo>
                <a:cubicBezTo>
                  <a:pt x="1874234" y="4858"/>
                  <a:pt x="1869662" y="9620"/>
                  <a:pt x="1864900" y="14383"/>
                </a:cubicBezTo>
                <a:lnTo>
                  <a:pt x="1246632" y="632555"/>
                </a:lnTo>
                <a:cubicBezTo>
                  <a:pt x="1243393" y="635794"/>
                  <a:pt x="1240060" y="639032"/>
                  <a:pt x="1236726" y="642176"/>
                </a:cubicBezTo>
                <a:cubicBezTo>
                  <a:pt x="1066324" y="802196"/>
                  <a:pt x="798385" y="799052"/>
                  <a:pt x="631888" y="632555"/>
                </a:cubicBezTo>
                <a:lnTo>
                  <a:pt x="424910" y="425577"/>
                </a:lnTo>
                <a:lnTo>
                  <a:pt x="13716" y="14383"/>
                </a:lnTo>
                <a:cubicBezTo>
                  <a:pt x="8953" y="9620"/>
                  <a:pt x="4381" y="4858"/>
                  <a:pt x="0" y="0"/>
                </a:cubicBezTo>
                <a:lnTo>
                  <a:pt x="1878616" y="0"/>
                </a:lnTo>
                <a:close/>
              </a:path>
            </a:pathLst>
          </a:custGeom>
          <a:gradFill>
            <a:gsLst>
              <a:gs pos="0">
                <a:schemeClr val="bg2"/>
              </a:gs>
              <a:gs pos="100000">
                <a:schemeClr val="tx2">
                  <a:alpha val="0"/>
                </a:schemeClr>
              </a:gs>
            </a:gsLst>
            <a:lin ang="5400000" scaled="1"/>
          </a:gradFill>
          <a:ln w="9525" cap="flat">
            <a:noFill/>
            <a:prstDash val="solid"/>
            <a:miter/>
          </a:ln>
        </p:spPr>
        <p:txBody>
          <a:bodyPr rtlCol="0" anchor="ctr"/>
          <a:lstStyle/>
          <a:p>
            <a:endParaRPr lang="en-IN"/>
          </a:p>
        </p:txBody>
      </p:sp>
      <p:sp>
        <p:nvSpPr>
          <p:cNvPr id="34" name="Freeform: Shape 33">
            <a:extLst>
              <a:ext uri="{FF2B5EF4-FFF2-40B4-BE49-F238E27FC236}">
                <a16:creationId xmlns:a16="http://schemas.microsoft.com/office/drawing/2014/main" id="{82CB47DB-4BBC-F383-C97B-886EA9A5058B}"/>
              </a:ext>
            </a:extLst>
          </p:cNvPr>
          <p:cNvSpPr/>
          <p:nvPr userDrawn="1"/>
        </p:nvSpPr>
        <p:spPr>
          <a:xfrm>
            <a:off x="3964576" y="4753406"/>
            <a:ext cx="4038511" cy="2104594"/>
          </a:xfrm>
          <a:custGeom>
            <a:avLst/>
            <a:gdLst>
              <a:gd name="connsiteX0" fmla="*/ 2800816 w 2802809"/>
              <a:gd name="connsiteY0" fmla="*/ 1445252 h 1445251"/>
              <a:gd name="connsiteX1" fmla="*/ 1990 w 2802809"/>
              <a:gd name="connsiteY1" fmla="*/ 1445252 h 1445251"/>
              <a:gd name="connsiteX2" fmla="*/ 140579 w 2802809"/>
              <a:gd name="connsiteY2" fmla="*/ 1062061 h 1445251"/>
              <a:gd name="connsiteX3" fmla="*/ 1062123 w 2802809"/>
              <a:gd name="connsiteY3" fmla="*/ 140518 h 1445251"/>
              <a:gd name="connsiteX4" fmla="*/ 1740779 w 2802809"/>
              <a:gd name="connsiteY4" fmla="*/ 140518 h 1445251"/>
              <a:gd name="connsiteX5" fmla="*/ 2662323 w 2802809"/>
              <a:gd name="connsiteY5" fmla="*/ 1062061 h 1445251"/>
              <a:gd name="connsiteX6" fmla="*/ 2800816 w 2802809"/>
              <a:gd name="connsiteY6" fmla="*/ 1445252 h 1445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2809" h="1445251">
                <a:moveTo>
                  <a:pt x="2800816" y="1445252"/>
                </a:moveTo>
                <a:lnTo>
                  <a:pt x="1990" y="1445252"/>
                </a:lnTo>
                <a:cubicBezTo>
                  <a:pt x="-10488" y="1308283"/>
                  <a:pt x="35709" y="1166932"/>
                  <a:pt x="140579" y="1062061"/>
                </a:cubicBezTo>
                <a:lnTo>
                  <a:pt x="1062123" y="140518"/>
                </a:lnTo>
                <a:cubicBezTo>
                  <a:pt x="1249479" y="-46839"/>
                  <a:pt x="1553327" y="-46839"/>
                  <a:pt x="1740779" y="140518"/>
                </a:cubicBezTo>
                <a:lnTo>
                  <a:pt x="2662323" y="1062061"/>
                </a:lnTo>
                <a:cubicBezTo>
                  <a:pt x="2767193" y="1166932"/>
                  <a:pt x="2813294" y="1308283"/>
                  <a:pt x="2800816" y="1445252"/>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7" name="Freeform: Shape 36">
            <a:extLst>
              <a:ext uri="{FF2B5EF4-FFF2-40B4-BE49-F238E27FC236}">
                <a16:creationId xmlns:a16="http://schemas.microsoft.com/office/drawing/2014/main" id="{7D6839E2-39F2-5404-C8B3-8FC3C7AF5A7C}"/>
              </a:ext>
            </a:extLst>
          </p:cNvPr>
          <p:cNvSpPr/>
          <p:nvPr userDrawn="1"/>
        </p:nvSpPr>
        <p:spPr>
          <a:xfrm>
            <a:off x="4704374" y="321630"/>
            <a:ext cx="1934314" cy="1934314"/>
          </a:xfrm>
          <a:custGeom>
            <a:avLst/>
            <a:gdLst>
              <a:gd name="connsiteX0" fmla="*/ 1275159 w 1342453"/>
              <a:gd name="connsiteY0" fmla="*/ 833771 h 1342453"/>
              <a:gd name="connsiteX1" fmla="*/ 833771 w 1342453"/>
              <a:gd name="connsiteY1" fmla="*/ 1275159 h 1342453"/>
              <a:gd name="connsiteX2" fmla="*/ 508682 w 1342453"/>
              <a:gd name="connsiteY2" fmla="*/ 1275159 h 1342453"/>
              <a:gd name="connsiteX3" fmla="*/ 67294 w 1342453"/>
              <a:gd name="connsiteY3" fmla="*/ 833771 h 1342453"/>
              <a:gd name="connsiteX4" fmla="*/ 67294 w 1342453"/>
              <a:gd name="connsiteY4" fmla="*/ 508683 h 1342453"/>
              <a:gd name="connsiteX5" fmla="*/ 508682 w 1342453"/>
              <a:gd name="connsiteY5" fmla="*/ 67294 h 1342453"/>
              <a:gd name="connsiteX6" fmla="*/ 833771 w 1342453"/>
              <a:gd name="connsiteY6" fmla="*/ 67294 h 1342453"/>
              <a:gd name="connsiteX7" fmla="*/ 1275159 w 1342453"/>
              <a:gd name="connsiteY7" fmla="*/ 508683 h 1342453"/>
              <a:gd name="connsiteX8" fmla="*/ 1275159 w 1342453"/>
              <a:gd name="connsiteY8" fmla="*/ 833771 h 134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453" h="1342453">
                <a:moveTo>
                  <a:pt x="1275159" y="833771"/>
                </a:moveTo>
                <a:lnTo>
                  <a:pt x="833771" y="1275159"/>
                </a:lnTo>
                <a:cubicBezTo>
                  <a:pt x="744045" y="1364885"/>
                  <a:pt x="598503" y="1364885"/>
                  <a:pt x="508682" y="1275159"/>
                </a:cubicBezTo>
                <a:lnTo>
                  <a:pt x="67294" y="833771"/>
                </a:lnTo>
                <a:cubicBezTo>
                  <a:pt x="-22431" y="744045"/>
                  <a:pt x="-22431" y="598503"/>
                  <a:pt x="67294" y="508683"/>
                </a:cubicBezTo>
                <a:lnTo>
                  <a:pt x="508682" y="67294"/>
                </a:lnTo>
                <a:cubicBezTo>
                  <a:pt x="598408" y="-22431"/>
                  <a:pt x="743950" y="-22431"/>
                  <a:pt x="833771" y="67294"/>
                </a:cubicBezTo>
                <a:lnTo>
                  <a:pt x="1275159" y="508683"/>
                </a:lnTo>
                <a:cubicBezTo>
                  <a:pt x="1364885" y="598408"/>
                  <a:pt x="1364885" y="743950"/>
                  <a:pt x="1275159" y="833771"/>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8" name="Freeform: Shape 37">
            <a:extLst>
              <a:ext uri="{FF2B5EF4-FFF2-40B4-BE49-F238E27FC236}">
                <a16:creationId xmlns:a16="http://schemas.microsoft.com/office/drawing/2014/main" id="{C19C1E11-FB5A-49B0-CD5F-94B8020DB9E3}"/>
              </a:ext>
            </a:extLst>
          </p:cNvPr>
          <p:cNvSpPr/>
          <p:nvPr userDrawn="1"/>
        </p:nvSpPr>
        <p:spPr>
          <a:xfrm>
            <a:off x="6888885" y="365136"/>
            <a:ext cx="1005584" cy="1005584"/>
          </a:xfrm>
          <a:custGeom>
            <a:avLst/>
            <a:gdLst>
              <a:gd name="connsiteX0" fmla="*/ 662892 w 697896"/>
              <a:gd name="connsiteY0" fmla="*/ 433435 h 697896"/>
              <a:gd name="connsiteX1" fmla="*/ 433435 w 697896"/>
              <a:gd name="connsiteY1" fmla="*/ 662892 h 697896"/>
              <a:gd name="connsiteX2" fmla="*/ 264462 w 697896"/>
              <a:gd name="connsiteY2" fmla="*/ 662892 h 697896"/>
              <a:gd name="connsiteX3" fmla="*/ 35004 w 697896"/>
              <a:gd name="connsiteY3" fmla="*/ 433435 h 697896"/>
              <a:gd name="connsiteX4" fmla="*/ 35004 w 697896"/>
              <a:gd name="connsiteY4" fmla="*/ 264462 h 697896"/>
              <a:gd name="connsiteX5" fmla="*/ 264462 w 697896"/>
              <a:gd name="connsiteY5" fmla="*/ 35004 h 697896"/>
              <a:gd name="connsiteX6" fmla="*/ 433435 w 697896"/>
              <a:gd name="connsiteY6" fmla="*/ 35004 h 697896"/>
              <a:gd name="connsiteX7" fmla="*/ 662892 w 697896"/>
              <a:gd name="connsiteY7" fmla="*/ 264462 h 697896"/>
              <a:gd name="connsiteX8" fmla="*/ 662892 w 697896"/>
              <a:gd name="connsiteY8" fmla="*/ 433435 h 69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896" h="697896">
                <a:moveTo>
                  <a:pt x="662892" y="433435"/>
                </a:moveTo>
                <a:lnTo>
                  <a:pt x="433435" y="662892"/>
                </a:lnTo>
                <a:cubicBezTo>
                  <a:pt x="386763" y="709565"/>
                  <a:pt x="311134" y="709565"/>
                  <a:pt x="264462" y="662892"/>
                </a:cubicBezTo>
                <a:lnTo>
                  <a:pt x="35004" y="433435"/>
                </a:lnTo>
                <a:cubicBezTo>
                  <a:pt x="-11668" y="386763"/>
                  <a:pt x="-11668" y="311134"/>
                  <a:pt x="35004" y="264462"/>
                </a:cubicBezTo>
                <a:lnTo>
                  <a:pt x="264462" y="35004"/>
                </a:lnTo>
                <a:cubicBezTo>
                  <a:pt x="311134" y="-11668"/>
                  <a:pt x="386763" y="-11668"/>
                  <a:pt x="433435" y="35004"/>
                </a:cubicBezTo>
                <a:lnTo>
                  <a:pt x="662892" y="264462"/>
                </a:lnTo>
                <a:cubicBezTo>
                  <a:pt x="709565" y="311134"/>
                  <a:pt x="709565" y="386763"/>
                  <a:pt x="662892" y="433435"/>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9" name="Freeform: Shape 38">
            <a:extLst>
              <a:ext uri="{FF2B5EF4-FFF2-40B4-BE49-F238E27FC236}">
                <a16:creationId xmlns:a16="http://schemas.microsoft.com/office/drawing/2014/main" id="{C2533B60-A6CB-5F3F-E6E0-B9B8FA26352A}"/>
              </a:ext>
            </a:extLst>
          </p:cNvPr>
          <p:cNvSpPr/>
          <p:nvPr userDrawn="1"/>
        </p:nvSpPr>
        <p:spPr>
          <a:xfrm>
            <a:off x="7331532" y="5741599"/>
            <a:ext cx="2062310" cy="1094240"/>
          </a:xfrm>
          <a:custGeom>
            <a:avLst/>
            <a:gdLst>
              <a:gd name="connsiteX0" fmla="*/ 1427319 w 1431285"/>
              <a:gd name="connsiteY0" fmla="*/ 759426 h 759425"/>
              <a:gd name="connsiteX1" fmla="*/ 3903 w 1431285"/>
              <a:gd name="connsiteY1" fmla="*/ 759426 h 759425"/>
              <a:gd name="connsiteX2" fmla="*/ 665 w 1431285"/>
              <a:gd name="connsiteY2" fmla="*/ 733423 h 759425"/>
              <a:gd name="connsiteX3" fmla="*/ 71721 w 1431285"/>
              <a:gd name="connsiteY3" fmla="*/ 542256 h 759425"/>
              <a:gd name="connsiteX4" fmla="*/ 542351 w 1431285"/>
              <a:gd name="connsiteY4" fmla="*/ 71721 h 759425"/>
              <a:gd name="connsiteX5" fmla="*/ 733423 w 1431285"/>
              <a:gd name="connsiteY5" fmla="*/ 665 h 759425"/>
              <a:gd name="connsiteX6" fmla="*/ 888966 w 1431285"/>
              <a:gd name="connsiteY6" fmla="*/ 71721 h 759425"/>
              <a:gd name="connsiteX7" fmla="*/ 1359501 w 1431285"/>
              <a:gd name="connsiteY7" fmla="*/ 542256 h 759425"/>
              <a:gd name="connsiteX8" fmla="*/ 1427319 w 1431285"/>
              <a:gd name="connsiteY8" fmla="*/ 759426 h 75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1285" h="759425">
                <a:moveTo>
                  <a:pt x="1427319" y="759426"/>
                </a:moveTo>
                <a:lnTo>
                  <a:pt x="3903" y="759426"/>
                </a:lnTo>
                <a:cubicBezTo>
                  <a:pt x="2284" y="750758"/>
                  <a:pt x="1141" y="742091"/>
                  <a:pt x="665" y="733423"/>
                </a:cubicBezTo>
                <a:cubicBezTo>
                  <a:pt x="-4384" y="664938"/>
                  <a:pt x="19333" y="594643"/>
                  <a:pt x="71721" y="542256"/>
                </a:cubicBezTo>
                <a:lnTo>
                  <a:pt x="542351" y="71721"/>
                </a:lnTo>
                <a:cubicBezTo>
                  <a:pt x="594739" y="19333"/>
                  <a:pt x="664938" y="-4384"/>
                  <a:pt x="733423" y="665"/>
                </a:cubicBezTo>
                <a:cubicBezTo>
                  <a:pt x="790097" y="4665"/>
                  <a:pt x="845627" y="28382"/>
                  <a:pt x="888966" y="71721"/>
                </a:cubicBezTo>
                <a:lnTo>
                  <a:pt x="1359501" y="542256"/>
                </a:lnTo>
                <a:cubicBezTo>
                  <a:pt x="1418556" y="601311"/>
                  <a:pt x="1441225" y="683035"/>
                  <a:pt x="1427319" y="759426"/>
                </a:cubicBezTo>
                <a:close/>
              </a:path>
            </a:pathLst>
          </a:custGeom>
          <a:gradFill>
            <a:gsLst>
              <a:gs pos="0">
                <a:schemeClr val="bg2"/>
              </a:gs>
              <a:gs pos="100000">
                <a:schemeClr val="tx2"/>
              </a:gs>
            </a:gsLst>
            <a:lin ang="5400000" scaled="1"/>
          </a:gradFill>
          <a:ln w="381" cap="flat">
            <a:noFill/>
            <a:prstDash val="solid"/>
            <a:miter/>
          </a:ln>
        </p:spPr>
        <p:txBody>
          <a:bodyPr rtlCol="0" anchor="ctr"/>
          <a:lstStyle/>
          <a:p>
            <a:endParaRPr lang="en-IN"/>
          </a:p>
        </p:txBody>
      </p:sp>
      <p:sp>
        <p:nvSpPr>
          <p:cNvPr id="40" name="Freeform: Shape 39">
            <a:extLst>
              <a:ext uri="{FF2B5EF4-FFF2-40B4-BE49-F238E27FC236}">
                <a16:creationId xmlns:a16="http://schemas.microsoft.com/office/drawing/2014/main" id="{4E54C0A5-C467-BB7C-45B9-5578723A3A1A}"/>
              </a:ext>
            </a:extLst>
          </p:cNvPr>
          <p:cNvSpPr/>
          <p:nvPr userDrawn="1"/>
        </p:nvSpPr>
        <p:spPr>
          <a:xfrm rot="18900000">
            <a:off x="7258675" y="2755790"/>
            <a:ext cx="911848" cy="911848"/>
          </a:xfrm>
          <a:custGeom>
            <a:avLst/>
            <a:gdLst>
              <a:gd name="connsiteX0" fmla="*/ 134207 w 632841"/>
              <a:gd name="connsiteY0" fmla="*/ 0 h 632841"/>
              <a:gd name="connsiteX1" fmla="*/ 498634 w 632841"/>
              <a:gd name="connsiteY1" fmla="*/ 0 h 632841"/>
              <a:gd name="connsiteX2" fmla="*/ 632841 w 632841"/>
              <a:gd name="connsiteY2" fmla="*/ 134207 h 632841"/>
              <a:gd name="connsiteX3" fmla="*/ 632841 w 632841"/>
              <a:gd name="connsiteY3" fmla="*/ 498634 h 632841"/>
              <a:gd name="connsiteX4" fmla="*/ 498634 w 632841"/>
              <a:gd name="connsiteY4" fmla="*/ 632841 h 632841"/>
              <a:gd name="connsiteX5" fmla="*/ 134207 w 632841"/>
              <a:gd name="connsiteY5" fmla="*/ 632841 h 632841"/>
              <a:gd name="connsiteX6" fmla="*/ 0 w 632841"/>
              <a:gd name="connsiteY6" fmla="*/ 498634 h 632841"/>
              <a:gd name="connsiteX7" fmla="*/ 0 w 632841"/>
              <a:gd name="connsiteY7" fmla="*/ 134207 h 632841"/>
              <a:gd name="connsiteX8" fmla="*/ 134207 w 632841"/>
              <a:gd name="connsiteY8" fmla="*/ 0 h 63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2841" h="632841">
                <a:moveTo>
                  <a:pt x="134207" y="0"/>
                </a:moveTo>
                <a:lnTo>
                  <a:pt x="498634" y="0"/>
                </a:lnTo>
                <a:cubicBezTo>
                  <a:pt x="572739" y="0"/>
                  <a:pt x="632841" y="60103"/>
                  <a:pt x="632841" y="134207"/>
                </a:cubicBezTo>
                <a:lnTo>
                  <a:pt x="632841" y="498634"/>
                </a:lnTo>
                <a:cubicBezTo>
                  <a:pt x="632841" y="572738"/>
                  <a:pt x="572739" y="632841"/>
                  <a:pt x="498634" y="632841"/>
                </a:cubicBezTo>
                <a:lnTo>
                  <a:pt x="134207" y="632841"/>
                </a:lnTo>
                <a:cubicBezTo>
                  <a:pt x="60103" y="632841"/>
                  <a:pt x="0" y="572738"/>
                  <a:pt x="0" y="498634"/>
                </a:cubicBezTo>
                <a:lnTo>
                  <a:pt x="0" y="134207"/>
                </a:lnTo>
                <a:cubicBezTo>
                  <a:pt x="0" y="60103"/>
                  <a:pt x="60103" y="0"/>
                  <a:pt x="134207" y="0"/>
                </a:cubicBezTo>
                <a:close/>
              </a:path>
            </a:pathLst>
          </a:custGeom>
          <a:gradFill>
            <a:gsLst>
              <a:gs pos="100000">
                <a:schemeClr val="bg2"/>
              </a:gs>
              <a:gs pos="0">
                <a:schemeClr val="bg2">
                  <a:alpha val="5000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48" name="Text Box 3" descr="This is a copyright notice that should be included on the final slide.">
            <a:extLst>
              <a:ext uri="{FF2B5EF4-FFF2-40B4-BE49-F238E27FC236}">
                <a16:creationId xmlns:a16="http://schemas.microsoft.com/office/drawing/2014/main" id="{4FE2DEFD-B84C-D79E-A041-B106CAD074B7}"/>
              </a:ext>
            </a:extLst>
          </p:cNvPr>
          <p:cNvSpPr txBox="1">
            <a:spLocks noChangeArrowheads="1"/>
          </p:cNvSpPr>
          <p:nvPr userDrawn="1"/>
        </p:nvSpPr>
        <p:spPr bwMode="blackWhite">
          <a:xfrm>
            <a:off x="604894" y="6462131"/>
            <a:ext cx="567684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26324371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ank you 3">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EA4DF7DC-ACCC-3116-897F-C427604F3BDD}"/>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6F6CCBF4-272C-F4DA-7D11-C8FDE34873D4}"/>
              </a:ext>
            </a:extLst>
          </p:cNvPr>
          <p:cNvSpPr/>
          <p:nvPr userDrawn="1"/>
        </p:nvSpPr>
        <p:spPr bwMode="auto">
          <a:xfrm>
            <a:off x="6324600" y="209550"/>
            <a:ext cx="2247900" cy="552450"/>
          </a:xfrm>
          <a:custGeom>
            <a:avLst/>
            <a:gdLst>
              <a:gd name="connsiteX0" fmla="*/ 0 w 2247900"/>
              <a:gd name="connsiteY0" fmla="*/ 552450 h 552450"/>
              <a:gd name="connsiteX1" fmla="*/ 1695450 w 2247900"/>
              <a:gd name="connsiteY1" fmla="*/ 552450 h 552450"/>
              <a:gd name="connsiteX2" fmla="*/ 2247900 w 2247900"/>
              <a:gd name="connsiteY2" fmla="*/ 0 h 552450"/>
            </a:gdLst>
            <a:ahLst/>
            <a:cxnLst>
              <a:cxn ang="0">
                <a:pos x="connsiteX0" y="connsiteY0"/>
              </a:cxn>
              <a:cxn ang="0">
                <a:pos x="connsiteX1" y="connsiteY1"/>
              </a:cxn>
              <a:cxn ang="0">
                <a:pos x="connsiteX2" y="connsiteY2"/>
              </a:cxn>
            </a:cxnLst>
            <a:rect l="l" t="t" r="r" b="b"/>
            <a:pathLst>
              <a:path w="2247900" h="552450">
                <a:moveTo>
                  <a:pt x="0" y="552450"/>
                </a:moveTo>
                <a:lnTo>
                  <a:pt x="1695450" y="552450"/>
                </a:lnTo>
                <a:lnTo>
                  <a:pt x="2247900"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30" name="Oval 29">
            <a:extLst>
              <a:ext uri="{FF2B5EF4-FFF2-40B4-BE49-F238E27FC236}">
                <a16:creationId xmlns:a16="http://schemas.microsoft.com/office/drawing/2014/main" id="{EA75A26C-5730-D692-9E3F-5137CB67B89E}"/>
              </a:ext>
            </a:extLst>
          </p:cNvPr>
          <p:cNvSpPr/>
          <p:nvPr userDrawn="1"/>
        </p:nvSpPr>
        <p:spPr bwMode="auto">
          <a:xfrm>
            <a:off x="6288969" y="655626"/>
            <a:ext cx="221812" cy="221812"/>
          </a:xfrm>
          <a:prstGeom prst="ellipse">
            <a:avLst/>
          </a:prstGeom>
          <a:solidFill>
            <a:schemeClr val="bg2">
              <a:lumMod val="50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err="1"/>
          </a:p>
        </p:txBody>
      </p:sp>
      <p:sp>
        <p:nvSpPr>
          <p:cNvPr id="31" name="Freeform: Shape 30">
            <a:extLst>
              <a:ext uri="{FF2B5EF4-FFF2-40B4-BE49-F238E27FC236}">
                <a16:creationId xmlns:a16="http://schemas.microsoft.com/office/drawing/2014/main" id="{FA6311BE-46D2-AC07-4055-6A3CC8FF565A}"/>
              </a:ext>
            </a:extLst>
          </p:cNvPr>
          <p:cNvSpPr/>
          <p:nvPr userDrawn="1"/>
        </p:nvSpPr>
        <p:spPr bwMode="auto">
          <a:xfrm flipV="1">
            <a:off x="0" y="0"/>
            <a:ext cx="6521042" cy="1475908"/>
          </a:xfrm>
          <a:custGeom>
            <a:avLst/>
            <a:gdLst>
              <a:gd name="connsiteX0" fmla="*/ 0 w 6521042"/>
              <a:gd name="connsiteY0" fmla="*/ 1475908 h 1475908"/>
              <a:gd name="connsiteX1" fmla="*/ 6521042 w 6521042"/>
              <a:gd name="connsiteY1" fmla="*/ 1475908 h 1475908"/>
              <a:gd name="connsiteX2" fmla="*/ 6511585 w 6521042"/>
              <a:gd name="connsiteY2" fmla="*/ 1456276 h 1475908"/>
              <a:gd name="connsiteX3" fmla="*/ 4064782 w 6521042"/>
              <a:gd name="connsiteY3" fmla="*/ 0 h 1475908"/>
              <a:gd name="connsiteX4" fmla="*/ 0 w 6521042"/>
              <a:gd name="connsiteY4" fmla="*/ 0 h 1475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1042" h="1475908">
                <a:moveTo>
                  <a:pt x="0" y="1475908"/>
                </a:moveTo>
                <a:lnTo>
                  <a:pt x="6521042" y="1475908"/>
                </a:lnTo>
                <a:lnTo>
                  <a:pt x="6511585" y="1456276"/>
                </a:lnTo>
                <a:cubicBezTo>
                  <a:pt x="6040372" y="588853"/>
                  <a:pt x="5121343" y="0"/>
                  <a:pt x="4064782" y="0"/>
                </a:cubicBezTo>
                <a:lnTo>
                  <a:pt x="0" y="0"/>
                </a:lnTo>
                <a:close/>
              </a:path>
            </a:pathLst>
          </a:custGeom>
          <a:gradFill flip="none" rotWithShape="1">
            <a:gsLst>
              <a:gs pos="0">
                <a:schemeClr val="bg2">
                  <a:lumMod val="60000"/>
                  <a:lumOff val="40000"/>
                </a:schemeClr>
              </a:gs>
              <a:gs pos="39000">
                <a:schemeClr val="bg2"/>
              </a:gs>
              <a:gs pos="100000">
                <a:schemeClr val="bg2">
                  <a:lumMod val="50000"/>
                </a:schemeClr>
              </a:gs>
            </a:gsLst>
            <a:lin ang="10800000" scaled="1"/>
            <a:tileRect/>
          </a:gradFill>
          <a:ln w="14405" cap="flat">
            <a:noFill/>
            <a:prstDash val="solid"/>
            <a:miter/>
          </a:ln>
          <a:effectLst>
            <a:outerShdw blurRad="4826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err="1">
              <a:solidFill>
                <a:schemeClr val="tx1"/>
              </a:solidFill>
            </a:endParaRPr>
          </a:p>
        </p:txBody>
      </p:sp>
      <p:grpSp>
        <p:nvGrpSpPr>
          <p:cNvPr id="34" name="Group 33">
            <a:extLst>
              <a:ext uri="{FF2B5EF4-FFF2-40B4-BE49-F238E27FC236}">
                <a16:creationId xmlns:a16="http://schemas.microsoft.com/office/drawing/2014/main" id="{FAF6E093-C5EF-E3F1-8557-22E62F123AE8}"/>
              </a:ext>
            </a:extLst>
          </p:cNvPr>
          <p:cNvGrpSpPr/>
          <p:nvPr userDrawn="1"/>
        </p:nvGrpSpPr>
        <p:grpSpPr>
          <a:xfrm>
            <a:off x="604894" y="597820"/>
            <a:ext cx="3084456" cy="292608"/>
            <a:chOff x="604894" y="597820"/>
            <a:chExt cx="3084456" cy="292608"/>
          </a:xfrm>
        </p:grpSpPr>
        <p:pic>
          <p:nvPicPr>
            <p:cNvPr id="37" name="Graphic 36" descr="Microsoft Power Platform logo">
              <a:extLst>
                <a:ext uri="{FF2B5EF4-FFF2-40B4-BE49-F238E27FC236}">
                  <a16:creationId xmlns:a16="http://schemas.microsoft.com/office/drawing/2014/main" id="{95DDB86A-D5D3-DE8B-3006-A045FA549DC2}"/>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8" name="Graphic 37" descr="Microsoft Power Platform logo">
              <a:extLst>
                <a:ext uri="{FF2B5EF4-FFF2-40B4-BE49-F238E27FC236}">
                  <a16:creationId xmlns:a16="http://schemas.microsoft.com/office/drawing/2014/main" id="{CD2CA922-B57D-BB0D-F888-A74C43159126}"/>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64" name="Freeform: Shape 63">
            <a:extLst>
              <a:ext uri="{FF2B5EF4-FFF2-40B4-BE49-F238E27FC236}">
                <a16:creationId xmlns:a16="http://schemas.microsoft.com/office/drawing/2014/main" id="{182B72D1-17E8-B612-B642-A2BFB1D3E3B0}"/>
              </a:ext>
            </a:extLst>
          </p:cNvPr>
          <p:cNvSpPr/>
          <p:nvPr userDrawn="1"/>
        </p:nvSpPr>
        <p:spPr bwMode="auto">
          <a:xfrm>
            <a:off x="3315790" y="0"/>
            <a:ext cx="8795748" cy="6864864"/>
          </a:xfrm>
          <a:custGeom>
            <a:avLst/>
            <a:gdLst>
              <a:gd name="connsiteX0" fmla="*/ 6296933 w 8795748"/>
              <a:gd name="connsiteY0" fmla="*/ 0 h 6864864"/>
              <a:gd name="connsiteX1" fmla="*/ 8795748 w 8795748"/>
              <a:gd name="connsiteY1" fmla="*/ 0 h 6864864"/>
              <a:gd name="connsiteX2" fmla="*/ 8795748 w 8795748"/>
              <a:gd name="connsiteY2" fmla="*/ 6864864 h 6864864"/>
              <a:gd name="connsiteX3" fmla="*/ 0 w 8795748"/>
              <a:gd name="connsiteY3" fmla="*/ 6864864 h 6864864"/>
              <a:gd name="connsiteX4" fmla="*/ 6296933 w 8795748"/>
              <a:gd name="connsiteY4" fmla="*/ 0 h 6864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5748" h="6864864">
                <a:moveTo>
                  <a:pt x="6296933" y="0"/>
                </a:moveTo>
                <a:lnTo>
                  <a:pt x="8795748" y="0"/>
                </a:lnTo>
                <a:lnTo>
                  <a:pt x="8795748" y="6864864"/>
                </a:lnTo>
                <a:lnTo>
                  <a:pt x="0" y="6864864"/>
                </a:lnTo>
                <a:lnTo>
                  <a:pt x="6296933" y="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40" name="Freeform: Shape 39">
            <a:extLst>
              <a:ext uri="{FF2B5EF4-FFF2-40B4-BE49-F238E27FC236}">
                <a16:creationId xmlns:a16="http://schemas.microsoft.com/office/drawing/2014/main" id="{DA9F41BB-F7E8-0672-0EC7-D6FFDDD44857}"/>
              </a:ext>
            </a:extLst>
          </p:cNvPr>
          <p:cNvSpPr/>
          <p:nvPr userDrawn="1"/>
        </p:nvSpPr>
        <p:spPr bwMode="auto">
          <a:xfrm>
            <a:off x="7879579"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1" name="Freeform: Shape 40">
            <a:extLst>
              <a:ext uri="{FF2B5EF4-FFF2-40B4-BE49-F238E27FC236}">
                <a16:creationId xmlns:a16="http://schemas.microsoft.com/office/drawing/2014/main" id="{CE28C725-1034-E372-9FAB-BAEC5BE11AB9}"/>
              </a:ext>
            </a:extLst>
          </p:cNvPr>
          <p:cNvSpPr/>
          <p:nvPr userDrawn="1"/>
        </p:nvSpPr>
        <p:spPr bwMode="auto">
          <a:xfrm>
            <a:off x="7629812"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2" name="Freeform: Shape 41">
            <a:extLst>
              <a:ext uri="{FF2B5EF4-FFF2-40B4-BE49-F238E27FC236}">
                <a16:creationId xmlns:a16="http://schemas.microsoft.com/office/drawing/2014/main" id="{8C93B40D-32C7-0044-16D4-C6F2F43C228A}"/>
              </a:ext>
            </a:extLst>
          </p:cNvPr>
          <p:cNvSpPr/>
          <p:nvPr userDrawn="1"/>
        </p:nvSpPr>
        <p:spPr bwMode="auto">
          <a:xfrm>
            <a:off x="7380045"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3" name="Freeform: Shape 42">
            <a:extLst>
              <a:ext uri="{FF2B5EF4-FFF2-40B4-BE49-F238E27FC236}">
                <a16:creationId xmlns:a16="http://schemas.microsoft.com/office/drawing/2014/main" id="{2B6E2C7A-E5D8-2E26-E735-877FA5E1B122}"/>
              </a:ext>
            </a:extLst>
          </p:cNvPr>
          <p:cNvSpPr/>
          <p:nvPr userDrawn="1"/>
        </p:nvSpPr>
        <p:spPr bwMode="auto">
          <a:xfrm>
            <a:off x="7130278"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4" name="Freeform: Shape 43">
            <a:extLst>
              <a:ext uri="{FF2B5EF4-FFF2-40B4-BE49-F238E27FC236}">
                <a16:creationId xmlns:a16="http://schemas.microsoft.com/office/drawing/2014/main" id="{7EE747CE-B6AB-C6A3-0B90-346B4FE846A3}"/>
              </a:ext>
            </a:extLst>
          </p:cNvPr>
          <p:cNvSpPr/>
          <p:nvPr userDrawn="1"/>
        </p:nvSpPr>
        <p:spPr bwMode="auto">
          <a:xfrm>
            <a:off x="6880511"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5" name="Freeform: Shape 44">
            <a:extLst>
              <a:ext uri="{FF2B5EF4-FFF2-40B4-BE49-F238E27FC236}">
                <a16:creationId xmlns:a16="http://schemas.microsoft.com/office/drawing/2014/main" id="{60336D2A-909B-BFD2-9715-0CF15A8672C3}"/>
              </a:ext>
            </a:extLst>
          </p:cNvPr>
          <p:cNvSpPr/>
          <p:nvPr userDrawn="1"/>
        </p:nvSpPr>
        <p:spPr bwMode="auto">
          <a:xfrm>
            <a:off x="6630744"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6" name="Freeform: Shape 45">
            <a:extLst>
              <a:ext uri="{FF2B5EF4-FFF2-40B4-BE49-F238E27FC236}">
                <a16:creationId xmlns:a16="http://schemas.microsoft.com/office/drawing/2014/main" id="{23F5B6F2-7FC6-4C5A-89D5-78F74B317BD5}"/>
              </a:ext>
            </a:extLst>
          </p:cNvPr>
          <p:cNvSpPr/>
          <p:nvPr userDrawn="1"/>
        </p:nvSpPr>
        <p:spPr>
          <a:xfrm rot="16200000" flipV="1">
            <a:off x="9711359" y="208185"/>
            <a:ext cx="2688826" cy="2272456"/>
          </a:xfrm>
          <a:custGeom>
            <a:avLst/>
            <a:gdLst>
              <a:gd name="connsiteX0" fmla="*/ 2688827 w 2688826"/>
              <a:gd name="connsiteY0" fmla="*/ 0 h 2272456"/>
              <a:gd name="connsiteX1" fmla="*/ 2673720 w 2688826"/>
              <a:gd name="connsiteY1" fmla="*/ 15223 h 2272456"/>
              <a:gd name="connsiteX2" fmla="*/ 1821102 w 2688826"/>
              <a:gd name="connsiteY2" fmla="*/ 874244 h 2272456"/>
              <a:gd name="connsiteX3" fmla="*/ 638405 w 2688826"/>
              <a:gd name="connsiteY3" fmla="*/ 2066188 h 2272456"/>
              <a:gd name="connsiteX4" fmla="*/ 637197 w 2688826"/>
              <a:gd name="connsiteY4" fmla="*/ 2067405 h 2272456"/>
              <a:gd name="connsiteX5" fmla="*/ 627529 w 2688826"/>
              <a:gd name="connsiteY5" fmla="*/ 2076996 h 2272456"/>
              <a:gd name="connsiteX6" fmla="*/ 523595 w 2688826"/>
              <a:gd name="connsiteY6" fmla="*/ 2181729 h 2272456"/>
              <a:gd name="connsiteX7" fmla="*/ 510301 w 2688826"/>
              <a:gd name="connsiteY7" fmla="*/ 2194211 h 2272456"/>
              <a:gd name="connsiteX8" fmla="*/ 509999 w 2688826"/>
              <a:gd name="connsiteY8" fmla="*/ 2194364 h 2272456"/>
              <a:gd name="connsiteX9" fmla="*/ 498367 w 2688826"/>
              <a:gd name="connsiteY9" fmla="*/ 2204563 h 2272456"/>
              <a:gd name="connsiteX10" fmla="*/ 454558 w 2688826"/>
              <a:gd name="connsiteY10" fmla="*/ 2234095 h 2272456"/>
              <a:gd name="connsiteX11" fmla="*/ 445795 w 2688826"/>
              <a:gd name="connsiteY11" fmla="*/ 2238814 h 2272456"/>
              <a:gd name="connsiteX12" fmla="*/ 415582 w 2688826"/>
              <a:gd name="connsiteY12" fmla="*/ 2252362 h 2272456"/>
              <a:gd name="connsiteX13" fmla="*/ 406821 w 2688826"/>
              <a:gd name="connsiteY13" fmla="*/ 2255559 h 2272456"/>
              <a:gd name="connsiteX14" fmla="*/ 391412 w 2688826"/>
              <a:gd name="connsiteY14" fmla="*/ 2260430 h 2272456"/>
              <a:gd name="connsiteX15" fmla="*/ 381291 w 2688826"/>
              <a:gd name="connsiteY15" fmla="*/ 2263170 h 2272456"/>
              <a:gd name="connsiteX16" fmla="*/ 352135 w 2688826"/>
              <a:gd name="connsiteY16" fmla="*/ 2269107 h 2272456"/>
              <a:gd name="connsiteX17" fmla="*/ 340654 w 2688826"/>
              <a:gd name="connsiteY17" fmla="*/ 2270478 h 2272456"/>
              <a:gd name="connsiteX18" fmla="*/ 326454 w 2688826"/>
              <a:gd name="connsiteY18" fmla="*/ 2271848 h 2272456"/>
              <a:gd name="connsiteX19" fmla="*/ 307722 w 2688826"/>
              <a:gd name="connsiteY19" fmla="*/ 2272456 h 2272456"/>
              <a:gd name="connsiteX20" fmla="*/ 302585 w 2688826"/>
              <a:gd name="connsiteY20" fmla="*/ 2272304 h 2272456"/>
              <a:gd name="connsiteX21" fmla="*/ 301075 w 2688826"/>
              <a:gd name="connsiteY21" fmla="*/ 2272304 h 2272456"/>
              <a:gd name="connsiteX22" fmla="*/ 296543 w 2688826"/>
              <a:gd name="connsiteY22" fmla="*/ 2272304 h 2272456"/>
              <a:gd name="connsiteX23" fmla="*/ 290651 w 2688826"/>
              <a:gd name="connsiteY23" fmla="*/ 2272000 h 2272456"/>
              <a:gd name="connsiteX24" fmla="*/ 274638 w 2688826"/>
              <a:gd name="connsiteY24" fmla="*/ 2270782 h 2272456"/>
              <a:gd name="connsiteX25" fmla="*/ 269502 w 2688826"/>
              <a:gd name="connsiteY25" fmla="*/ 2270173 h 2272456"/>
              <a:gd name="connsiteX26" fmla="*/ 264366 w 2688826"/>
              <a:gd name="connsiteY26" fmla="*/ 2269412 h 2272456"/>
              <a:gd name="connsiteX27" fmla="*/ 263459 w 2688826"/>
              <a:gd name="connsiteY27" fmla="*/ 2269412 h 2272456"/>
              <a:gd name="connsiteX28" fmla="*/ 259078 w 2688826"/>
              <a:gd name="connsiteY28" fmla="*/ 2268651 h 2272456"/>
              <a:gd name="connsiteX29" fmla="*/ 249259 w 2688826"/>
              <a:gd name="connsiteY29" fmla="*/ 2266976 h 2272456"/>
              <a:gd name="connsiteX30" fmla="*/ 238836 w 2688826"/>
              <a:gd name="connsiteY30" fmla="*/ 2264693 h 2272456"/>
              <a:gd name="connsiteX31" fmla="*/ 230073 w 2688826"/>
              <a:gd name="connsiteY31" fmla="*/ 2262714 h 2272456"/>
              <a:gd name="connsiteX32" fmla="*/ 228865 w 2688826"/>
              <a:gd name="connsiteY32" fmla="*/ 2262257 h 2272456"/>
              <a:gd name="connsiteX33" fmla="*/ 220859 w 2688826"/>
              <a:gd name="connsiteY33" fmla="*/ 2260126 h 2272456"/>
              <a:gd name="connsiteX34" fmla="*/ 194724 w 2688826"/>
              <a:gd name="connsiteY34" fmla="*/ 2251145 h 2272456"/>
              <a:gd name="connsiteX35" fmla="*/ 186113 w 2688826"/>
              <a:gd name="connsiteY35" fmla="*/ 2247491 h 2272456"/>
              <a:gd name="connsiteX36" fmla="*/ 172215 w 2688826"/>
              <a:gd name="connsiteY36" fmla="*/ 2241098 h 2272456"/>
              <a:gd name="connsiteX37" fmla="*/ 148497 w 2688826"/>
              <a:gd name="connsiteY37" fmla="*/ 2228158 h 2272456"/>
              <a:gd name="connsiteX38" fmla="*/ 141850 w 2688826"/>
              <a:gd name="connsiteY38" fmla="*/ 2224048 h 2272456"/>
              <a:gd name="connsiteX39" fmla="*/ 134751 w 2688826"/>
              <a:gd name="connsiteY39" fmla="*/ 2219329 h 2272456"/>
              <a:gd name="connsiteX40" fmla="*/ 131277 w 2688826"/>
              <a:gd name="connsiteY40" fmla="*/ 2216893 h 2272456"/>
              <a:gd name="connsiteX41" fmla="*/ 127953 w 2688826"/>
              <a:gd name="connsiteY41" fmla="*/ 2214458 h 2272456"/>
              <a:gd name="connsiteX42" fmla="*/ 124478 w 2688826"/>
              <a:gd name="connsiteY42" fmla="*/ 2211870 h 2272456"/>
              <a:gd name="connsiteX43" fmla="*/ 114659 w 2688826"/>
              <a:gd name="connsiteY43" fmla="*/ 2204411 h 2272456"/>
              <a:gd name="connsiteX44" fmla="*/ 108918 w 2688826"/>
              <a:gd name="connsiteY44" fmla="*/ 2199539 h 2272456"/>
              <a:gd name="connsiteX45" fmla="*/ 105444 w 2688826"/>
              <a:gd name="connsiteY45" fmla="*/ 2196495 h 2272456"/>
              <a:gd name="connsiteX46" fmla="*/ 101970 w 2688826"/>
              <a:gd name="connsiteY46" fmla="*/ 2193450 h 2272456"/>
              <a:gd name="connsiteX47" fmla="*/ 98948 w 2688826"/>
              <a:gd name="connsiteY47" fmla="*/ 2190558 h 2272456"/>
              <a:gd name="connsiteX48" fmla="*/ 96078 w 2688826"/>
              <a:gd name="connsiteY48" fmla="*/ 2187970 h 2272456"/>
              <a:gd name="connsiteX49" fmla="*/ 93056 w 2688826"/>
              <a:gd name="connsiteY49" fmla="*/ 2185078 h 2272456"/>
              <a:gd name="connsiteX50" fmla="*/ 89582 w 2688826"/>
              <a:gd name="connsiteY50" fmla="*/ 2181729 h 2272456"/>
              <a:gd name="connsiteX51" fmla="*/ 84294 w 2688826"/>
              <a:gd name="connsiteY51" fmla="*/ 2176096 h 2272456"/>
              <a:gd name="connsiteX52" fmla="*/ 73116 w 2688826"/>
              <a:gd name="connsiteY52" fmla="*/ 2163766 h 2272456"/>
              <a:gd name="connsiteX53" fmla="*/ 72209 w 2688826"/>
              <a:gd name="connsiteY53" fmla="*/ 2162548 h 2272456"/>
              <a:gd name="connsiteX54" fmla="*/ 62692 w 2688826"/>
              <a:gd name="connsiteY54" fmla="*/ 2150827 h 2272456"/>
              <a:gd name="connsiteX55" fmla="*/ 57706 w 2688826"/>
              <a:gd name="connsiteY55" fmla="*/ 2144281 h 2272456"/>
              <a:gd name="connsiteX56" fmla="*/ 55441 w 2688826"/>
              <a:gd name="connsiteY56" fmla="*/ 2140932 h 2272456"/>
              <a:gd name="connsiteX57" fmla="*/ 55290 w 2688826"/>
              <a:gd name="connsiteY57" fmla="*/ 2140627 h 2272456"/>
              <a:gd name="connsiteX58" fmla="*/ 54837 w 2688826"/>
              <a:gd name="connsiteY58" fmla="*/ 2140018 h 2272456"/>
              <a:gd name="connsiteX59" fmla="*/ 54686 w 2688826"/>
              <a:gd name="connsiteY59" fmla="*/ 2140018 h 2272456"/>
              <a:gd name="connsiteX60" fmla="*/ 52873 w 2688826"/>
              <a:gd name="connsiteY60" fmla="*/ 2137126 h 2272456"/>
              <a:gd name="connsiteX61" fmla="*/ 52722 w 2688826"/>
              <a:gd name="connsiteY61" fmla="*/ 2137126 h 2272456"/>
              <a:gd name="connsiteX62" fmla="*/ 50456 w 2688826"/>
              <a:gd name="connsiteY62" fmla="*/ 2133625 h 2272456"/>
              <a:gd name="connsiteX63" fmla="*/ 42298 w 2688826"/>
              <a:gd name="connsiteY63" fmla="*/ 2120533 h 2272456"/>
              <a:gd name="connsiteX64" fmla="*/ 42298 w 2688826"/>
              <a:gd name="connsiteY64" fmla="*/ 2120533 h 2272456"/>
              <a:gd name="connsiteX65" fmla="*/ 39730 w 2688826"/>
              <a:gd name="connsiteY65" fmla="*/ 2115662 h 2272456"/>
              <a:gd name="connsiteX66" fmla="*/ 28098 w 2688826"/>
              <a:gd name="connsiteY66" fmla="*/ 2093132 h 2272456"/>
              <a:gd name="connsiteX67" fmla="*/ 28098 w 2688826"/>
              <a:gd name="connsiteY67" fmla="*/ 2093132 h 2272456"/>
              <a:gd name="connsiteX68" fmla="*/ 24019 w 2688826"/>
              <a:gd name="connsiteY68" fmla="*/ 2083542 h 2272456"/>
              <a:gd name="connsiteX69" fmla="*/ 22660 w 2688826"/>
              <a:gd name="connsiteY69" fmla="*/ 2080345 h 2272456"/>
              <a:gd name="connsiteX70" fmla="*/ 17674 w 2688826"/>
              <a:gd name="connsiteY70" fmla="*/ 2067101 h 2272456"/>
              <a:gd name="connsiteX71" fmla="*/ 11934 w 2688826"/>
              <a:gd name="connsiteY71" fmla="*/ 2049443 h 2272456"/>
              <a:gd name="connsiteX72" fmla="*/ 10725 w 2688826"/>
              <a:gd name="connsiteY72" fmla="*/ 2044571 h 2272456"/>
              <a:gd name="connsiteX73" fmla="*/ 9517 w 2688826"/>
              <a:gd name="connsiteY73" fmla="*/ 2039700 h 2272456"/>
              <a:gd name="connsiteX74" fmla="*/ 7704 w 2688826"/>
              <a:gd name="connsiteY74" fmla="*/ 2031937 h 2272456"/>
              <a:gd name="connsiteX75" fmla="*/ 7402 w 2688826"/>
              <a:gd name="connsiteY75" fmla="*/ 2030566 h 2272456"/>
              <a:gd name="connsiteX76" fmla="*/ 4532 w 2688826"/>
              <a:gd name="connsiteY76" fmla="*/ 2015953 h 2272456"/>
              <a:gd name="connsiteX77" fmla="*/ 4532 w 2688826"/>
              <a:gd name="connsiteY77" fmla="*/ 2015953 h 2272456"/>
              <a:gd name="connsiteX78" fmla="*/ 3625 w 2688826"/>
              <a:gd name="connsiteY78" fmla="*/ 2010777 h 2272456"/>
              <a:gd name="connsiteX79" fmla="*/ 1057 w 2688826"/>
              <a:gd name="connsiteY79" fmla="*/ 1989617 h 2272456"/>
              <a:gd name="connsiteX80" fmla="*/ 0 w 2688826"/>
              <a:gd name="connsiteY80" fmla="*/ 1963586 h 2272456"/>
              <a:gd name="connsiteX81" fmla="*/ 89582 w 2688826"/>
              <a:gd name="connsiteY81" fmla="*/ 1744835 h 2272456"/>
              <a:gd name="connsiteX82" fmla="*/ 1806297 w 2688826"/>
              <a:gd name="connsiteY82" fmla="*/ 15223 h 2272456"/>
              <a:gd name="connsiteX83" fmla="*/ 1806751 w 2688826"/>
              <a:gd name="connsiteY83" fmla="*/ 14766 h 2272456"/>
              <a:gd name="connsiteX84" fmla="*/ 1821404 w 2688826"/>
              <a:gd name="connsiteY84" fmla="*/ 0 h 2272456"/>
              <a:gd name="connsiteX85" fmla="*/ 2688827 w 2688826"/>
              <a:gd name="connsiteY85" fmla="*/ 0 h 227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2688826" h="2272456">
                <a:moveTo>
                  <a:pt x="2688827" y="0"/>
                </a:moveTo>
                <a:lnTo>
                  <a:pt x="2673720" y="15223"/>
                </a:lnTo>
                <a:lnTo>
                  <a:pt x="1821102" y="874244"/>
                </a:lnTo>
                <a:lnTo>
                  <a:pt x="638405" y="2066188"/>
                </a:lnTo>
                <a:lnTo>
                  <a:pt x="637197" y="2067405"/>
                </a:lnTo>
                <a:lnTo>
                  <a:pt x="627529" y="2076996"/>
                </a:lnTo>
                <a:lnTo>
                  <a:pt x="523595" y="2181729"/>
                </a:lnTo>
                <a:cubicBezTo>
                  <a:pt x="519214" y="2186143"/>
                  <a:pt x="514833" y="2190253"/>
                  <a:pt x="510301" y="2194211"/>
                </a:cubicBezTo>
                <a:cubicBezTo>
                  <a:pt x="510301" y="2194211"/>
                  <a:pt x="510195" y="2194257"/>
                  <a:pt x="509999" y="2194364"/>
                </a:cubicBezTo>
                <a:cubicBezTo>
                  <a:pt x="506222" y="2198017"/>
                  <a:pt x="502295" y="2201366"/>
                  <a:pt x="498367" y="2204563"/>
                </a:cubicBezTo>
                <a:cubicBezTo>
                  <a:pt x="484468" y="2215828"/>
                  <a:pt x="469815" y="2225723"/>
                  <a:pt x="454558" y="2234095"/>
                </a:cubicBezTo>
                <a:cubicBezTo>
                  <a:pt x="451687" y="2235770"/>
                  <a:pt x="448666" y="2237292"/>
                  <a:pt x="445795" y="2238814"/>
                </a:cubicBezTo>
                <a:cubicBezTo>
                  <a:pt x="435977" y="2243990"/>
                  <a:pt x="425856" y="2248404"/>
                  <a:pt x="415582" y="2252362"/>
                </a:cubicBezTo>
                <a:cubicBezTo>
                  <a:pt x="412712" y="2253428"/>
                  <a:pt x="409843" y="2254494"/>
                  <a:pt x="406821" y="2255559"/>
                </a:cubicBezTo>
                <a:cubicBezTo>
                  <a:pt x="401684" y="2257386"/>
                  <a:pt x="396549" y="2258908"/>
                  <a:pt x="391412" y="2260430"/>
                </a:cubicBezTo>
                <a:cubicBezTo>
                  <a:pt x="388089" y="2261496"/>
                  <a:pt x="384614" y="2262410"/>
                  <a:pt x="381291" y="2263170"/>
                </a:cubicBezTo>
                <a:cubicBezTo>
                  <a:pt x="371622" y="2265606"/>
                  <a:pt x="361954" y="2267585"/>
                  <a:pt x="352135" y="2269107"/>
                </a:cubicBezTo>
                <a:cubicBezTo>
                  <a:pt x="348359" y="2269564"/>
                  <a:pt x="344582" y="2270173"/>
                  <a:pt x="340654" y="2270478"/>
                </a:cubicBezTo>
                <a:cubicBezTo>
                  <a:pt x="335971" y="2271086"/>
                  <a:pt x="331288" y="2271543"/>
                  <a:pt x="326454" y="2271848"/>
                </a:cubicBezTo>
                <a:cubicBezTo>
                  <a:pt x="320260" y="2272152"/>
                  <a:pt x="313915" y="2272456"/>
                  <a:pt x="307722" y="2272456"/>
                </a:cubicBezTo>
                <a:cubicBezTo>
                  <a:pt x="305909" y="2272456"/>
                  <a:pt x="304247" y="2272304"/>
                  <a:pt x="302585" y="2272304"/>
                </a:cubicBezTo>
                <a:cubicBezTo>
                  <a:pt x="302132" y="2272456"/>
                  <a:pt x="301527" y="2272456"/>
                  <a:pt x="301075" y="2272304"/>
                </a:cubicBezTo>
                <a:lnTo>
                  <a:pt x="296543" y="2272304"/>
                </a:lnTo>
                <a:cubicBezTo>
                  <a:pt x="294579" y="2272152"/>
                  <a:pt x="292615" y="2272152"/>
                  <a:pt x="290651" y="2272000"/>
                </a:cubicBezTo>
                <a:cubicBezTo>
                  <a:pt x="285213" y="2271695"/>
                  <a:pt x="279925" y="2271391"/>
                  <a:pt x="274638" y="2270782"/>
                </a:cubicBezTo>
                <a:cubicBezTo>
                  <a:pt x="272976" y="2270782"/>
                  <a:pt x="271163" y="2270325"/>
                  <a:pt x="269502" y="2270173"/>
                </a:cubicBezTo>
                <a:cubicBezTo>
                  <a:pt x="267840" y="2270021"/>
                  <a:pt x="266179" y="2269716"/>
                  <a:pt x="264366" y="2269412"/>
                </a:cubicBezTo>
                <a:lnTo>
                  <a:pt x="263459" y="2269412"/>
                </a:lnTo>
                <a:cubicBezTo>
                  <a:pt x="261948" y="2269107"/>
                  <a:pt x="260589" y="2268955"/>
                  <a:pt x="259078" y="2268651"/>
                </a:cubicBezTo>
                <a:cubicBezTo>
                  <a:pt x="255755" y="2268194"/>
                  <a:pt x="252431" y="2267585"/>
                  <a:pt x="249259" y="2266976"/>
                </a:cubicBezTo>
                <a:cubicBezTo>
                  <a:pt x="245784" y="2266367"/>
                  <a:pt x="242310" y="2265606"/>
                  <a:pt x="238836" y="2264693"/>
                </a:cubicBezTo>
                <a:cubicBezTo>
                  <a:pt x="235814" y="2264084"/>
                  <a:pt x="232944" y="2263475"/>
                  <a:pt x="230073" y="2262714"/>
                </a:cubicBezTo>
                <a:cubicBezTo>
                  <a:pt x="229620" y="2262562"/>
                  <a:pt x="229318" y="2262410"/>
                  <a:pt x="228865" y="2262257"/>
                </a:cubicBezTo>
                <a:cubicBezTo>
                  <a:pt x="226146" y="2261648"/>
                  <a:pt x="223578" y="2260887"/>
                  <a:pt x="220859" y="2260126"/>
                </a:cubicBezTo>
                <a:cubicBezTo>
                  <a:pt x="212097" y="2257538"/>
                  <a:pt x="203334" y="2254494"/>
                  <a:pt x="194724" y="2251145"/>
                </a:cubicBezTo>
                <a:cubicBezTo>
                  <a:pt x="191853" y="2250079"/>
                  <a:pt x="188983" y="2248861"/>
                  <a:pt x="186113" y="2247491"/>
                </a:cubicBezTo>
                <a:cubicBezTo>
                  <a:pt x="181430" y="2245512"/>
                  <a:pt x="176747" y="2243381"/>
                  <a:pt x="172215" y="2241098"/>
                </a:cubicBezTo>
                <a:cubicBezTo>
                  <a:pt x="164058" y="2237292"/>
                  <a:pt x="156202" y="2232877"/>
                  <a:pt x="148497" y="2228158"/>
                </a:cubicBezTo>
                <a:cubicBezTo>
                  <a:pt x="146232" y="2226788"/>
                  <a:pt x="143966" y="2225418"/>
                  <a:pt x="141850" y="2224048"/>
                </a:cubicBezTo>
                <a:cubicBezTo>
                  <a:pt x="139434" y="2222526"/>
                  <a:pt x="137016" y="2221004"/>
                  <a:pt x="134751" y="2219329"/>
                </a:cubicBezTo>
                <a:cubicBezTo>
                  <a:pt x="133542" y="2218568"/>
                  <a:pt x="132333" y="2217655"/>
                  <a:pt x="131277" y="2216893"/>
                </a:cubicBezTo>
                <a:cubicBezTo>
                  <a:pt x="130068" y="2216132"/>
                  <a:pt x="129010" y="2215371"/>
                  <a:pt x="127953" y="2214458"/>
                </a:cubicBezTo>
                <a:cubicBezTo>
                  <a:pt x="126744" y="2213696"/>
                  <a:pt x="125536" y="2212783"/>
                  <a:pt x="124478" y="2211870"/>
                </a:cubicBezTo>
                <a:cubicBezTo>
                  <a:pt x="121154" y="2209586"/>
                  <a:pt x="117831" y="2206999"/>
                  <a:pt x="114659" y="2204411"/>
                </a:cubicBezTo>
                <a:cubicBezTo>
                  <a:pt x="112695" y="2202888"/>
                  <a:pt x="110882" y="2201214"/>
                  <a:pt x="108918" y="2199539"/>
                </a:cubicBezTo>
                <a:cubicBezTo>
                  <a:pt x="107710" y="2198626"/>
                  <a:pt x="106501" y="2197560"/>
                  <a:pt x="105444" y="2196495"/>
                </a:cubicBezTo>
                <a:cubicBezTo>
                  <a:pt x="104235" y="2195582"/>
                  <a:pt x="103026" y="2194516"/>
                  <a:pt x="101970" y="2193450"/>
                </a:cubicBezTo>
                <a:cubicBezTo>
                  <a:pt x="100912" y="2192537"/>
                  <a:pt x="99855" y="2191623"/>
                  <a:pt x="98948" y="2190558"/>
                </a:cubicBezTo>
                <a:cubicBezTo>
                  <a:pt x="97891" y="2189797"/>
                  <a:pt x="96984" y="2188883"/>
                  <a:pt x="96078" y="2187970"/>
                </a:cubicBezTo>
                <a:cubicBezTo>
                  <a:pt x="95020" y="2187057"/>
                  <a:pt x="93963" y="2186143"/>
                  <a:pt x="93056" y="2185078"/>
                </a:cubicBezTo>
                <a:cubicBezTo>
                  <a:pt x="91848" y="2184012"/>
                  <a:pt x="90790" y="2182947"/>
                  <a:pt x="89582" y="2181729"/>
                </a:cubicBezTo>
                <a:cubicBezTo>
                  <a:pt x="87769" y="2179902"/>
                  <a:pt x="85957" y="2178075"/>
                  <a:pt x="84294" y="2176096"/>
                </a:cubicBezTo>
                <a:cubicBezTo>
                  <a:pt x="80366" y="2172138"/>
                  <a:pt x="76590" y="2168028"/>
                  <a:pt x="73116" y="2163766"/>
                </a:cubicBezTo>
                <a:cubicBezTo>
                  <a:pt x="72813" y="2163461"/>
                  <a:pt x="72360" y="2163005"/>
                  <a:pt x="72209" y="2162548"/>
                </a:cubicBezTo>
                <a:cubicBezTo>
                  <a:pt x="68886" y="2158742"/>
                  <a:pt x="65713" y="2154784"/>
                  <a:pt x="62692" y="2150827"/>
                </a:cubicBezTo>
                <a:cubicBezTo>
                  <a:pt x="61030" y="2148695"/>
                  <a:pt x="59369" y="2146412"/>
                  <a:pt x="57706" y="2144281"/>
                </a:cubicBezTo>
                <a:cubicBezTo>
                  <a:pt x="56951" y="2143215"/>
                  <a:pt x="56196" y="2141997"/>
                  <a:pt x="55441" y="2140932"/>
                </a:cubicBezTo>
                <a:cubicBezTo>
                  <a:pt x="55441" y="2140932"/>
                  <a:pt x="55290" y="2140779"/>
                  <a:pt x="55290" y="2140627"/>
                </a:cubicBezTo>
                <a:cubicBezTo>
                  <a:pt x="55139" y="2140475"/>
                  <a:pt x="54987" y="2140323"/>
                  <a:pt x="54837" y="2140018"/>
                </a:cubicBezTo>
                <a:lnTo>
                  <a:pt x="54686" y="2140018"/>
                </a:lnTo>
                <a:cubicBezTo>
                  <a:pt x="54081" y="2138953"/>
                  <a:pt x="53477" y="2138039"/>
                  <a:pt x="52873" y="2137126"/>
                </a:cubicBezTo>
                <a:lnTo>
                  <a:pt x="52722" y="2137126"/>
                </a:lnTo>
                <a:cubicBezTo>
                  <a:pt x="51967" y="2135908"/>
                  <a:pt x="51211" y="2134843"/>
                  <a:pt x="50456" y="2133625"/>
                </a:cubicBezTo>
                <a:cubicBezTo>
                  <a:pt x="47737" y="2129362"/>
                  <a:pt x="45017" y="2124948"/>
                  <a:pt x="42298" y="2120533"/>
                </a:cubicBezTo>
                <a:lnTo>
                  <a:pt x="42298" y="2120533"/>
                </a:lnTo>
                <a:cubicBezTo>
                  <a:pt x="41392" y="2118859"/>
                  <a:pt x="40486" y="2117336"/>
                  <a:pt x="39730" y="2115662"/>
                </a:cubicBezTo>
                <a:cubicBezTo>
                  <a:pt x="35500" y="2108355"/>
                  <a:pt x="31572" y="2100743"/>
                  <a:pt x="28098" y="2093132"/>
                </a:cubicBezTo>
                <a:lnTo>
                  <a:pt x="28098" y="2093132"/>
                </a:lnTo>
                <a:cubicBezTo>
                  <a:pt x="26587" y="2089783"/>
                  <a:pt x="25228" y="2086738"/>
                  <a:pt x="24019" y="2083542"/>
                </a:cubicBezTo>
                <a:cubicBezTo>
                  <a:pt x="23415" y="2082476"/>
                  <a:pt x="22961" y="2081411"/>
                  <a:pt x="22660" y="2080345"/>
                </a:cubicBezTo>
                <a:cubicBezTo>
                  <a:pt x="20847" y="2075930"/>
                  <a:pt x="19185" y="2071516"/>
                  <a:pt x="17674" y="2067101"/>
                </a:cubicBezTo>
                <a:cubicBezTo>
                  <a:pt x="15559" y="2061316"/>
                  <a:pt x="13747" y="2055380"/>
                  <a:pt x="11934" y="2049443"/>
                </a:cubicBezTo>
                <a:cubicBezTo>
                  <a:pt x="11480" y="2047920"/>
                  <a:pt x="11028" y="2046246"/>
                  <a:pt x="10725" y="2044571"/>
                </a:cubicBezTo>
                <a:cubicBezTo>
                  <a:pt x="10272" y="2042897"/>
                  <a:pt x="9819" y="2041375"/>
                  <a:pt x="9517" y="2039700"/>
                </a:cubicBezTo>
                <a:cubicBezTo>
                  <a:pt x="8761" y="2037112"/>
                  <a:pt x="8157" y="2034524"/>
                  <a:pt x="7704" y="2031937"/>
                </a:cubicBezTo>
                <a:cubicBezTo>
                  <a:pt x="7402" y="2031480"/>
                  <a:pt x="7402" y="2031023"/>
                  <a:pt x="7402" y="2030566"/>
                </a:cubicBezTo>
                <a:cubicBezTo>
                  <a:pt x="6193" y="2025695"/>
                  <a:pt x="5287" y="2020824"/>
                  <a:pt x="4532" y="2015953"/>
                </a:cubicBezTo>
                <a:lnTo>
                  <a:pt x="4532" y="2015953"/>
                </a:lnTo>
                <a:cubicBezTo>
                  <a:pt x="4078" y="2014126"/>
                  <a:pt x="3777" y="2012604"/>
                  <a:pt x="3625" y="2010777"/>
                </a:cubicBezTo>
                <a:cubicBezTo>
                  <a:pt x="2568" y="2003774"/>
                  <a:pt x="1662" y="1996772"/>
                  <a:pt x="1057" y="1989617"/>
                </a:cubicBezTo>
                <a:cubicBezTo>
                  <a:pt x="302" y="1980940"/>
                  <a:pt x="0" y="1972263"/>
                  <a:pt x="0" y="1963586"/>
                </a:cubicBezTo>
                <a:cubicBezTo>
                  <a:pt x="0" y="1884428"/>
                  <a:pt x="29911" y="1805269"/>
                  <a:pt x="89582" y="1744835"/>
                </a:cubicBezTo>
                <a:lnTo>
                  <a:pt x="1806297" y="15223"/>
                </a:lnTo>
                <a:lnTo>
                  <a:pt x="1806751" y="14766"/>
                </a:lnTo>
                <a:lnTo>
                  <a:pt x="1821404" y="0"/>
                </a:lnTo>
                <a:lnTo>
                  <a:pt x="2688827" y="0"/>
                </a:lnTo>
                <a:close/>
              </a:path>
            </a:pathLst>
          </a:custGeom>
          <a:solidFill>
            <a:schemeClr val="bg2">
              <a:lumMod val="60000"/>
              <a:lumOff val="40000"/>
            </a:schemeClr>
          </a:solidFill>
          <a:ln w="14405" cap="flat">
            <a:noFill/>
            <a:prstDash val="solid"/>
            <a:miter/>
          </a:ln>
        </p:spPr>
        <p:txBody>
          <a:bodyPr rtlCol="0" anchor="ctr"/>
          <a:lstStyle/>
          <a:p>
            <a:endParaRPr lang="en-IN"/>
          </a:p>
        </p:txBody>
      </p:sp>
      <p:sp>
        <p:nvSpPr>
          <p:cNvPr id="47" name="Freeform: Shape 46">
            <a:extLst>
              <a:ext uri="{FF2B5EF4-FFF2-40B4-BE49-F238E27FC236}">
                <a16:creationId xmlns:a16="http://schemas.microsoft.com/office/drawing/2014/main" id="{AEF18F38-3263-CAF1-826C-10660024AFA0}"/>
              </a:ext>
            </a:extLst>
          </p:cNvPr>
          <p:cNvSpPr/>
          <p:nvPr userDrawn="1"/>
        </p:nvSpPr>
        <p:spPr>
          <a:xfrm>
            <a:off x="6493982" y="0"/>
            <a:ext cx="3421799" cy="3010853"/>
          </a:xfrm>
          <a:custGeom>
            <a:avLst/>
            <a:gdLst>
              <a:gd name="connsiteX0" fmla="*/ 3421800 w 3421799"/>
              <a:gd name="connsiteY0" fmla="*/ 0 h 3010853"/>
              <a:gd name="connsiteX1" fmla="*/ 3218616 w 3421799"/>
              <a:gd name="connsiteY1" fmla="*/ 204746 h 3010853"/>
              <a:gd name="connsiteX2" fmla="*/ 1644204 w 3421799"/>
              <a:gd name="connsiteY2" fmla="*/ 1791112 h 3010853"/>
              <a:gd name="connsiteX3" fmla="*/ 1532868 w 3421799"/>
              <a:gd name="connsiteY3" fmla="*/ 1903304 h 3010853"/>
              <a:gd name="connsiteX4" fmla="*/ 1527279 w 3421799"/>
              <a:gd name="connsiteY4" fmla="*/ 1908784 h 3010853"/>
              <a:gd name="connsiteX5" fmla="*/ 1525466 w 3421799"/>
              <a:gd name="connsiteY5" fmla="*/ 1910763 h 3010853"/>
              <a:gd name="connsiteX6" fmla="*/ 1478182 w 3421799"/>
              <a:gd name="connsiteY6" fmla="*/ 1958411 h 3010853"/>
              <a:gd name="connsiteX7" fmla="*/ 1458544 w 3421799"/>
              <a:gd name="connsiteY7" fmla="*/ 1978048 h 3010853"/>
              <a:gd name="connsiteX8" fmla="*/ 1441020 w 3421799"/>
              <a:gd name="connsiteY8" fmla="*/ 1995858 h 3010853"/>
              <a:gd name="connsiteX9" fmla="*/ 1437394 w 3421799"/>
              <a:gd name="connsiteY9" fmla="*/ 1999512 h 3010853"/>
              <a:gd name="connsiteX10" fmla="*/ 1434222 w 3421799"/>
              <a:gd name="connsiteY10" fmla="*/ 2002709 h 3010853"/>
              <a:gd name="connsiteX11" fmla="*/ 1432560 w 3421799"/>
              <a:gd name="connsiteY11" fmla="*/ 2004383 h 3010853"/>
              <a:gd name="connsiteX12" fmla="*/ 1430294 w 3421799"/>
              <a:gd name="connsiteY12" fmla="*/ 2006667 h 3010853"/>
              <a:gd name="connsiteX13" fmla="*/ 1418813 w 3421799"/>
              <a:gd name="connsiteY13" fmla="*/ 2018084 h 3010853"/>
              <a:gd name="connsiteX14" fmla="*/ 1415943 w 3421799"/>
              <a:gd name="connsiteY14" fmla="*/ 2020976 h 3010853"/>
              <a:gd name="connsiteX15" fmla="*/ 1405217 w 3421799"/>
              <a:gd name="connsiteY15" fmla="*/ 2031937 h 3010853"/>
              <a:gd name="connsiteX16" fmla="*/ 1402649 w 3421799"/>
              <a:gd name="connsiteY16" fmla="*/ 2034524 h 3010853"/>
              <a:gd name="connsiteX17" fmla="*/ 1380140 w 3421799"/>
              <a:gd name="connsiteY17" fmla="*/ 2057206 h 3010853"/>
              <a:gd name="connsiteX18" fmla="*/ 1346754 w 3421799"/>
              <a:gd name="connsiteY18" fmla="*/ 2090849 h 3010853"/>
              <a:gd name="connsiteX19" fmla="*/ 1183905 w 3421799"/>
              <a:gd name="connsiteY19" fmla="*/ 2254798 h 3010853"/>
              <a:gd name="connsiteX20" fmla="*/ 523444 w 3421799"/>
              <a:gd name="connsiteY20" fmla="*/ 2920338 h 3010853"/>
              <a:gd name="connsiteX21" fmla="*/ 508791 w 3421799"/>
              <a:gd name="connsiteY21" fmla="*/ 2934038 h 3010853"/>
              <a:gd name="connsiteX22" fmla="*/ 454406 w 3421799"/>
              <a:gd name="connsiteY22" fmla="*/ 2972552 h 3010853"/>
              <a:gd name="connsiteX23" fmla="*/ 391261 w 3421799"/>
              <a:gd name="connsiteY23" fmla="*/ 2998887 h 3010853"/>
              <a:gd name="connsiteX24" fmla="*/ 300168 w 3421799"/>
              <a:gd name="connsiteY24" fmla="*/ 3010761 h 3010853"/>
              <a:gd name="connsiteX25" fmla="*/ 263308 w 3421799"/>
              <a:gd name="connsiteY25" fmla="*/ 3007869 h 3010853"/>
              <a:gd name="connsiteX26" fmla="*/ 229318 w 3421799"/>
              <a:gd name="connsiteY26" fmla="*/ 3000866 h 3010853"/>
              <a:gd name="connsiteX27" fmla="*/ 221010 w 3421799"/>
              <a:gd name="connsiteY27" fmla="*/ 2998583 h 3010853"/>
              <a:gd name="connsiteX28" fmla="*/ 186264 w 3421799"/>
              <a:gd name="connsiteY28" fmla="*/ 2986100 h 3010853"/>
              <a:gd name="connsiteX29" fmla="*/ 148649 w 3421799"/>
              <a:gd name="connsiteY29" fmla="*/ 2966615 h 3010853"/>
              <a:gd name="connsiteX30" fmla="*/ 108617 w 3421799"/>
              <a:gd name="connsiteY30" fmla="*/ 2937540 h 3010853"/>
              <a:gd name="connsiteX31" fmla="*/ 89885 w 3421799"/>
              <a:gd name="connsiteY31" fmla="*/ 2920186 h 3010853"/>
              <a:gd name="connsiteX32" fmla="*/ 54837 w 3421799"/>
              <a:gd name="connsiteY32" fmla="*/ 2877714 h 3010853"/>
              <a:gd name="connsiteX33" fmla="*/ 52420 w 3421799"/>
              <a:gd name="connsiteY33" fmla="*/ 2874213 h 3010853"/>
              <a:gd name="connsiteX34" fmla="*/ 42450 w 3421799"/>
              <a:gd name="connsiteY34" fmla="*/ 2858381 h 3010853"/>
              <a:gd name="connsiteX35" fmla="*/ 27947 w 3421799"/>
              <a:gd name="connsiteY35" fmla="*/ 2830371 h 3010853"/>
              <a:gd name="connsiteX36" fmla="*/ 22811 w 3421799"/>
              <a:gd name="connsiteY36" fmla="*/ 2818650 h 3010853"/>
              <a:gd name="connsiteX37" fmla="*/ 4683 w 3421799"/>
              <a:gd name="connsiteY37" fmla="*/ 2755475 h 3010853"/>
              <a:gd name="connsiteX38" fmla="*/ 0 w 3421799"/>
              <a:gd name="connsiteY38" fmla="*/ 2701739 h 3010853"/>
              <a:gd name="connsiteX39" fmla="*/ 89885 w 3421799"/>
              <a:gd name="connsiteY39" fmla="*/ 2483444 h 3010853"/>
              <a:gd name="connsiteX40" fmla="*/ 2539119 w 3421799"/>
              <a:gd name="connsiteY40" fmla="*/ 15223 h 3010853"/>
              <a:gd name="connsiteX41" fmla="*/ 2539573 w 3421799"/>
              <a:gd name="connsiteY41" fmla="*/ 14766 h 3010853"/>
              <a:gd name="connsiteX42" fmla="*/ 2554226 w 3421799"/>
              <a:gd name="connsiteY42" fmla="*/ 0 h 3010853"/>
              <a:gd name="connsiteX43" fmla="*/ 3421800 w 3421799"/>
              <a:gd name="connsiteY43" fmla="*/ 0 h 301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21799" h="3010853">
                <a:moveTo>
                  <a:pt x="3421800" y="0"/>
                </a:moveTo>
                <a:lnTo>
                  <a:pt x="3218616" y="204746"/>
                </a:lnTo>
                <a:lnTo>
                  <a:pt x="1644204" y="1791112"/>
                </a:lnTo>
                <a:lnTo>
                  <a:pt x="1532868" y="1903304"/>
                </a:lnTo>
                <a:lnTo>
                  <a:pt x="1527279" y="1908784"/>
                </a:lnTo>
                <a:lnTo>
                  <a:pt x="1525466" y="1910763"/>
                </a:lnTo>
                <a:lnTo>
                  <a:pt x="1478182" y="1958411"/>
                </a:lnTo>
                <a:lnTo>
                  <a:pt x="1458544" y="1978048"/>
                </a:lnTo>
                <a:lnTo>
                  <a:pt x="1441020" y="1995858"/>
                </a:lnTo>
                <a:lnTo>
                  <a:pt x="1437394" y="1999512"/>
                </a:lnTo>
                <a:lnTo>
                  <a:pt x="1434222" y="2002709"/>
                </a:lnTo>
                <a:lnTo>
                  <a:pt x="1432560" y="2004383"/>
                </a:lnTo>
                <a:lnTo>
                  <a:pt x="1430294" y="2006667"/>
                </a:lnTo>
                <a:lnTo>
                  <a:pt x="1418813" y="2018084"/>
                </a:lnTo>
                <a:lnTo>
                  <a:pt x="1415943" y="2020976"/>
                </a:lnTo>
                <a:lnTo>
                  <a:pt x="1405217" y="2031937"/>
                </a:lnTo>
                <a:lnTo>
                  <a:pt x="1402649" y="2034524"/>
                </a:lnTo>
                <a:lnTo>
                  <a:pt x="1380140" y="2057206"/>
                </a:lnTo>
                <a:lnTo>
                  <a:pt x="1346754" y="2090849"/>
                </a:lnTo>
                <a:lnTo>
                  <a:pt x="1183905" y="2254798"/>
                </a:lnTo>
                <a:lnTo>
                  <a:pt x="523444" y="2920338"/>
                </a:lnTo>
                <a:cubicBezTo>
                  <a:pt x="518761" y="2925057"/>
                  <a:pt x="513776" y="2929776"/>
                  <a:pt x="508791" y="2934038"/>
                </a:cubicBezTo>
                <a:cubicBezTo>
                  <a:pt x="491871" y="2949109"/>
                  <a:pt x="473592" y="2962048"/>
                  <a:pt x="454406" y="2972552"/>
                </a:cubicBezTo>
                <a:cubicBezTo>
                  <a:pt x="434164" y="2983969"/>
                  <a:pt x="413014" y="2992646"/>
                  <a:pt x="391261" y="2998887"/>
                </a:cubicBezTo>
                <a:cubicBezTo>
                  <a:pt x="361501" y="3007564"/>
                  <a:pt x="330684" y="3011522"/>
                  <a:pt x="300168" y="3010761"/>
                </a:cubicBezTo>
                <a:cubicBezTo>
                  <a:pt x="287781" y="3010609"/>
                  <a:pt x="275545" y="3009543"/>
                  <a:pt x="263308" y="3007869"/>
                </a:cubicBezTo>
                <a:cubicBezTo>
                  <a:pt x="251827" y="3006194"/>
                  <a:pt x="240497" y="3003911"/>
                  <a:pt x="229318" y="3000866"/>
                </a:cubicBezTo>
                <a:cubicBezTo>
                  <a:pt x="226448" y="3000257"/>
                  <a:pt x="223729" y="2999496"/>
                  <a:pt x="221010" y="2998583"/>
                </a:cubicBezTo>
                <a:cubicBezTo>
                  <a:pt x="209226" y="2995234"/>
                  <a:pt x="197594" y="2990972"/>
                  <a:pt x="186264" y="2986100"/>
                </a:cubicBezTo>
                <a:cubicBezTo>
                  <a:pt x="173424" y="2980620"/>
                  <a:pt x="160735" y="2974074"/>
                  <a:pt x="148649" y="2966615"/>
                </a:cubicBezTo>
                <a:cubicBezTo>
                  <a:pt x="134600" y="2958090"/>
                  <a:pt x="121306" y="2948500"/>
                  <a:pt x="108617" y="2937540"/>
                </a:cubicBezTo>
                <a:cubicBezTo>
                  <a:pt x="102121" y="2932059"/>
                  <a:pt x="95927" y="2926275"/>
                  <a:pt x="89885" y="2920186"/>
                </a:cubicBezTo>
                <a:cubicBezTo>
                  <a:pt x="76741" y="2906942"/>
                  <a:pt x="64958" y="2892632"/>
                  <a:pt x="54837" y="2877714"/>
                </a:cubicBezTo>
                <a:cubicBezTo>
                  <a:pt x="53931" y="2876648"/>
                  <a:pt x="53175" y="2875431"/>
                  <a:pt x="52420" y="2874213"/>
                </a:cubicBezTo>
                <a:cubicBezTo>
                  <a:pt x="48794" y="2869037"/>
                  <a:pt x="45471" y="2863709"/>
                  <a:pt x="42450" y="2858381"/>
                </a:cubicBezTo>
                <a:cubicBezTo>
                  <a:pt x="37011" y="2849247"/>
                  <a:pt x="32177" y="2839962"/>
                  <a:pt x="27947" y="2830371"/>
                </a:cubicBezTo>
                <a:cubicBezTo>
                  <a:pt x="26134" y="2826566"/>
                  <a:pt x="24321" y="2822608"/>
                  <a:pt x="22811" y="2818650"/>
                </a:cubicBezTo>
                <a:cubicBezTo>
                  <a:pt x="14502" y="2798099"/>
                  <a:pt x="8460" y="2776939"/>
                  <a:pt x="4683" y="2755475"/>
                </a:cubicBezTo>
                <a:cubicBezTo>
                  <a:pt x="1510" y="2737664"/>
                  <a:pt x="0" y="2719702"/>
                  <a:pt x="0" y="2701739"/>
                </a:cubicBezTo>
                <a:cubicBezTo>
                  <a:pt x="0" y="2622885"/>
                  <a:pt x="30062" y="2543726"/>
                  <a:pt x="89885" y="2483444"/>
                </a:cubicBezTo>
                <a:lnTo>
                  <a:pt x="2539119" y="15223"/>
                </a:lnTo>
                <a:lnTo>
                  <a:pt x="2539573" y="14766"/>
                </a:lnTo>
                <a:lnTo>
                  <a:pt x="2554226" y="0"/>
                </a:lnTo>
                <a:lnTo>
                  <a:pt x="3421800" y="0"/>
                </a:lnTo>
                <a:close/>
              </a:path>
            </a:pathLst>
          </a:custGeom>
          <a:solidFill>
            <a:schemeClr val="bg2">
              <a:lumMod val="20000"/>
              <a:lumOff val="80000"/>
            </a:schemeClr>
          </a:solidFill>
          <a:ln w="14405" cap="flat">
            <a:noFill/>
            <a:prstDash val="solid"/>
            <a:miter/>
          </a:ln>
        </p:spPr>
        <p:txBody>
          <a:bodyPr rtlCol="0" anchor="ctr"/>
          <a:lstStyle/>
          <a:p>
            <a:endParaRPr lang="en-IN"/>
          </a:p>
        </p:txBody>
      </p:sp>
      <p:sp>
        <p:nvSpPr>
          <p:cNvPr id="48" name="Freeform: Shape 47">
            <a:extLst>
              <a:ext uri="{FF2B5EF4-FFF2-40B4-BE49-F238E27FC236}">
                <a16:creationId xmlns:a16="http://schemas.microsoft.com/office/drawing/2014/main" id="{EBADE599-5FC2-7971-14E3-084AA5ED4744}"/>
              </a:ext>
            </a:extLst>
          </p:cNvPr>
          <p:cNvSpPr/>
          <p:nvPr userDrawn="1"/>
        </p:nvSpPr>
        <p:spPr>
          <a:xfrm>
            <a:off x="5063945" y="1420453"/>
            <a:ext cx="7128055" cy="5437547"/>
          </a:xfrm>
          <a:custGeom>
            <a:avLst/>
            <a:gdLst>
              <a:gd name="connsiteX0" fmla="*/ 5285805 w 5285804"/>
              <a:gd name="connsiteY0" fmla="*/ 0 h 4032209"/>
              <a:gd name="connsiteX1" fmla="*/ 5285805 w 5285804"/>
              <a:gd name="connsiteY1" fmla="*/ 4032209 h 4032209"/>
              <a:gd name="connsiteX2" fmla="*/ 0 w 5285804"/>
              <a:gd name="connsiteY2" fmla="*/ 4032209 h 4032209"/>
              <a:gd name="connsiteX3" fmla="*/ 0 w 5285804"/>
              <a:gd name="connsiteY3" fmla="*/ 3667624 h 4032209"/>
              <a:gd name="connsiteX4" fmla="*/ 1241008 w 5285804"/>
              <a:gd name="connsiteY4" fmla="*/ 2150979 h 4032209"/>
              <a:gd name="connsiteX5" fmla="*/ 1533020 w 5285804"/>
              <a:gd name="connsiteY5" fmla="*/ 2122817 h 4032209"/>
              <a:gd name="connsiteX6" fmla="*/ 2777955 w 5285804"/>
              <a:gd name="connsiteY6" fmla="*/ 2122817 h 4032209"/>
              <a:gd name="connsiteX7" fmla="*/ 3592354 w 5285804"/>
              <a:gd name="connsiteY7" fmla="*/ 1773606 h 4032209"/>
              <a:gd name="connsiteX8" fmla="*/ 4093289 w 5285804"/>
              <a:gd name="connsiteY8" fmla="*/ 1249029 h 4032209"/>
              <a:gd name="connsiteX9" fmla="*/ 4216408 w 5285804"/>
              <a:gd name="connsiteY9" fmla="*/ 1120092 h 4032209"/>
              <a:gd name="connsiteX10" fmla="*/ 5285503 w 5285804"/>
              <a:gd name="connsiteY10" fmla="*/ 305 h 4032209"/>
              <a:gd name="connsiteX11" fmla="*/ 5285805 w 5285804"/>
              <a:gd name="connsiteY11" fmla="*/ 0 h 403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5804" h="4032209">
                <a:moveTo>
                  <a:pt x="5285805" y="0"/>
                </a:moveTo>
                <a:lnTo>
                  <a:pt x="5285805" y="4032209"/>
                </a:lnTo>
                <a:lnTo>
                  <a:pt x="0" y="4032209"/>
                </a:lnTo>
                <a:lnTo>
                  <a:pt x="0" y="3667624"/>
                </a:lnTo>
                <a:cubicBezTo>
                  <a:pt x="0" y="2915010"/>
                  <a:pt x="534019" y="2288288"/>
                  <a:pt x="1241008" y="2150979"/>
                </a:cubicBezTo>
                <a:cubicBezTo>
                  <a:pt x="1335576" y="2132407"/>
                  <a:pt x="1433165" y="2122817"/>
                  <a:pt x="1533020" y="2122817"/>
                </a:cubicBezTo>
                <a:lnTo>
                  <a:pt x="2777955" y="2122817"/>
                </a:lnTo>
                <a:cubicBezTo>
                  <a:pt x="3085224" y="2122817"/>
                  <a:pt x="3379199" y="1996772"/>
                  <a:pt x="3592354" y="1773606"/>
                </a:cubicBezTo>
                <a:lnTo>
                  <a:pt x="4093289" y="1249029"/>
                </a:lnTo>
                <a:lnTo>
                  <a:pt x="4216408" y="1120092"/>
                </a:lnTo>
                <a:lnTo>
                  <a:pt x="5285503" y="305"/>
                </a:lnTo>
                <a:lnTo>
                  <a:pt x="5285805" y="0"/>
                </a:lnTo>
                <a:close/>
              </a:path>
            </a:pathLst>
          </a:custGeom>
          <a:gradFill>
            <a:gsLst>
              <a:gs pos="0">
                <a:schemeClr val="bg2">
                  <a:lumMod val="50000"/>
                </a:schemeClr>
              </a:gs>
              <a:gs pos="26000">
                <a:schemeClr val="bg2">
                  <a:lumMod val="75000"/>
                </a:schemeClr>
              </a:gs>
              <a:gs pos="100000">
                <a:schemeClr val="bg2">
                  <a:lumMod val="50000"/>
                </a:schemeClr>
              </a:gs>
            </a:gsLst>
            <a:lin ang="17728526" scaled="1"/>
          </a:gradFill>
          <a:ln w="14405" cap="flat">
            <a:noFill/>
            <a:prstDash val="solid"/>
            <a:miter/>
          </a:ln>
        </p:spPr>
        <p:txBody>
          <a:bodyPr rtlCol="0" anchor="ctr"/>
          <a:lstStyle/>
          <a:p>
            <a:endParaRPr lang="en-IN"/>
          </a:p>
        </p:txBody>
      </p:sp>
      <p:sp>
        <p:nvSpPr>
          <p:cNvPr id="49" name="Freeform: Shape 48">
            <a:extLst>
              <a:ext uri="{FF2B5EF4-FFF2-40B4-BE49-F238E27FC236}">
                <a16:creationId xmlns:a16="http://schemas.microsoft.com/office/drawing/2014/main" id="{770D6DBC-FAA5-C691-76B9-13E401B99999}"/>
              </a:ext>
            </a:extLst>
          </p:cNvPr>
          <p:cNvSpPr/>
          <p:nvPr userDrawn="1"/>
        </p:nvSpPr>
        <p:spPr>
          <a:xfrm rot="20264999">
            <a:off x="5667673" y="3801859"/>
            <a:ext cx="1182546" cy="1191639"/>
          </a:xfrm>
          <a:custGeom>
            <a:avLst/>
            <a:gdLst>
              <a:gd name="connsiteX0" fmla="*/ 1182547 w 1182546"/>
              <a:gd name="connsiteY0" fmla="*/ 595820 h 1191639"/>
              <a:gd name="connsiteX1" fmla="*/ 591273 w 1182546"/>
              <a:gd name="connsiteY1" fmla="*/ 1191640 h 1191639"/>
              <a:gd name="connsiteX2" fmla="*/ 0 w 1182546"/>
              <a:gd name="connsiteY2" fmla="*/ 595820 h 1191639"/>
              <a:gd name="connsiteX3" fmla="*/ 591273 w 1182546"/>
              <a:gd name="connsiteY3" fmla="*/ 0 h 1191639"/>
              <a:gd name="connsiteX4" fmla="*/ 1182547 w 1182546"/>
              <a:gd name="connsiteY4" fmla="*/ 595820 h 119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546" h="1191639">
                <a:moveTo>
                  <a:pt x="1182547" y="595820"/>
                </a:moveTo>
                <a:cubicBezTo>
                  <a:pt x="1182547" y="924882"/>
                  <a:pt x="917825" y="1191640"/>
                  <a:pt x="591273" y="1191640"/>
                </a:cubicBezTo>
                <a:cubicBezTo>
                  <a:pt x="264721" y="1191640"/>
                  <a:pt x="0" y="924882"/>
                  <a:pt x="0" y="595820"/>
                </a:cubicBezTo>
                <a:cubicBezTo>
                  <a:pt x="0" y="266758"/>
                  <a:pt x="264721" y="0"/>
                  <a:pt x="591273" y="0"/>
                </a:cubicBezTo>
                <a:cubicBezTo>
                  <a:pt x="917825" y="0"/>
                  <a:pt x="1182547" y="266758"/>
                  <a:pt x="1182547" y="595820"/>
                </a:cubicBezTo>
                <a:close/>
              </a:path>
            </a:pathLst>
          </a:custGeom>
          <a:gradFill>
            <a:gsLst>
              <a:gs pos="0">
                <a:schemeClr val="bg2"/>
              </a:gs>
              <a:gs pos="44000">
                <a:schemeClr val="bg2">
                  <a:lumMod val="75000"/>
                </a:schemeClr>
              </a:gs>
              <a:gs pos="100000">
                <a:schemeClr val="bg2">
                  <a:lumMod val="50000"/>
                </a:schemeClr>
              </a:gs>
            </a:gsLst>
            <a:lin ang="9497293" scaled="1"/>
          </a:gradFill>
          <a:ln w="14405" cap="flat">
            <a:noFill/>
            <a:prstDash val="solid"/>
            <a:miter/>
          </a:ln>
        </p:spPr>
        <p:txBody>
          <a:bodyPr rtlCol="0" anchor="ctr"/>
          <a:lstStyle/>
          <a:p>
            <a:endParaRPr lang="en-IN"/>
          </a:p>
        </p:txBody>
      </p:sp>
      <p:sp>
        <p:nvSpPr>
          <p:cNvPr id="50" name="Freeform: Shape 49">
            <a:extLst>
              <a:ext uri="{FF2B5EF4-FFF2-40B4-BE49-F238E27FC236}">
                <a16:creationId xmlns:a16="http://schemas.microsoft.com/office/drawing/2014/main" id="{B36FB050-6728-9B2D-7EC8-2634A699D1BF}"/>
              </a:ext>
            </a:extLst>
          </p:cNvPr>
          <p:cNvSpPr/>
          <p:nvPr userDrawn="1"/>
        </p:nvSpPr>
        <p:spPr>
          <a:xfrm rot="5400000" flipV="1">
            <a:off x="5765903" y="4611326"/>
            <a:ext cx="2068713" cy="2424635"/>
          </a:xfrm>
          <a:custGeom>
            <a:avLst/>
            <a:gdLst>
              <a:gd name="connsiteX0" fmla="*/ 2656952 w 2656951"/>
              <a:gd name="connsiteY0" fmla="*/ 0 h 3114079"/>
              <a:gd name="connsiteX1" fmla="*/ 2656952 w 2656951"/>
              <a:gd name="connsiteY1" fmla="*/ 874092 h 3114079"/>
              <a:gd name="connsiteX2" fmla="*/ 2656649 w 2656951"/>
              <a:gd name="connsiteY2" fmla="*/ 874396 h 3114079"/>
              <a:gd name="connsiteX3" fmla="*/ 1587555 w 2656951"/>
              <a:gd name="connsiteY3" fmla="*/ 1951712 h 3114079"/>
              <a:gd name="connsiteX4" fmla="*/ 1244634 w 2656951"/>
              <a:gd name="connsiteY4" fmla="*/ 2297270 h 3114079"/>
              <a:gd name="connsiteX5" fmla="*/ 1225449 w 2656951"/>
              <a:gd name="connsiteY5" fmla="*/ 2316603 h 3114079"/>
              <a:gd name="connsiteX6" fmla="*/ 1207019 w 2656951"/>
              <a:gd name="connsiteY6" fmla="*/ 2335174 h 3114079"/>
              <a:gd name="connsiteX7" fmla="*/ 1186776 w 2656951"/>
              <a:gd name="connsiteY7" fmla="*/ 2355573 h 3114079"/>
              <a:gd name="connsiteX8" fmla="*/ 1168799 w 2656951"/>
              <a:gd name="connsiteY8" fmla="*/ 2373688 h 3114079"/>
              <a:gd name="connsiteX9" fmla="*/ 1154146 w 2656951"/>
              <a:gd name="connsiteY9" fmla="*/ 2388454 h 3114079"/>
              <a:gd name="connsiteX10" fmla="*/ 1139946 w 2656951"/>
              <a:gd name="connsiteY10" fmla="*/ 2402764 h 3114079"/>
              <a:gd name="connsiteX11" fmla="*/ 1134809 w 2656951"/>
              <a:gd name="connsiteY11" fmla="*/ 2407939 h 3114079"/>
              <a:gd name="connsiteX12" fmla="*/ 1132090 w 2656951"/>
              <a:gd name="connsiteY12" fmla="*/ 2410679 h 3114079"/>
              <a:gd name="connsiteX13" fmla="*/ 1130881 w 2656951"/>
              <a:gd name="connsiteY13" fmla="*/ 2411897 h 3114079"/>
              <a:gd name="connsiteX14" fmla="*/ 1128767 w 2656951"/>
              <a:gd name="connsiteY14" fmla="*/ 2414028 h 3114079"/>
              <a:gd name="connsiteX15" fmla="*/ 1119702 w 2656951"/>
              <a:gd name="connsiteY15" fmla="*/ 2423162 h 3114079"/>
              <a:gd name="connsiteX16" fmla="*/ 1117134 w 2656951"/>
              <a:gd name="connsiteY16" fmla="*/ 2425750 h 3114079"/>
              <a:gd name="connsiteX17" fmla="*/ 1105352 w 2656951"/>
              <a:gd name="connsiteY17" fmla="*/ 2437624 h 3114079"/>
              <a:gd name="connsiteX18" fmla="*/ 1085712 w 2656951"/>
              <a:gd name="connsiteY18" fmla="*/ 2457413 h 3114079"/>
              <a:gd name="connsiteX19" fmla="*/ 1054140 w 2656951"/>
              <a:gd name="connsiteY19" fmla="*/ 2489229 h 3114079"/>
              <a:gd name="connsiteX20" fmla="*/ 908210 w 2656951"/>
              <a:gd name="connsiteY20" fmla="*/ 2636281 h 3114079"/>
              <a:gd name="connsiteX21" fmla="*/ 523747 w 2656951"/>
              <a:gd name="connsiteY21" fmla="*/ 3023701 h 3114079"/>
              <a:gd name="connsiteX22" fmla="*/ 419360 w 2656951"/>
              <a:gd name="connsiteY22" fmla="*/ 3092660 h 3114079"/>
              <a:gd name="connsiteX23" fmla="*/ 189135 w 2656951"/>
              <a:gd name="connsiteY23" fmla="*/ 3090376 h 3114079"/>
              <a:gd name="connsiteX24" fmla="*/ 188078 w 2656951"/>
              <a:gd name="connsiteY24" fmla="*/ 3089919 h 3114079"/>
              <a:gd name="connsiteX25" fmla="*/ 118436 w 2656951"/>
              <a:gd name="connsiteY25" fmla="*/ 3048818 h 3114079"/>
              <a:gd name="connsiteX26" fmla="*/ 118134 w 2656951"/>
              <a:gd name="connsiteY26" fmla="*/ 3048514 h 3114079"/>
              <a:gd name="connsiteX27" fmla="*/ 117530 w 2656951"/>
              <a:gd name="connsiteY27" fmla="*/ 3048057 h 3114079"/>
              <a:gd name="connsiteX28" fmla="*/ 89733 w 2656951"/>
              <a:gd name="connsiteY28" fmla="*/ 3023396 h 3114079"/>
              <a:gd name="connsiteX29" fmla="*/ 5892 w 2656951"/>
              <a:gd name="connsiteY29" fmla="*/ 2864927 h 3114079"/>
              <a:gd name="connsiteX30" fmla="*/ 5892 w 2656951"/>
              <a:gd name="connsiteY30" fmla="*/ 2864318 h 3114079"/>
              <a:gd name="connsiteX31" fmla="*/ 0 w 2656951"/>
              <a:gd name="connsiteY31" fmla="*/ 2804949 h 3114079"/>
              <a:gd name="connsiteX32" fmla="*/ 0 w 2656951"/>
              <a:gd name="connsiteY32" fmla="*/ 2804949 h 3114079"/>
              <a:gd name="connsiteX33" fmla="*/ 5137 w 2656951"/>
              <a:gd name="connsiteY33" fmla="*/ 2748929 h 3114079"/>
              <a:gd name="connsiteX34" fmla="*/ 7705 w 2656951"/>
              <a:gd name="connsiteY34" fmla="*/ 2736142 h 3114079"/>
              <a:gd name="connsiteX35" fmla="*/ 9215 w 2656951"/>
              <a:gd name="connsiteY35" fmla="*/ 2729748 h 3114079"/>
              <a:gd name="connsiteX36" fmla="*/ 10424 w 2656951"/>
              <a:gd name="connsiteY36" fmla="*/ 2725334 h 3114079"/>
              <a:gd name="connsiteX37" fmla="*/ 11179 w 2656951"/>
              <a:gd name="connsiteY37" fmla="*/ 2722442 h 3114079"/>
              <a:gd name="connsiteX38" fmla="*/ 37615 w 2656951"/>
              <a:gd name="connsiteY38" fmla="*/ 2656679 h 3114079"/>
              <a:gd name="connsiteX39" fmla="*/ 89733 w 2656951"/>
              <a:gd name="connsiteY39" fmla="*/ 2586503 h 3114079"/>
              <a:gd name="connsiteX40" fmla="*/ 474348 w 2656951"/>
              <a:gd name="connsiteY40" fmla="*/ 2199083 h 3114079"/>
              <a:gd name="connsiteX41" fmla="*/ 582965 w 2656951"/>
              <a:gd name="connsiteY41" fmla="*/ 2089631 h 3114079"/>
              <a:gd name="connsiteX42" fmla="*/ 603812 w 2656951"/>
              <a:gd name="connsiteY42" fmla="*/ 2068471 h 3114079"/>
              <a:gd name="connsiteX43" fmla="*/ 614387 w 2656951"/>
              <a:gd name="connsiteY43" fmla="*/ 2057815 h 3114079"/>
              <a:gd name="connsiteX44" fmla="*/ 620429 w 2656951"/>
              <a:gd name="connsiteY44" fmla="*/ 2051878 h 3114079"/>
              <a:gd name="connsiteX45" fmla="*/ 625566 w 2656951"/>
              <a:gd name="connsiteY45" fmla="*/ 2046550 h 3114079"/>
              <a:gd name="connsiteX46" fmla="*/ 626472 w 2656951"/>
              <a:gd name="connsiteY46" fmla="*/ 2045789 h 3114079"/>
              <a:gd name="connsiteX47" fmla="*/ 634478 w 2656951"/>
              <a:gd name="connsiteY47" fmla="*/ 2037569 h 3114079"/>
              <a:gd name="connsiteX48" fmla="*/ 643542 w 2656951"/>
              <a:gd name="connsiteY48" fmla="*/ 2028435 h 3114079"/>
              <a:gd name="connsiteX49" fmla="*/ 644449 w 2656951"/>
              <a:gd name="connsiteY49" fmla="*/ 2027674 h 3114079"/>
              <a:gd name="connsiteX50" fmla="*/ 647319 w 2656951"/>
              <a:gd name="connsiteY50" fmla="*/ 2024782 h 3114079"/>
              <a:gd name="connsiteX51" fmla="*/ 649433 w 2656951"/>
              <a:gd name="connsiteY51" fmla="*/ 2022651 h 3114079"/>
              <a:gd name="connsiteX52" fmla="*/ 651700 w 2656951"/>
              <a:gd name="connsiteY52" fmla="*/ 2020367 h 3114079"/>
              <a:gd name="connsiteX53" fmla="*/ 685841 w 2656951"/>
              <a:gd name="connsiteY53" fmla="*/ 1985964 h 3114079"/>
              <a:gd name="connsiteX54" fmla="*/ 696416 w 2656951"/>
              <a:gd name="connsiteY54" fmla="*/ 1975155 h 3114079"/>
              <a:gd name="connsiteX55" fmla="*/ 698681 w 2656951"/>
              <a:gd name="connsiteY55" fmla="*/ 1972872 h 3114079"/>
              <a:gd name="connsiteX56" fmla="*/ 708803 w 2656951"/>
              <a:gd name="connsiteY56" fmla="*/ 1962825 h 3114079"/>
              <a:gd name="connsiteX57" fmla="*/ 708953 w 2656951"/>
              <a:gd name="connsiteY57" fmla="*/ 1962825 h 3114079"/>
              <a:gd name="connsiteX58" fmla="*/ 714845 w 2656951"/>
              <a:gd name="connsiteY58" fmla="*/ 1956736 h 3114079"/>
              <a:gd name="connsiteX59" fmla="*/ 719528 w 2656951"/>
              <a:gd name="connsiteY59" fmla="*/ 1951865 h 3114079"/>
              <a:gd name="connsiteX60" fmla="*/ 744001 w 2656951"/>
              <a:gd name="connsiteY60" fmla="*/ 1927356 h 3114079"/>
              <a:gd name="connsiteX61" fmla="*/ 758050 w 2656951"/>
              <a:gd name="connsiteY61" fmla="*/ 1913046 h 3114079"/>
              <a:gd name="connsiteX62" fmla="*/ 771797 w 2656951"/>
              <a:gd name="connsiteY62" fmla="*/ 1899194 h 3114079"/>
              <a:gd name="connsiteX63" fmla="*/ 782674 w 2656951"/>
              <a:gd name="connsiteY63" fmla="*/ 1888386 h 3114079"/>
              <a:gd name="connsiteX64" fmla="*/ 788566 w 2656951"/>
              <a:gd name="connsiteY64" fmla="*/ 1882297 h 3114079"/>
              <a:gd name="connsiteX65" fmla="*/ 794759 w 2656951"/>
              <a:gd name="connsiteY65" fmla="*/ 1876207 h 3114079"/>
              <a:gd name="connsiteX66" fmla="*/ 803672 w 2656951"/>
              <a:gd name="connsiteY66" fmla="*/ 1867226 h 3114079"/>
              <a:gd name="connsiteX67" fmla="*/ 814700 w 2656951"/>
              <a:gd name="connsiteY67" fmla="*/ 1856113 h 3114079"/>
              <a:gd name="connsiteX68" fmla="*/ 1587555 w 2656951"/>
              <a:gd name="connsiteY68" fmla="*/ 1077468 h 3114079"/>
              <a:gd name="connsiteX69" fmla="*/ 2656649 w 2656951"/>
              <a:gd name="connsiteY69" fmla="*/ 304 h 3114079"/>
              <a:gd name="connsiteX70" fmla="*/ 2656952 w 2656951"/>
              <a:gd name="connsiteY70" fmla="*/ 0 h 3114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656951" h="3114079">
                <a:moveTo>
                  <a:pt x="2656952" y="0"/>
                </a:moveTo>
                <a:lnTo>
                  <a:pt x="2656952" y="874092"/>
                </a:lnTo>
                <a:lnTo>
                  <a:pt x="2656649" y="874396"/>
                </a:lnTo>
                <a:lnTo>
                  <a:pt x="1587555" y="1951712"/>
                </a:lnTo>
                <a:lnTo>
                  <a:pt x="1244634" y="2297270"/>
                </a:lnTo>
                <a:lnTo>
                  <a:pt x="1225449" y="2316603"/>
                </a:lnTo>
                <a:lnTo>
                  <a:pt x="1207019" y="2335174"/>
                </a:lnTo>
                <a:lnTo>
                  <a:pt x="1186776" y="2355573"/>
                </a:lnTo>
                <a:lnTo>
                  <a:pt x="1168799" y="2373688"/>
                </a:lnTo>
                <a:lnTo>
                  <a:pt x="1154146" y="2388454"/>
                </a:lnTo>
                <a:lnTo>
                  <a:pt x="1139946" y="2402764"/>
                </a:lnTo>
                <a:lnTo>
                  <a:pt x="1134809" y="2407939"/>
                </a:lnTo>
                <a:lnTo>
                  <a:pt x="1132090" y="2410679"/>
                </a:lnTo>
                <a:lnTo>
                  <a:pt x="1130881" y="2411897"/>
                </a:lnTo>
                <a:lnTo>
                  <a:pt x="1128767" y="2414028"/>
                </a:lnTo>
                <a:lnTo>
                  <a:pt x="1119702" y="2423162"/>
                </a:lnTo>
                <a:lnTo>
                  <a:pt x="1117134" y="2425750"/>
                </a:lnTo>
                <a:lnTo>
                  <a:pt x="1105352" y="2437624"/>
                </a:lnTo>
                <a:lnTo>
                  <a:pt x="1085712" y="2457413"/>
                </a:lnTo>
                <a:lnTo>
                  <a:pt x="1054140" y="2489229"/>
                </a:lnTo>
                <a:lnTo>
                  <a:pt x="908210" y="2636281"/>
                </a:lnTo>
                <a:lnTo>
                  <a:pt x="523747" y="3023701"/>
                </a:lnTo>
                <a:cubicBezTo>
                  <a:pt x="492929" y="3054603"/>
                  <a:pt x="457429" y="3077589"/>
                  <a:pt x="419360" y="3092660"/>
                </a:cubicBezTo>
                <a:cubicBezTo>
                  <a:pt x="345488" y="3121887"/>
                  <a:pt x="262704" y="3121278"/>
                  <a:pt x="189135" y="3090376"/>
                </a:cubicBezTo>
                <a:cubicBezTo>
                  <a:pt x="188833" y="3090376"/>
                  <a:pt x="188380" y="3090224"/>
                  <a:pt x="188078" y="3089919"/>
                </a:cubicBezTo>
                <a:cubicBezTo>
                  <a:pt x="163605" y="3079720"/>
                  <a:pt x="140039" y="3065868"/>
                  <a:pt x="118436" y="3048818"/>
                </a:cubicBezTo>
                <a:cubicBezTo>
                  <a:pt x="118285" y="3048818"/>
                  <a:pt x="118134" y="3048514"/>
                  <a:pt x="118134" y="3048514"/>
                </a:cubicBezTo>
                <a:cubicBezTo>
                  <a:pt x="117983" y="3048362"/>
                  <a:pt x="117681" y="3048209"/>
                  <a:pt x="117530" y="3048057"/>
                </a:cubicBezTo>
                <a:cubicBezTo>
                  <a:pt x="107861" y="3040598"/>
                  <a:pt x="98647" y="3032377"/>
                  <a:pt x="89733" y="3023396"/>
                </a:cubicBezTo>
                <a:cubicBezTo>
                  <a:pt x="45169" y="2978489"/>
                  <a:pt x="17222" y="2923078"/>
                  <a:pt x="5892" y="2864927"/>
                </a:cubicBezTo>
                <a:lnTo>
                  <a:pt x="5892" y="2864318"/>
                </a:lnTo>
                <a:cubicBezTo>
                  <a:pt x="1964" y="2844833"/>
                  <a:pt x="0" y="2824739"/>
                  <a:pt x="0" y="2804949"/>
                </a:cubicBezTo>
                <a:lnTo>
                  <a:pt x="0" y="2804949"/>
                </a:lnTo>
                <a:cubicBezTo>
                  <a:pt x="0" y="2786073"/>
                  <a:pt x="1662" y="2767349"/>
                  <a:pt x="5137" y="2748929"/>
                </a:cubicBezTo>
                <a:cubicBezTo>
                  <a:pt x="5892" y="2744515"/>
                  <a:pt x="6647" y="2740405"/>
                  <a:pt x="7705" y="2736142"/>
                </a:cubicBezTo>
                <a:cubicBezTo>
                  <a:pt x="8158" y="2734011"/>
                  <a:pt x="8611" y="2731880"/>
                  <a:pt x="9215" y="2729748"/>
                </a:cubicBezTo>
                <a:cubicBezTo>
                  <a:pt x="9517" y="2728227"/>
                  <a:pt x="9971" y="2726857"/>
                  <a:pt x="10424" y="2725334"/>
                </a:cubicBezTo>
                <a:cubicBezTo>
                  <a:pt x="10575" y="2724421"/>
                  <a:pt x="10877" y="2723355"/>
                  <a:pt x="11179" y="2722442"/>
                </a:cubicBezTo>
                <a:cubicBezTo>
                  <a:pt x="17222" y="2699760"/>
                  <a:pt x="26135" y="2677687"/>
                  <a:pt x="37615" y="2656679"/>
                </a:cubicBezTo>
                <a:cubicBezTo>
                  <a:pt x="51212" y="2631409"/>
                  <a:pt x="68585" y="2607814"/>
                  <a:pt x="89733" y="2586503"/>
                </a:cubicBezTo>
                <a:lnTo>
                  <a:pt x="474348" y="2199083"/>
                </a:lnTo>
                <a:lnTo>
                  <a:pt x="582965" y="2089631"/>
                </a:lnTo>
                <a:lnTo>
                  <a:pt x="603812" y="2068471"/>
                </a:lnTo>
                <a:lnTo>
                  <a:pt x="614387" y="2057815"/>
                </a:lnTo>
                <a:lnTo>
                  <a:pt x="620429" y="2051878"/>
                </a:lnTo>
                <a:lnTo>
                  <a:pt x="625566" y="2046550"/>
                </a:lnTo>
                <a:lnTo>
                  <a:pt x="626472" y="2045789"/>
                </a:lnTo>
                <a:lnTo>
                  <a:pt x="634478" y="2037569"/>
                </a:lnTo>
                <a:lnTo>
                  <a:pt x="643542" y="2028435"/>
                </a:lnTo>
                <a:lnTo>
                  <a:pt x="644449" y="2027674"/>
                </a:lnTo>
                <a:lnTo>
                  <a:pt x="647319" y="2024782"/>
                </a:lnTo>
                <a:lnTo>
                  <a:pt x="649433" y="2022651"/>
                </a:lnTo>
                <a:lnTo>
                  <a:pt x="651700" y="2020367"/>
                </a:lnTo>
                <a:lnTo>
                  <a:pt x="685841" y="1985964"/>
                </a:lnTo>
                <a:lnTo>
                  <a:pt x="696416" y="1975155"/>
                </a:lnTo>
                <a:lnTo>
                  <a:pt x="698681" y="1972872"/>
                </a:lnTo>
                <a:lnTo>
                  <a:pt x="708803" y="1962825"/>
                </a:lnTo>
                <a:cubicBezTo>
                  <a:pt x="708803" y="1962825"/>
                  <a:pt x="708953" y="1962825"/>
                  <a:pt x="708953" y="1962825"/>
                </a:cubicBezTo>
                <a:lnTo>
                  <a:pt x="714845" y="1956736"/>
                </a:lnTo>
                <a:lnTo>
                  <a:pt x="719528" y="1951865"/>
                </a:lnTo>
                <a:lnTo>
                  <a:pt x="744001" y="1927356"/>
                </a:lnTo>
                <a:lnTo>
                  <a:pt x="758050" y="1913046"/>
                </a:lnTo>
                <a:lnTo>
                  <a:pt x="771797" y="1899194"/>
                </a:lnTo>
                <a:lnTo>
                  <a:pt x="782674" y="1888386"/>
                </a:lnTo>
                <a:lnTo>
                  <a:pt x="788566" y="1882297"/>
                </a:lnTo>
                <a:lnTo>
                  <a:pt x="794759" y="1876207"/>
                </a:lnTo>
                <a:lnTo>
                  <a:pt x="803672" y="1867226"/>
                </a:lnTo>
                <a:lnTo>
                  <a:pt x="814700" y="1856113"/>
                </a:lnTo>
                <a:lnTo>
                  <a:pt x="1587555" y="1077468"/>
                </a:lnTo>
                <a:lnTo>
                  <a:pt x="2656649" y="304"/>
                </a:lnTo>
                <a:lnTo>
                  <a:pt x="2656952" y="0"/>
                </a:lnTo>
                <a:close/>
              </a:path>
            </a:pathLst>
          </a:custGeom>
          <a:solidFill>
            <a:schemeClr val="bg2"/>
          </a:solidFill>
          <a:ln w="14405" cap="flat">
            <a:noFill/>
            <a:prstDash val="solid"/>
            <a:miter/>
          </a:ln>
        </p:spPr>
        <p:txBody>
          <a:bodyPr rtlCol="0" anchor="ctr"/>
          <a:lstStyle/>
          <a:p>
            <a:endParaRPr lang="en-IN"/>
          </a:p>
        </p:txBody>
      </p:sp>
      <p:sp>
        <p:nvSpPr>
          <p:cNvPr id="51" name="Freeform: Shape 50">
            <a:extLst>
              <a:ext uri="{FF2B5EF4-FFF2-40B4-BE49-F238E27FC236}">
                <a16:creationId xmlns:a16="http://schemas.microsoft.com/office/drawing/2014/main" id="{886F003C-E566-6201-7E7E-5D8E3A4944EA}"/>
              </a:ext>
            </a:extLst>
          </p:cNvPr>
          <p:cNvSpPr/>
          <p:nvPr userDrawn="1"/>
        </p:nvSpPr>
        <p:spPr>
          <a:xfrm rot="5400000" flipV="1">
            <a:off x="6273961" y="4611326"/>
            <a:ext cx="2068713" cy="2424635"/>
          </a:xfrm>
          <a:custGeom>
            <a:avLst/>
            <a:gdLst>
              <a:gd name="connsiteX0" fmla="*/ 2656952 w 2656951"/>
              <a:gd name="connsiteY0" fmla="*/ 0 h 3114079"/>
              <a:gd name="connsiteX1" fmla="*/ 2656952 w 2656951"/>
              <a:gd name="connsiteY1" fmla="*/ 874092 h 3114079"/>
              <a:gd name="connsiteX2" fmla="*/ 2656649 w 2656951"/>
              <a:gd name="connsiteY2" fmla="*/ 874396 h 3114079"/>
              <a:gd name="connsiteX3" fmla="*/ 1587555 w 2656951"/>
              <a:gd name="connsiteY3" fmla="*/ 1951712 h 3114079"/>
              <a:gd name="connsiteX4" fmla="*/ 1244634 w 2656951"/>
              <a:gd name="connsiteY4" fmla="*/ 2297270 h 3114079"/>
              <a:gd name="connsiteX5" fmla="*/ 1225449 w 2656951"/>
              <a:gd name="connsiteY5" fmla="*/ 2316603 h 3114079"/>
              <a:gd name="connsiteX6" fmla="*/ 1207019 w 2656951"/>
              <a:gd name="connsiteY6" fmla="*/ 2335174 h 3114079"/>
              <a:gd name="connsiteX7" fmla="*/ 1186776 w 2656951"/>
              <a:gd name="connsiteY7" fmla="*/ 2355573 h 3114079"/>
              <a:gd name="connsiteX8" fmla="*/ 1168799 w 2656951"/>
              <a:gd name="connsiteY8" fmla="*/ 2373688 h 3114079"/>
              <a:gd name="connsiteX9" fmla="*/ 1154146 w 2656951"/>
              <a:gd name="connsiteY9" fmla="*/ 2388454 h 3114079"/>
              <a:gd name="connsiteX10" fmla="*/ 1139946 w 2656951"/>
              <a:gd name="connsiteY10" fmla="*/ 2402764 h 3114079"/>
              <a:gd name="connsiteX11" fmla="*/ 1134809 w 2656951"/>
              <a:gd name="connsiteY11" fmla="*/ 2407939 h 3114079"/>
              <a:gd name="connsiteX12" fmla="*/ 1132090 w 2656951"/>
              <a:gd name="connsiteY12" fmla="*/ 2410679 h 3114079"/>
              <a:gd name="connsiteX13" fmla="*/ 1130881 w 2656951"/>
              <a:gd name="connsiteY13" fmla="*/ 2411897 h 3114079"/>
              <a:gd name="connsiteX14" fmla="*/ 1128767 w 2656951"/>
              <a:gd name="connsiteY14" fmla="*/ 2414028 h 3114079"/>
              <a:gd name="connsiteX15" fmla="*/ 1119702 w 2656951"/>
              <a:gd name="connsiteY15" fmla="*/ 2423162 h 3114079"/>
              <a:gd name="connsiteX16" fmla="*/ 1117134 w 2656951"/>
              <a:gd name="connsiteY16" fmla="*/ 2425750 h 3114079"/>
              <a:gd name="connsiteX17" fmla="*/ 1105352 w 2656951"/>
              <a:gd name="connsiteY17" fmla="*/ 2437624 h 3114079"/>
              <a:gd name="connsiteX18" fmla="*/ 1085712 w 2656951"/>
              <a:gd name="connsiteY18" fmla="*/ 2457413 h 3114079"/>
              <a:gd name="connsiteX19" fmla="*/ 1054140 w 2656951"/>
              <a:gd name="connsiteY19" fmla="*/ 2489229 h 3114079"/>
              <a:gd name="connsiteX20" fmla="*/ 908210 w 2656951"/>
              <a:gd name="connsiteY20" fmla="*/ 2636281 h 3114079"/>
              <a:gd name="connsiteX21" fmla="*/ 523747 w 2656951"/>
              <a:gd name="connsiteY21" fmla="*/ 3023701 h 3114079"/>
              <a:gd name="connsiteX22" fmla="*/ 419360 w 2656951"/>
              <a:gd name="connsiteY22" fmla="*/ 3092660 h 3114079"/>
              <a:gd name="connsiteX23" fmla="*/ 189135 w 2656951"/>
              <a:gd name="connsiteY23" fmla="*/ 3090376 h 3114079"/>
              <a:gd name="connsiteX24" fmla="*/ 188078 w 2656951"/>
              <a:gd name="connsiteY24" fmla="*/ 3089919 h 3114079"/>
              <a:gd name="connsiteX25" fmla="*/ 118436 w 2656951"/>
              <a:gd name="connsiteY25" fmla="*/ 3048818 h 3114079"/>
              <a:gd name="connsiteX26" fmla="*/ 118134 w 2656951"/>
              <a:gd name="connsiteY26" fmla="*/ 3048514 h 3114079"/>
              <a:gd name="connsiteX27" fmla="*/ 117530 w 2656951"/>
              <a:gd name="connsiteY27" fmla="*/ 3048057 h 3114079"/>
              <a:gd name="connsiteX28" fmla="*/ 89733 w 2656951"/>
              <a:gd name="connsiteY28" fmla="*/ 3023396 h 3114079"/>
              <a:gd name="connsiteX29" fmla="*/ 5892 w 2656951"/>
              <a:gd name="connsiteY29" fmla="*/ 2864927 h 3114079"/>
              <a:gd name="connsiteX30" fmla="*/ 5892 w 2656951"/>
              <a:gd name="connsiteY30" fmla="*/ 2864318 h 3114079"/>
              <a:gd name="connsiteX31" fmla="*/ 0 w 2656951"/>
              <a:gd name="connsiteY31" fmla="*/ 2804949 h 3114079"/>
              <a:gd name="connsiteX32" fmla="*/ 0 w 2656951"/>
              <a:gd name="connsiteY32" fmla="*/ 2804949 h 3114079"/>
              <a:gd name="connsiteX33" fmla="*/ 5137 w 2656951"/>
              <a:gd name="connsiteY33" fmla="*/ 2748929 h 3114079"/>
              <a:gd name="connsiteX34" fmla="*/ 7705 w 2656951"/>
              <a:gd name="connsiteY34" fmla="*/ 2736142 h 3114079"/>
              <a:gd name="connsiteX35" fmla="*/ 9215 w 2656951"/>
              <a:gd name="connsiteY35" fmla="*/ 2729748 h 3114079"/>
              <a:gd name="connsiteX36" fmla="*/ 10424 w 2656951"/>
              <a:gd name="connsiteY36" fmla="*/ 2725334 h 3114079"/>
              <a:gd name="connsiteX37" fmla="*/ 11179 w 2656951"/>
              <a:gd name="connsiteY37" fmla="*/ 2722442 h 3114079"/>
              <a:gd name="connsiteX38" fmla="*/ 37615 w 2656951"/>
              <a:gd name="connsiteY38" fmla="*/ 2656679 h 3114079"/>
              <a:gd name="connsiteX39" fmla="*/ 89733 w 2656951"/>
              <a:gd name="connsiteY39" fmla="*/ 2586503 h 3114079"/>
              <a:gd name="connsiteX40" fmla="*/ 474348 w 2656951"/>
              <a:gd name="connsiteY40" fmla="*/ 2199083 h 3114079"/>
              <a:gd name="connsiteX41" fmla="*/ 582965 w 2656951"/>
              <a:gd name="connsiteY41" fmla="*/ 2089631 h 3114079"/>
              <a:gd name="connsiteX42" fmla="*/ 603812 w 2656951"/>
              <a:gd name="connsiteY42" fmla="*/ 2068471 h 3114079"/>
              <a:gd name="connsiteX43" fmla="*/ 614387 w 2656951"/>
              <a:gd name="connsiteY43" fmla="*/ 2057815 h 3114079"/>
              <a:gd name="connsiteX44" fmla="*/ 620429 w 2656951"/>
              <a:gd name="connsiteY44" fmla="*/ 2051878 h 3114079"/>
              <a:gd name="connsiteX45" fmla="*/ 625566 w 2656951"/>
              <a:gd name="connsiteY45" fmla="*/ 2046550 h 3114079"/>
              <a:gd name="connsiteX46" fmla="*/ 626472 w 2656951"/>
              <a:gd name="connsiteY46" fmla="*/ 2045789 h 3114079"/>
              <a:gd name="connsiteX47" fmla="*/ 634478 w 2656951"/>
              <a:gd name="connsiteY47" fmla="*/ 2037569 h 3114079"/>
              <a:gd name="connsiteX48" fmla="*/ 643542 w 2656951"/>
              <a:gd name="connsiteY48" fmla="*/ 2028435 h 3114079"/>
              <a:gd name="connsiteX49" fmla="*/ 644449 w 2656951"/>
              <a:gd name="connsiteY49" fmla="*/ 2027674 h 3114079"/>
              <a:gd name="connsiteX50" fmla="*/ 647319 w 2656951"/>
              <a:gd name="connsiteY50" fmla="*/ 2024782 h 3114079"/>
              <a:gd name="connsiteX51" fmla="*/ 649433 w 2656951"/>
              <a:gd name="connsiteY51" fmla="*/ 2022651 h 3114079"/>
              <a:gd name="connsiteX52" fmla="*/ 651700 w 2656951"/>
              <a:gd name="connsiteY52" fmla="*/ 2020367 h 3114079"/>
              <a:gd name="connsiteX53" fmla="*/ 685841 w 2656951"/>
              <a:gd name="connsiteY53" fmla="*/ 1985964 h 3114079"/>
              <a:gd name="connsiteX54" fmla="*/ 696416 w 2656951"/>
              <a:gd name="connsiteY54" fmla="*/ 1975155 h 3114079"/>
              <a:gd name="connsiteX55" fmla="*/ 698681 w 2656951"/>
              <a:gd name="connsiteY55" fmla="*/ 1972872 h 3114079"/>
              <a:gd name="connsiteX56" fmla="*/ 708803 w 2656951"/>
              <a:gd name="connsiteY56" fmla="*/ 1962825 h 3114079"/>
              <a:gd name="connsiteX57" fmla="*/ 708953 w 2656951"/>
              <a:gd name="connsiteY57" fmla="*/ 1962825 h 3114079"/>
              <a:gd name="connsiteX58" fmla="*/ 714845 w 2656951"/>
              <a:gd name="connsiteY58" fmla="*/ 1956736 h 3114079"/>
              <a:gd name="connsiteX59" fmla="*/ 719528 w 2656951"/>
              <a:gd name="connsiteY59" fmla="*/ 1951865 h 3114079"/>
              <a:gd name="connsiteX60" fmla="*/ 744001 w 2656951"/>
              <a:gd name="connsiteY60" fmla="*/ 1927356 h 3114079"/>
              <a:gd name="connsiteX61" fmla="*/ 758050 w 2656951"/>
              <a:gd name="connsiteY61" fmla="*/ 1913046 h 3114079"/>
              <a:gd name="connsiteX62" fmla="*/ 771797 w 2656951"/>
              <a:gd name="connsiteY62" fmla="*/ 1899194 h 3114079"/>
              <a:gd name="connsiteX63" fmla="*/ 782674 w 2656951"/>
              <a:gd name="connsiteY63" fmla="*/ 1888386 h 3114079"/>
              <a:gd name="connsiteX64" fmla="*/ 788566 w 2656951"/>
              <a:gd name="connsiteY64" fmla="*/ 1882297 h 3114079"/>
              <a:gd name="connsiteX65" fmla="*/ 794759 w 2656951"/>
              <a:gd name="connsiteY65" fmla="*/ 1876207 h 3114079"/>
              <a:gd name="connsiteX66" fmla="*/ 803672 w 2656951"/>
              <a:gd name="connsiteY66" fmla="*/ 1867226 h 3114079"/>
              <a:gd name="connsiteX67" fmla="*/ 814700 w 2656951"/>
              <a:gd name="connsiteY67" fmla="*/ 1856113 h 3114079"/>
              <a:gd name="connsiteX68" fmla="*/ 1587555 w 2656951"/>
              <a:gd name="connsiteY68" fmla="*/ 1077468 h 3114079"/>
              <a:gd name="connsiteX69" fmla="*/ 2656649 w 2656951"/>
              <a:gd name="connsiteY69" fmla="*/ 304 h 3114079"/>
              <a:gd name="connsiteX70" fmla="*/ 2656952 w 2656951"/>
              <a:gd name="connsiteY70" fmla="*/ 0 h 3114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656951" h="3114079">
                <a:moveTo>
                  <a:pt x="2656952" y="0"/>
                </a:moveTo>
                <a:lnTo>
                  <a:pt x="2656952" y="874092"/>
                </a:lnTo>
                <a:lnTo>
                  <a:pt x="2656649" y="874396"/>
                </a:lnTo>
                <a:lnTo>
                  <a:pt x="1587555" y="1951712"/>
                </a:lnTo>
                <a:lnTo>
                  <a:pt x="1244634" y="2297270"/>
                </a:lnTo>
                <a:lnTo>
                  <a:pt x="1225449" y="2316603"/>
                </a:lnTo>
                <a:lnTo>
                  <a:pt x="1207019" y="2335174"/>
                </a:lnTo>
                <a:lnTo>
                  <a:pt x="1186776" y="2355573"/>
                </a:lnTo>
                <a:lnTo>
                  <a:pt x="1168799" y="2373688"/>
                </a:lnTo>
                <a:lnTo>
                  <a:pt x="1154146" y="2388454"/>
                </a:lnTo>
                <a:lnTo>
                  <a:pt x="1139946" y="2402764"/>
                </a:lnTo>
                <a:lnTo>
                  <a:pt x="1134809" y="2407939"/>
                </a:lnTo>
                <a:lnTo>
                  <a:pt x="1132090" y="2410679"/>
                </a:lnTo>
                <a:lnTo>
                  <a:pt x="1130881" y="2411897"/>
                </a:lnTo>
                <a:lnTo>
                  <a:pt x="1128767" y="2414028"/>
                </a:lnTo>
                <a:lnTo>
                  <a:pt x="1119702" y="2423162"/>
                </a:lnTo>
                <a:lnTo>
                  <a:pt x="1117134" y="2425750"/>
                </a:lnTo>
                <a:lnTo>
                  <a:pt x="1105352" y="2437624"/>
                </a:lnTo>
                <a:lnTo>
                  <a:pt x="1085712" y="2457413"/>
                </a:lnTo>
                <a:lnTo>
                  <a:pt x="1054140" y="2489229"/>
                </a:lnTo>
                <a:lnTo>
                  <a:pt x="908210" y="2636281"/>
                </a:lnTo>
                <a:lnTo>
                  <a:pt x="523747" y="3023701"/>
                </a:lnTo>
                <a:cubicBezTo>
                  <a:pt x="492929" y="3054603"/>
                  <a:pt x="457429" y="3077589"/>
                  <a:pt x="419360" y="3092660"/>
                </a:cubicBezTo>
                <a:cubicBezTo>
                  <a:pt x="345488" y="3121887"/>
                  <a:pt x="262704" y="3121278"/>
                  <a:pt x="189135" y="3090376"/>
                </a:cubicBezTo>
                <a:cubicBezTo>
                  <a:pt x="188833" y="3090376"/>
                  <a:pt x="188380" y="3090224"/>
                  <a:pt x="188078" y="3089919"/>
                </a:cubicBezTo>
                <a:cubicBezTo>
                  <a:pt x="163605" y="3079720"/>
                  <a:pt x="140039" y="3065868"/>
                  <a:pt x="118436" y="3048818"/>
                </a:cubicBezTo>
                <a:cubicBezTo>
                  <a:pt x="118285" y="3048818"/>
                  <a:pt x="118134" y="3048514"/>
                  <a:pt x="118134" y="3048514"/>
                </a:cubicBezTo>
                <a:cubicBezTo>
                  <a:pt x="117983" y="3048362"/>
                  <a:pt x="117681" y="3048209"/>
                  <a:pt x="117530" y="3048057"/>
                </a:cubicBezTo>
                <a:cubicBezTo>
                  <a:pt x="107861" y="3040598"/>
                  <a:pt x="98647" y="3032377"/>
                  <a:pt x="89733" y="3023396"/>
                </a:cubicBezTo>
                <a:cubicBezTo>
                  <a:pt x="45169" y="2978489"/>
                  <a:pt x="17222" y="2923078"/>
                  <a:pt x="5892" y="2864927"/>
                </a:cubicBezTo>
                <a:lnTo>
                  <a:pt x="5892" y="2864318"/>
                </a:lnTo>
                <a:cubicBezTo>
                  <a:pt x="1964" y="2844833"/>
                  <a:pt x="0" y="2824739"/>
                  <a:pt x="0" y="2804949"/>
                </a:cubicBezTo>
                <a:lnTo>
                  <a:pt x="0" y="2804949"/>
                </a:lnTo>
                <a:cubicBezTo>
                  <a:pt x="0" y="2786073"/>
                  <a:pt x="1662" y="2767349"/>
                  <a:pt x="5137" y="2748929"/>
                </a:cubicBezTo>
                <a:cubicBezTo>
                  <a:pt x="5892" y="2744515"/>
                  <a:pt x="6647" y="2740405"/>
                  <a:pt x="7705" y="2736142"/>
                </a:cubicBezTo>
                <a:cubicBezTo>
                  <a:pt x="8158" y="2734011"/>
                  <a:pt x="8611" y="2731880"/>
                  <a:pt x="9215" y="2729748"/>
                </a:cubicBezTo>
                <a:cubicBezTo>
                  <a:pt x="9517" y="2728227"/>
                  <a:pt x="9971" y="2726857"/>
                  <a:pt x="10424" y="2725334"/>
                </a:cubicBezTo>
                <a:cubicBezTo>
                  <a:pt x="10575" y="2724421"/>
                  <a:pt x="10877" y="2723355"/>
                  <a:pt x="11179" y="2722442"/>
                </a:cubicBezTo>
                <a:cubicBezTo>
                  <a:pt x="17222" y="2699760"/>
                  <a:pt x="26135" y="2677687"/>
                  <a:pt x="37615" y="2656679"/>
                </a:cubicBezTo>
                <a:cubicBezTo>
                  <a:pt x="51212" y="2631409"/>
                  <a:pt x="68585" y="2607814"/>
                  <a:pt x="89733" y="2586503"/>
                </a:cubicBezTo>
                <a:lnTo>
                  <a:pt x="474348" y="2199083"/>
                </a:lnTo>
                <a:lnTo>
                  <a:pt x="582965" y="2089631"/>
                </a:lnTo>
                <a:lnTo>
                  <a:pt x="603812" y="2068471"/>
                </a:lnTo>
                <a:lnTo>
                  <a:pt x="614387" y="2057815"/>
                </a:lnTo>
                <a:lnTo>
                  <a:pt x="620429" y="2051878"/>
                </a:lnTo>
                <a:lnTo>
                  <a:pt x="625566" y="2046550"/>
                </a:lnTo>
                <a:lnTo>
                  <a:pt x="626472" y="2045789"/>
                </a:lnTo>
                <a:lnTo>
                  <a:pt x="634478" y="2037569"/>
                </a:lnTo>
                <a:lnTo>
                  <a:pt x="643542" y="2028435"/>
                </a:lnTo>
                <a:lnTo>
                  <a:pt x="644449" y="2027674"/>
                </a:lnTo>
                <a:lnTo>
                  <a:pt x="647319" y="2024782"/>
                </a:lnTo>
                <a:lnTo>
                  <a:pt x="649433" y="2022651"/>
                </a:lnTo>
                <a:lnTo>
                  <a:pt x="651700" y="2020367"/>
                </a:lnTo>
                <a:lnTo>
                  <a:pt x="685841" y="1985964"/>
                </a:lnTo>
                <a:lnTo>
                  <a:pt x="696416" y="1975155"/>
                </a:lnTo>
                <a:lnTo>
                  <a:pt x="698681" y="1972872"/>
                </a:lnTo>
                <a:lnTo>
                  <a:pt x="708803" y="1962825"/>
                </a:lnTo>
                <a:cubicBezTo>
                  <a:pt x="708803" y="1962825"/>
                  <a:pt x="708953" y="1962825"/>
                  <a:pt x="708953" y="1962825"/>
                </a:cubicBezTo>
                <a:lnTo>
                  <a:pt x="714845" y="1956736"/>
                </a:lnTo>
                <a:lnTo>
                  <a:pt x="719528" y="1951865"/>
                </a:lnTo>
                <a:lnTo>
                  <a:pt x="744001" y="1927356"/>
                </a:lnTo>
                <a:lnTo>
                  <a:pt x="758050" y="1913046"/>
                </a:lnTo>
                <a:lnTo>
                  <a:pt x="771797" y="1899194"/>
                </a:lnTo>
                <a:lnTo>
                  <a:pt x="782674" y="1888386"/>
                </a:lnTo>
                <a:lnTo>
                  <a:pt x="788566" y="1882297"/>
                </a:lnTo>
                <a:lnTo>
                  <a:pt x="794759" y="1876207"/>
                </a:lnTo>
                <a:lnTo>
                  <a:pt x="803672" y="1867226"/>
                </a:lnTo>
                <a:lnTo>
                  <a:pt x="814700" y="1856113"/>
                </a:lnTo>
                <a:lnTo>
                  <a:pt x="1587555" y="1077468"/>
                </a:lnTo>
                <a:lnTo>
                  <a:pt x="2656649" y="304"/>
                </a:lnTo>
                <a:lnTo>
                  <a:pt x="2656952" y="0"/>
                </a:lnTo>
                <a:close/>
              </a:path>
            </a:pathLst>
          </a:custGeom>
          <a:solidFill>
            <a:schemeClr val="bg2">
              <a:lumMod val="60000"/>
              <a:lumOff val="40000"/>
            </a:schemeClr>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2" name="Freeform: Shape 51">
            <a:extLst>
              <a:ext uri="{FF2B5EF4-FFF2-40B4-BE49-F238E27FC236}">
                <a16:creationId xmlns:a16="http://schemas.microsoft.com/office/drawing/2014/main" id="{8ED73014-F8D1-C21C-E092-95F97B3A6C3D}"/>
              </a:ext>
            </a:extLst>
          </p:cNvPr>
          <p:cNvSpPr/>
          <p:nvPr userDrawn="1"/>
        </p:nvSpPr>
        <p:spPr>
          <a:xfrm>
            <a:off x="9825040" y="0"/>
            <a:ext cx="2351068" cy="2068713"/>
          </a:xfrm>
          <a:custGeom>
            <a:avLst/>
            <a:gdLst>
              <a:gd name="connsiteX0" fmla="*/ 3421800 w 3421799"/>
              <a:gd name="connsiteY0" fmla="*/ 0 h 3010853"/>
              <a:gd name="connsiteX1" fmla="*/ 3218616 w 3421799"/>
              <a:gd name="connsiteY1" fmla="*/ 204746 h 3010853"/>
              <a:gd name="connsiteX2" fmla="*/ 1644204 w 3421799"/>
              <a:gd name="connsiteY2" fmla="*/ 1791112 h 3010853"/>
              <a:gd name="connsiteX3" fmla="*/ 1532868 w 3421799"/>
              <a:gd name="connsiteY3" fmla="*/ 1903304 h 3010853"/>
              <a:gd name="connsiteX4" fmla="*/ 1527279 w 3421799"/>
              <a:gd name="connsiteY4" fmla="*/ 1908784 h 3010853"/>
              <a:gd name="connsiteX5" fmla="*/ 1525466 w 3421799"/>
              <a:gd name="connsiteY5" fmla="*/ 1910763 h 3010853"/>
              <a:gd name="connsiteX6" fmla="*/ 1478182 w 3421799"/>
              <a:gd name="connsiteY6" fmla="*/ 1958411 h 3010853"/>
              <a:gd name="connsiteX7" fmla="*/ 1458544 w 3421799"/>
              <a:gd name="connsiteY7" fmla="*/ 1978048 h 3010853"/>
              <a:gd name="connsiteX8" fmla="*/ 1441020 w 3421799"/>
              <a:gd name="connsiteY8" fmla="*/ 1995858 h 3010853"/>
              <a:gd name="connsiteX9" fmla="*/ 1437394 w 3421799"/>
              <a:gd name="connsiteY9" fmla="*/ 1999512 h 3010853"/>
              <a:gd name="connsiteX10" fmla="*/ 1434222 w 3421799"/>
              <a:gd name="connsiteY10" fmla="*/ 2002709 h 3010853"/>
              <a:gd name="connsiteX11" fmla="*/ 1432560 w 3421799"/>
              <a:gd name="connsiteY11" fmla="*/ 2004383 h 3010853"/>
              <a:gd name="connsiteX12" fmla="*/ 1430294 w 3421799"/>
              <a:gd name="connsiteY12" fmla="*/ 2006667 h 3010853"/>
              <a:gd name="connsiteX13" fmla="*/ 1418813 w 3421799"/>
              <a:gd name="connsiteY13" fmla="*/ 2018084 h 3010853"/>
              <a:gd name="connsiteX14" fmla="*/ 1415943 w 3421799"/>
              <a:gd name="connsiteY14" fmla="*/ 2020976 h 3010853"/>
              <a:gd name="connsiteX15" fmla="*/ 1405217 w 3421799"/>
              <a:gd name="connsiteY15" fmla="*/ 2031937 h 3010853"/>
              <a:gd name="connsiteX16" fmla="*/ 1402649 w 3421799"/>
              <a:gd name="connsiteY16" fmla="*/ 2034524 h 3010853"/>
              <a:gd name="connsiteX17" fmla="*/ 1380140 w 3421799"/>
              <a:gd name="connsiteY17" fmla="*/ 2057206 h 3010853"/>
              <a:gd name="connsiteX18" fmla="*/ 1346754 w 3421799"/>
              <a:gd name="connsiteY18" fmla="*/ 2090849 h 3010853"/>
              <a:gd name="connsiteX19" fmla="*/ 1183905 w 3421799"/>
              <a:gd name="connsiteY19" fmla="*/ 2254798 h 3010853"/>
              <a:gd name="connsiteX20" fmla="*/ 523444 w 3421799"/>
              <a:gd name="connsiteY20" fmla="*/ 2920338 h 3010853"/>
              <a:gd name="connsiteX21" fmla="*/ 508791 w 3421799"/>
              <a:gd name="connsiteY21" fmla="*/ 2934038 h 3010853"/>
              <a:gd name="connsiteX22" fmla="*/ 454406 w 3421799"/>
              <a:gd name="connsiteY22" fmla="*/ 2972552 h 3010853"/>
              <a:gd name="connsiteX23" fmla="*/ 391261 w 3421799"/>
              <a:gd name="connsiteY23" fmla="*/ 2998887 h 3010853"/>
              <a:gd name="connsiteX24" fmla="*/ 300168 w 3421799"/>
              <a:gd name="connsiteY24" fmla="*/ 3010761 h 3010853"/>
              <a:gd name="connsiteX25" fmla="*/ 263308 w 3421799"/>
              <a:gd name="connsiteY25" fmla="*/ 3007869 h 3010853"/>
              <a:gd name="connsiteX26" fmla="*/ 229318 w 3421799"/>
              <a:gd name="connsiteY26" fmla="*/ 3000866 h 3010853"/>
              <a:gd name="connsiteX27" fmla="*/ 221010 w 3421799"/>
              <a:gd name="connsiteY27" fmla="*/ 2998583 h 3010853"/>
              <a:gd name="connsiteX28" fmla="*/ 186264 w 3421799"/>
              <a:gd name="connsiteY28" fmla="*/ 2986100 h 3010853"/>
              <a:gd name="connsiteX29" fmla="*/ 148649 w 3421799"/>
              <a:gd name="connsiteY29" fmla="*/ 2966615 h 3010853"/>
              <a:gd name="connsiteX30" fmla="*/ 108617 w 3421799"/>
              <a:gd name="connsiteY30" fmla="*/ 2937540 h 3010853"/>
              <a:gd name="connsiteX31" fmla="*/ 89885 w 3421799"/>
              <a:gd name="connsiteY31" fmla="*/ 2920186 h 3010853"/>
              <a:gd name="connsiteX32" fmla="*/ 54837 w 3421799"/>
              <a:gd name="connsiteY32" fmla="*/ 2877714 h 3010853"/>
              <a:gd name="connsiteX33" fmla="*/ 52420 w 3421799"/>
              <a:gd name="connsiteY33" fmla="*/ 2874213 h 3010853"/>
              <a:gd name="connsiteX34" fmla="*/ 42450 w 3421799"/>
              <a:gd name="connsiteY34" fmla="*/ 2858381 h 3010853"/>
              <a:gd name="connsiteX35" fmla="*/ 27947 w 3421799"/>
              <a:gd name="connsiteY35" fmla="*/ 2830371 h 3010853"/>
              <a:gd name="connsiteX36" fmla="*/ 22811 w 3421799"/>
              <a:gd name="connsiteY36" fmla="*/ 2818650 h 3010853"/>
              <a:gd name="connsiteX37" fmla="*/ 4683 w 3421799"/>
              <a:gd name="connsiteY37" fmla="*/ 2755475 h 3010853"/>
              <a:gd name="connsiteX38" fmla="*/ 0 w 3421799"/>
              <a:gd name="connsiteY38" fmla="*/ 2701739 h 3010853"/>
              <a:gd name="connsiteX39" fmla="*/ 89885 w 3421799"/>
              <a:gd name="connsiteY39" fmla="*/ 2483444 h 3010853"/>
              <a:gd name="connsiteX40" fmla="*/ 2539119 w 3421799"/>
              <a:gd name="connsiteY40" fmla="*/ 15223 h 3010853"/>
              <a:gd name="connsiteX41" fmla="*/ 2539573 w 3421799"/>
              <a:gd name="connsiteY41" fmla="*/ 14766 h 3010853"/>
              <a:gd name="connsiteX42" fmla="*/ 2554226 w 3421799"/>
              <a:gd name="connsiteY42" fmla="*/ 0 h 3010853"/>
              <a:gd name="connsiteX43" fmla="*/ 3421800 w 3421799"/>
              <a:gd name="connsiteY43" fmla="*/ 0 h 301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21799" h="3010853">
                <a:moveTo>
                  <a:pt x="3421800" y="0"/>
                </a:moveTo>
                <a:lnTo>
                  <a:pt x="3218616" y="204746"/>
                </a:lnTo>
                <a:lnTo>
                  <a:pt x="1644204" y="1791112"/>
                </a:lnTo>
                <a:lnTo>
                  <a:pt x="1532868" y="1903304"/>
                </a:lnTo>
                <a:lnTo>
                  <a:pt x="1527279" y="1908784"/>
                </a:lnTo>
                <a:lnTo>
                  <a:pt x="1525466" y="1910763"/>
                </a:lnTo>
                <a:lnTo>
                  <a:pt x="1478182" y="1958411"/>
                </a:lnTo>
                <a:lnTo>
                  <a:pt x="1458544" y="1978048"/>
                </a:lnTo>
                <a:lnTo>
                  <a:pt x="1441020" y="1995858"/>
                </a:lnTo>
                <a:lnTo>
                  <a:pt x="1437394" y="1999512"/>
                </a:lnTo>
                <a:lnTo>
                  <a:pt x="1434222" y="2002709"/>
                </a:lnTo>
                <a:lnTo>
                  <a:pt x="1432560" y="2004383"/>
                </a:lnTo>
                <a:lnTo>
                  <a:pt x="1430294" y="2006667"/>
                </a:lnTo>
                <a:lnTo>
                  <a:pt x="1418813" y="2018084"/>
                </a:lnTo>
                <a:lnTo>
                  <a:pt x="1415943" y="2020976"/>
                </a:lnTo>
                <a:lnTo>
                  <a:pt x="1405217" y="2031937"/>
                </a:lnTo>
                <a:lnTo>
                  <a:pt x="1402649" y="2034524"/>
                </a:lnTo>
                <a:lnTo>
                  <a:pt x="1380140" y="2057206"/>
                </a:lnTo>
                <a:lnTo>
                  <a:pt x="1346754" y="2090849"/>
                </a:lnTo>
                <a:lnTo>
                  <a:pt x="1183905" y="2254798"/>
                </a:lnTo>
                <a:lnTo>
                  <a:pt x="523444" y="2920338"/>
                </a:lnTo>
                <a:cubicBezTo>
                  <a:pt x="518761" y="2925057"/>
                  <a:pt x="513776" y="2929776"/>
                  <a:pt x="508791" y="2934038"/>
                </a:cubicBezTo>
                <a:cubicBezTo>
                  <a:pt x="491871" y="2949109"/>
                  <a:pt x="473592" y="2962048"/>
                  <a:pt x="454406" y="2972552"/>
                </a:cubicBezTo>
                <a:cubicBezTo>
                  <a:pt x="434164" y="2983969"/>
                  <a:pt x="413014" y="2992646"/>
                  <a:pt x="391261" y="2998887"/>
                </a:cubicBezTo>
                <a:cubicBezTo>
                  <a:pt x="361501" y="3007564"/>
                  <a:pt x="330684" y="3011522"/>
                  <a:pt x="300168" y="3010761"/>
                </a:cubicBezTo>
                <a:cubicBezTo>
                  <a:pt x="287781" y="3010609"/>
                  <a:pt x="275545" y="3009543"/>
                  <a:pt x="263308" y="3007869"/>
                </a:cubicBezTo>
                <a:cubicBezTo>
                  <a:pt x="251827" y="3006194"/>
                  <a:pt x="240497" y="3003911"/>
                  <a:pt x="229318" y="3000866"/>
                </a:cubicBezTo>
                <a:cubicBezTo>
                  <a:pt x="226448" y="3000257"/>
                  <a:pt x="223729" y="2999496"/>
                  <a:pt x="221010" y="2998583"/>
                </a:cubicBezTo>
                <a:cubicBezTo>
                  <a:pt x="209226" y="2995234"/>
                  <a:pt x="197594" y="2990972"/>
                  <a:pt x="186264" y="2986100"/>
                </a:cubicBezTo>
                <a:cubicBezTo>
                  <a:pt x="173424" y="2980620"/>
                  <a:pt x="160735" y="2974074"/>
                  <a:pt x="148649" y="2966615"/>
                </a:cubicBezTo>
                <a:cubicBezTo>
                  <a:pt x="134600" y="2958090"/>
                  <a:pt x="121306" y="2948500"/>
                  <a:pt x="108617" y="2937540"/>
                </a:cubicBezTo>
                <a:cubicBezTo>
                  <a:pt x="102121" y="2932059"/>
                  <a:pt x="95927" y="2926275"/>
                  <a:pt x="89885" y="2920186"/>
                </a:cubicBezTo>
                <a:cubicBezTo>
                  <a:pt x="76741" y="2906942"/>
                  <a:pt x="64958" y="2892632"/>
                  <a:pt x="54837" y="2877714"/>
                </a:cubicBezTo>
                <a:cubicBezTo>
                  <a:pt x="53931" y="2876648"/>
                  <a:pt x="53175" y="2875431"/>
                  <a:pt x="52420" y="2874213"/>
                </a:cubicBezTo>
                <a:cubicBezTo>
                  <a:pt x="48794" y="2869037"/>
                  <a:pt x="45471" y="2863709"/>
                  <a:pt x="42450" y="2858381"/>
                </a:cubicBezTo>
                <a:cubicBezTo>
                  <a:pt x="37011" y="2849247"/>
                  <a:pt x="32177" y="2839962"/>
                  <a:pt x="27947" y="2830371"/>
                </a:cubicBezTo>
                <a:cubicBezTo>
                  <a:pt x="26134" y="2826566"/>
                  <a:pt x="24321" y="2822608"/>
                  <a:pt x="22811" y="2818650"/>
                </a:cubicBezTo>
                <a:cubicBezTo>
                  <a:pt x="14502" y="2798099"/>
                  <a:pt x="8460" y="2776939"/>
                  <a:pt x="4683" y="2755475"/>
                </a:cubicBezTo>
                <a:cubicBezTo>
                  <a:pt x="1510" y="2737664"/>
                  <a:pt x="0" y="2719702"/>
                  <a:pt x="0" y="2701739"/>
                </a:cubicBezTo>
                <a:cubicBezTo>
                  <a:pt x="0" y="2622885"/>
                  <a:pt x="30062" y="2543726"/>
                  <a:pt x="89885" y="2483444"/>
                </a:cubicBezTo>
                <a:lnTo>
                  <a:pt x="2539119" y="15223"/>
                </a:lnTo>
                <a:lnTo>
                  <a:pt x="2539573" y="14766"/>
                </a:lnTo>
                <a:lnTo>
                  <a:pt x="2554226" y="0"/>
                </a:lnTo>
                <a:lnTo>
                  <a:pt x="3421800" y="0"/>
                </a:lnTo>
                <a:close/>
              </a:path>
            </a:pathLst>
          </a:custGeom>
          <a:solidFill>
            <a:schemeClr val="bg2">
              <a:lumMod val="75000"/>
            </a:schemeClr>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3" name="Freeform: Shape 52">
            <a:extLst>
              <a:ext uri="{FF2B5EF4-FFF2-40B4-BE49-F238E27FC236}">
                <a16:creationId xmlns:a16="http://schemas.microsoft.com/office/drawing/2014/main" id="{B4A5971E-C926-7EB1-96BE-3E0F4935205C}"/>
              </a:ext>
            </a:extLst>
          </p:cNvPr>
          <p:cNvSpPr/>
          <p:nvPr userDrawn="1"/>
        </p:nvSpPr>
        <p:spPr>
          <a:xfrm>
            <a:off x="7866240" y="0"/>
            <a:ext cx="3421799" cy="3010853"/>
          </a:xfrm>
          <a:custGeom>
            <a:avLst/>
            <a:gdLst>
              <a:gd name="connsiteX0" fmla="*/ 3421800 w 3421799"/>
              <a:gd name="connsiteY0" fmla="*/ 0 h 3010853"/>
              <a:gd name="connsiteX1" fmla="*/ 3218616 w 3421799"/>
              <a:gd name="connsiteY1" fmla="*/ 204746 h 3010853"/>
              <a:gd name="connsiteX2" fmla="*/ 1644204 w 3421799"/>
              <a:gd name="connsiteY2" fmla="*/ 1791112 h 3010853"/>
              <a:gd name="connsiteX3" fmla="*/ 1532868 w 3421799"/>
              <a:gd name="connsiteY3" fmla="*/ 1903304 h 3010853"/>
              <a:gd name="connsiteX4" fmla="*/ 1527279 w 3421799"/>
              <a:gd name="connsiteY4" fmla="*/ 1908784 h 3010853"/>
              <a:gd name="connsiteX5" fmla="*/ 1525466 w 3421799"/>
              <a:gd name="connsiteY5" fmla="*/ 1910763 h 3010853"/>
              <a:gd name="connsiteX6" fmla="*/ 1478182 w 3421799"/>
              <a:gd name="connsiteY6" fmla="*/ 1958411 h 3010853"/>
              <a:gd name="connsiteX7" fmla="*/ 1458544 w 3421799"/>
              <a:gd name="connsiteY7" fmla="*/ 1978048 h 3010853"/>
              <a:gd name="connsiteX8" fmla="*/ 1441020 w 3421799"/>
              <a:gd name="connsiteY8" fmla="*/ 1995858 h 3010853"/>
              <a:gd name="connsiteX9" fmla="*/ 1437394 w 3421799"/>
              <a:gd name="connsiteY9" fmla="*/ 1999512 h 3010853"/>
              <a:gd name="connsiteX10" fmla="*/ 1434222 w 3421799"/>
              <a:gd name="connsiteY10" fmla="*/ 2002709 h 3010853"/>
              <a:gd name="connsiteX11" fmla="*/ 1432560 w 3421799"/>
              <a:gd name="connsiteY11" fmla="*/ 2004383 h 3010853"/>
              <a:gd name="connsiteX12" fmla="*/ 1430294 w 3421799"/>
              <a:gd name="connsiteY12" fmla="*/ 2006667 h 3010853"/>
              <a:gd name="connsiteX13" fmla="*/ 1418813 w 3421799"/>
              <a:gd name="connsiteY13" fmla="*/ 2018084 h 3010853"/>
              <a:gd name="connsiteX14" fmla="*/ 1415943 w 3421799"/>
              <a:gd name="connsiteY14" fmla="*/ 2020976 h 3010853"/>
              <a:gd name="connsiteX15" fmla="*/ 1405217 w 3421799"/>
              <a:gd name="connsiteY15" fmla="*/ 2031937 h 3010853"/>
              <a:gd name="connsiteX16" fmla="*/ 1402649 w 3421799"/>
              <a:gd name="connsiteY16" fmla="*/ 2034524 h 3010853"/>
              <a:gd name="connsiteX17" fmla="*/ 1380140 w 3421799"/>
              <a:gd name="connsiteY17" fmla="*/ 2057206 h 3010853"/>
              <a:gd name="connsiteX18" fmla="*/ 1346754 w 3421799"/>
              <a:gd name="connsiteY18" fmla="*/ 2090849 h 3010853"/>
              <a:gd name="connsiteX19" fmla="*/ 1183905 w 3421799"/>
              <a:gd name="connsiteY19" fmla="*/ 2254798 h 3010853"/>
              <a:gd name="connsiteX20" fmla="*/ 523444 w 3421799"/>
              <a:gd name="connsiteY20" fmla="*/ 2920338 h 3010853"/>
              <a:gd name="connsiteX21" fmla="*/ 508791 w 3421799"/>
              <a:gd name="connsiteY21" fmla="*/ 2934038 h 3010853"/>
              <a:gd name="connsiteX22" fmla="*/ 454406 w 3421799"/>
              <a:gd name="connsiteY22" fmla="*/ 2972552 h 3010853"/>
              <a:gd name="connsiteX23" fmla="*/ 391261 w 3421799"/>
              <a:gd name="connsiteY23" fmla="*/ 2998887 h 3010853"/>
              <a:gd name="connsiteX24" fmla="*/ 300168 w 3421799"/>
              <a:gd name="connsiteY24" fmla="*/ 3010761 h 3010853"/>
              <a:gd name="connsiteX25" fmla="*/ 263308 w 3421799"/>
              <a:gd name="connsiteY25" fmla="*/ 3007869 h 3010853"/>
              <a:gd name="connsiteX26" fmla="*/ 229318 w 3421799"/>
              <a:gd name="connsiteY26" fmla="*/ 3000866 h 3010853"/>
              <a:gd name="connsiteX27" fmla="*/ 221010 w 3421799"/>
              <a:gd name="connsiteY27" fmla="*/ 2998583 h 3010853"/>
              <a:gd name="connsiteX28" fmla="*/ 186264 w 3421799"/>
              <a:gd name="connsiteY28" fmla="*/ 2986100 h 3010853"/>
              <a:gd name="connsiteX29" fmla="*/ 148649 w 3421799"/>
              <a:gd name="connsiteY29" fmla="*/ 2966615 h 3010853"/>
              <a:gd name="connsiteX30" fmla="*/ 108617 w 3421799"/>
              <a:gd name="connsiteY30" fmla="*/ 2937540 h 3010853"/>
              <a:gd name="connsiteX31" fmla="*/ 89885 w 3421799"/>
              <a:gd name="connsiteY31" fmla="*/ 2920186 h 3010853"/>
              <a:gd name="connsiteX32" fmla="*/ 54837 w 3421799"/>
              <a:gd name="connsiteY32" fmla="*/ 2877714 h 3010853"/>
              <a:gd name="connsiteX33" fmla="*/ 52420 w 3421799"/>
              <a:gd name="connsiteY33" fmla="*/ 2874213 h 3010853"/>
              <a:gd name="connsiteX34" fmla="*/ 42450 w 3421799"/>
              <a:gd name="connsiteY34" fmla="*/ 2858381 h 3010853"/>
              <a:gd name="connsiteX35" fmla="*/ 27947 w 3421799"/>
              <a:gd name="connsiteY35" fmla="*/ 2830371 h 3010853"/>
              <a:gd name="connsiteX36" fmla="*/ 22811 w 3421799"/>
              <a:gd name="connsiteY36" fmla="*/ 2818650 h 3010853"/>
              <a:gd name="connsiteX37" fmla="*/ 4683 w 3421799"/>
              <a:gd name="connsiteY37" fmla="*/ 2755475 h 3010853"/>
              <a:gd name="connsiteX38" fmla="*/ 0 w 3421799"/>
              <a:gd name="connsiteY38" fmla="*/ 2701739 h 3010853"/>
              <a:gd name="connsiteX39" fmla="*/ 89885 w 3421799"/>
              <a:gd name="connsiteY39" fmla="*/ 2483444 h 3010853"/>
              <a:gd name="connsiteX40" fmla="*/ 2539119 w 3421799"/>
              <a:gd name="connsiteY40" fmla="*/ 15223 h 3010853"/>
              <a:gd name="connsiteX41" fmla="*/ 2539573 w 3421799"/>
              <a:gd name="connsiteY41" fmla="*/ 14766 h 3010853"/>
              <a:gd name="connsiteX42" fmla="*/ 2554226 w 3421799"/>
              <a:gd name="connsiteY42" fmla="*/ 0 h 3010853"/>
              <a:gd name="connsiteX43" fmla="*/ 3421800 w 3421799"/>
              <a:gd name="connsiteY43" fmla="*/ 0 h 301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21799" h="3010853">
                <a:moveTo>
                  <a:pt x="3421800" y="0"/>
                </a:moveTo>
                <a:lnTo>
                  <a:pt x="3218616" y="204746"/>
                </a:lnTo>
                <a:lnTo>
                  <a:pt x="1644204" y="1791112"/>
                </a:lnTo>
                <a:lnTo>
                  <a:pt x="1532868" y="1903304"/>
                </a:lnTo>
                <a:lnTo>
                  <a:pt x="1527279" y="1908784"/>
                </a:lnTo>
                <a:lnTo>
                  <a:pt x="1525466" y="1910763"/>
                </a:lnTo>
                <a:lnTo>
                  <a:pt x="1478182" y="1958411"/>
                </a:lnTo>
                <a:lnTo>
                  <a:pt x="1458544" y="1978048"/>
                </a:lnTo>
                <a:lnTo>
                  <a:pt x="1441020" y="1995858"/>
                </a:lnTo>
                <a:lnTo>
                  <a:pt x="1437394" y="1999512"/>
                </a:lnTo>
                <a:lnTo>
                  <a:pt x="1434222" y="2002709"/>
                </a:lnTo>
                <a:lnTo>
                  <a:pt x="1432560" y="2004383"/>
                </a:lnTo>
                <a:lnTo>
                  <a:pt x="1430294" y="2006667"/>
                </a:lnTo>
                <a:lnTo>
                  <a:pt x="1418813" y="2018084"/>
                </a:lnTo>
                <a:lnTo>
                  <a:pt x="1415943" y="2020976"/>
                </a:lnTo>
                <a:lnTo>
                  <a:pt x="1405217" y="2031937"/>
                </a:lnTo>
                <a:lnTo>
                  <a:pt x="1402649" y="2034524"/>
                </a:lnTo>
                <a:lnTo>
                  <a:pt x="1380140" y="2057206"/>
                </a:lnTo>
                <a:lnTo>
                  <a:pt x="1346754" y="2090849"/>
                </a:lnTo>
                <a:lnTo>
                  <a:pt x="1183905" y="2254798"/>
                </a:lnTo>
                <a:lnTo>
                  <a:pt x="523444" y="2920338"/>
                </a:lnTo>
                <a:cubicBezTo>
                  <a:pt x="518761" y="2925057"/>
                  <a:pt x="513776" y="2929776"/>
                  <a:pt x="508791" y="2934038"/>
                </a:cubicBezTo>
                <a:cubicBezTo>
                  <a:pt x="491871" y="2949109"/>
                  <a:pt x="473592" y="2962048"/>
                  <a:pt x="454406" y="2972552"/>
                </a:cubicBezTo>
                <a:cubicBezTo>
                  <a:pt x="434164" y="2983969"/>
                  <a:pt x="413014" y="2992646"/>
                  <a:pt x="391261" y="2998887"/>
                </a:cubicBezTo>
                <a:cubicBezTo>
                  <a:pt x="361501" y="3007564"/>
                  <a:pt x="330684" y="3011522"/>
                  <a:pt x="300168" y="3010761"/>
                </a:cubicBezTo>
                <a:cubicBezTo>
                  <a:pt x="287781" y="3010609"/>
                  <a:pt x="275545" y="3009543"/>
                  <a:pt x="263308" y="3007869"/>
                </a:cubicBezTo>
                <a:cubicBezTo>
                  <a:pt x="251827" y="3006194"/>
                  <a:pt x="240497" y="3003911"/>
                  <a:pt x="229318" y="3000866"/>
                </a:cubicBezTo>
                <a:cubicBezTo>
                  <a:pt x="226448" y="3000257"/>
                  <a:pt x="223729" y="2999496"/>
                  <a:pt x="221010" y="2998583"/>
                </a:cubicBezTo>
                <a:cubicBezTo>
                  <a:pt x="209226" y="2995234"/>
                  <a:pt x="197594" y="2990972"/>
                  <a:pt x="186264" y="2986100"/>
                </a:cubicBezTo>
                <a:cubicBezTo>
                  <a:pt x="173424" y="2980620"/>
                  <a:pt x="160735" y="2974074"/>
                  <a:pt x="148649" y="2966615"/>
                </a:cubicBezTo>
                <a:cubicBezTo>
                  <a:pt x="134600" y="2958090"/>
                  <a:pt x="121306" y="2948500"/>
                  <a:pt x="108617" y="2937540"/>
                </a:cubicBezTo>
                <a:cubicBezTo>
                  <a:pt x="102121" y="2932059"/>
                  <a:pt x="95927" y="2926275"/>
                  <a:pt x="89885" y="2920186"/>
                </a:cubicBezTo>
                <a:cubicBezTo>
                  <a:pt x="76741" y="2906942"/>
                  <a:pt x="64958" y="2892632"/>
                  <a:pt x="54837" y="2877714"/>
                </a:cubicBezTo>
                <a:cubicBezTo>
                  <a:pt x="53931" y="2876648"/>
                  <a:pt x="53175" y="2875431"/>
                  <a:pt x="52420" y="2874213"/>
                </a:cubicBezTo>
                <a:cubicBezTo>
                  <a:pt x="48794" y="2869037"/>
                  <a:pt x="45471" y="2863709"/>
                  <a:pt x="42450" y="2858381"/>
                </a:cubicBezTo>
                <a:cubicBezTo>
                  <a:pt x="37011" y="2849247"/>
                  <a:pt x="32177" y="2839962"/>
                  <a:pt x="27947" y="2830371"/>
                </a:cubicBezTo>
                <a:cubicBezTo>
                  <a:pt x="26134" y="2826566"/>
                  <a:pt x="24321" y="2822608"/>
                  <a:pt x="22811" y="2818650"/>
                </a:cubicBezTo>
                <a:cubicBezTo>
                  <a:pt x="14502" y="2798099"/>
                  <a:pt x="8460" y="2776939"/>
                  <a:pt x="4683" y="2755475"/>
                </a:cubicBezTo>
                <a:cubicBezTo>
                  <a:pt x="1510" y="2737664"/>
                  <a:pt x="0" y="2719702"/>
                  <a:pt x="0" y="2701739"/>
                </a:cubicBezTo>
                <a:cubicBezTo>
                  <a:pt x="0" y="2622885"/>
                  <a:pt x="30062" y="2543726"/>
                  <a:pt x="89885" y="2483444"/>
                </a:cubicBezTo>
                <a:lnTo>
                  <a:pt x="2539119" y="15223"/>
                </a:lnTo>
                <a:lnTo>
                  <a:pt x="2539573" y="14766"/>
                </a:lnTo>
                <a:lnTo>
                  <a:pt x="2554226" y="0"/>
                </a:lnTo>
                <a:lnTo>
                  <a:pt x="3421800" y="0"/>
                </a:lnTo>
                <a:close/>
              </a:path>
            </a:pathLst>
          </a:custGeom>
          <a:solidFill>
            <a:schemeClr val="bg2">
              <a:lumMod val="40000"/>
              <a:lumOff val="60000"/>
            </a:schemeClr>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4" name="Freeform: Shape 53">
            <a:extLst>
              <a:ext uri="{FF2B5EF4-FFF2-40B4-BE49-F238E27FC236}">
                <a16:creationId xmlns:a16="http://schemas.microsoft.com/office/drawing/2014/main" id="{CF0010AD-8BCC-BAB1-B675-432AAAC03DE9}"/>
              </a:ext>
            </a:extLst>
          </p:cNvPr>
          <p:cNvSpPr/>
          <p:nvPr userDrawn="1"/>
        </p:nvSpPr>
        <p:spPr bwMode="auto">
          <a:xfrm>
            <a:off x="10037674" y="5143264"/>
            <a:ext cx="2154324" cy="1714738"/>
          </a:xfrm>
          <a:custGeom>
            <a:avLst/>
            <a:gdLst>
              <a:gd name="connsiteX0" fmla="*/ 2888852 w 3415294"/>
              <a:gd name="connsiteY0" fmla="*/ 300 h 2718409"/>
              <a:gd name="connsiteX1" fmla="*/ 3304412 w 3415294"/>
              <a:gd name="connsiteY1" fmla="*/ 36934 h 2718409"/>
              <a:gd name="connsiteX2" fmla="*/ 3415294 w 3415294"/>
              <a:gd name="connsiteY2" fmla="*/ 59097 h 2718409"/>
              <a:gd name="connsiteX3" fmla="*/ 3415294 w 3415294"/>
              <a:gd name="connsiteY3" fmla="*/ 2718408 h 2718409"/>
              <a:gd name="connsiteX4" fmla="*/ 0 w 3415294"/>
              <a:gd name="connsiteY4" fmla="*/ 2718409 h 2718409"/>
              <a:gd name="connsiteX5" fmla="*/ 8722 w 3415294"/>
              <a:gd name="connsiteY5" fmla="*/ 2567144 h 2718409"/>
              <a:gd name="connsiteX6" fmla="*/ 1769804 w 3415294"/>
              <a:gd name="connsiteY6" fmla="*/ 212769 h 2718409"/>
              <a:gd name="connsiteX7" fmla="*/ 2888852 w 3415294"/>
              <a:gd name="connsiteY7" fmla="*/ 300 h 271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5294" h="2718409">
                <a:moveTo>
                  <a:pt x="2888852" y="300"/>
                </a:moveTo>
                <a:cubicBezTo>
                  <a:pt x="3028685" y="2337"/>
                  <a:pt x="3167559" y="14697"/>
                  <a:pt x="3304412" y="36934"/>
                </a:cubicBezTo>
                <a:lnTo>
                  <a:pt x="3415294" y="59097"/>
                </a:lnTo>
                <a:lnTo>
                  <a:pt x="3415294" y="2718408"/>
                </a:lnTo>
                <a:lnTo>
                  <a:pt x="0" y="2718409"/>
                </a:lnTo>
                <a:lnTo>
                  <a:pt x="8722" y="2567144"/>
                </a:lnTo>
                <a:cubicBezTo>
                  <a:pt x="117078" y="1549592"/>
                  <a:pt x="762084" y="625039"/>
                  <a:pt x="1769804" y="212769"/>
                </a:cubicBezTo>
                <a:cubicBezTo>
                  <a:pt x="2136248" y="62853"/>
                  <a:pt x="2515962" y="-5131"/>
                  <a:pt x="2888852" y="300"/>
                </a:cubicBezTo>
                <a:close/>
              </a:path>
            </a:pathLst>
          </a:custGeom>
          <a:gradFill>
            <a:gsLst>
              <a:gs pos="0">
                <a:schemeClr val="bg2"/>
              </a:gs>
              <a:gs pos="44000">
                <a:schemeClr val="bg2">
                  <a:lumMod val="75000"/>
                </a:schemeClr>
              </a:gs>
              <a:gs pos="100000">
                <a:schemeClr val="bg2">
                  <a:lumMod val="50000"/>
                </a:schemeClr>
              </a:gs>
            </a:gsLst>
            <a:lin ang="9497293" scaled="1"/>
          </a:gradFill>
          <a:ln w="14405" cap="flat">
            <a:noFill/>
            <a:prstDash val="solid"/>
            <a:miter/>
          </a:ln>
        </p:spPr>
        <p:txBody>
          <a:bodyPr rtlCol="0" anchor="ctr"/>
          <a:lstStyle/>
          <a:p>
            <a:pPr lvl="0"/>
            <a:endParaRPr lang="en-IN" err="1"/>
          </a:p>
        </p:txBody>
      </p:sp>
      <p:sp>
        <p:nvSpPr>
          <p:cNvPr id="55" name="Freeform: Shape 54">
            <a:extLst>
              <a:ext uri="{FF2B5EF4-FFF2-40B4-BE49-F238E27FC236}">
                <a16:creationId xmlns:a16="http://schemas.microsoft.com/office/drawing/2014/main" id="{2350FA3A-9418-169D-0B4E-5633D8D2FF61}"/>
              </a:ext>
            </a:extLst>
          </p:cNvPr>
          <p:cNvSpPr/>
          <p:nvPr userDrawn="1"/>
        </p:nvSpPr>
        <p:spPr bwMode="auto">
          <a:xfrm>
            <a:off x="7772400" y="3429000"/>
            <a:ext cx="3390900" cy="3390900"/>
          </a:xfrm>
          <a:custGeom>
            <a:avLst/>
            <a:gdLst>
              <a:gd name="connsiteX0" fmla="*/ 0 w 3390900"/>
              <a:gd name="connsiteY0" fmla="*/ 3390900 h 3390900"/>
              <a:gd name="connsiteX1" fmla="*/ 3390900 w 3390900"/>
              <a:gd name="connsiteY1" fmla="*/ 0 h 3390900"/>
            </a:gdLst>
            <a:ahLst/>
            <a:cxnLst>
              <a:cxn ang="0">
                <a:pos x="connsiteX0" y="connsiteY0"/>
              </a:cxn>
              <a:cxn ang="0">
                <a:pos x="connsiteX1" y="connsiteY1"/>
              </a:cxn>
            </a:cxnLst>
            <a:rect l="l" t="t" r="r" b="b"/>
            <a:pathLst>
              <a:path w="3390900" h="3390900">
                <a:moveTo>
                  <a:pt x="0" y="3390900"/>
                </a:moveTo>
                <a:lnTo>
                  <a:pt x="3390900"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56" name="Freeform: Shape 55">
            <a:extLst>
              <a:ext uri="{FF2B5EF4-FFF2-40B4-BE49-F238E27FC236}">
                <a16:creationId xmlns:a16="http://schemas.microsoft.com/office/drawing/2014/main" id="{8D3EBD54-B077-7697-1C73-DC5A7814BD80}"/>
              </a:ext>
            </a:extLst>
          </p:cNvPr>
          <p:cNvSpPr/>
          <p:nvPr userDrawn="1"/>
        </p:nvSpPr>
        <p:spPr bwMode="auto">
          <a:xfrm>
            <a:off x="8756162" y="5136060"/>
            <a:ext cx="1683840" cy="1683840"/>
          </a:xfrm>
          <a:custGeom>
            <a:avLst/>
            <a:gdLst>
              <a:gd name="connsiteX0" fmla="*/ 0 w 3390900"/>
              <a:gd name="connsiteY0" fmla="*/ 3390900 h 3390900"/>
              <a:gd name="connsiteX1" fmla="*/ 3390900 w 3390900"/>
              <a:gd name="connsiteY1" fmla="*/ 0 h 3390900"/>
            </a:gdLst>
            <a:ahLst/>
            <a:cxnLst>
              <a:cxn ang="0">
                <a:pos x="connsiteX0" y="connsiteY0"/>
              </a:cxn>
              <a:cxn ang="0">
                <a:pos x="connsiteX1" y="connsiteY1"/>
              </a:cxn>
            </a:cxnLst>
            <a:rect l="l" t="t" r="r" b="b"/>
            <a:pathLst>
              <a:path w="3390900" h="3390900">
                <a:moveTo>
                  <a:pt x="0" y="3390900"/>
                </a:moveTo>
                <a:lnTo>
                  <a:pt x="3390900"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57" name="Oval 56">
            <a:extLst>
              <a:ext uri="{FF2B5EF4-FFF2-40B4-BE49-F238E27FC236}">
                <a16:creationId xmlns:a16="http://schemas.microsoft.com/office/drawing/2014/main" id="{6EB1E19F-1239-4B84-69E3-2D99E76737AE}"/>
              </a:ext>
            </a:extLst>
          </p:cNvPr>
          <p:cNvSpPr/>
          <p:nvPr userDrawn="1"/>
        </p:nvSpPr>
        <p:spPr bwMode="auto">
          <a:xfrm>
            <a:off x="11103277" y="3140361"/>
            <a:ext cx="326173" cy="326173"/>
          </a:xfrm>
          <a:prstGeom prst="ellipse">
            <a:avLst/>
          </a:pr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err="1">
              <a:solidFill>
                <a:schemeClr val="lt1"/>
              </a:solidFill>
            </a:endParaRPr>
          </a:p>
        </p:txBody>
      </p:sp>
      <p:sp>
        <p:nvSpPr>
          <p:cNvPr id="58" name="Oval 57">
            <a:extLst>
              <a:ext uri="{FF2B5EF4-FFF2-40B4-BE49-F238E27FC236}">
                <a16:creationId xmlns:a16="http://schemas.microsoft.com/office/drawing/2014/main" id="{E3A21227-43B0-7C8C-1E41-A556180B5BEC}"/>
              </a:ext>
            </a:extLst>
          </p:cNvPr>
          <p:cNvSpPr/>
          <p:nvPr userDrawn="1"/>
        </p:nvSpPr>
        <p:spPr bwMode="auto">
          <a:xfrm>
            <a:off x="10382330" y="4846845"/>
            <a:ext cx="326173" cy="326173"/>
          </a:xfrm>
          <a:prstGeom prst="ellipse">
            <a:avLst/>
          </a:pr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err="1">
              <a:solidFill>
                <a:schemeClr val="lt1"/>
              </a:solidFill>
            </a:endParaRPr>
          </a:p>
        </p:txBody>
      </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588263" y="3732514"/>
            <a:ext cx="3602737"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588263" y="4151724"/>
            <a:ext cx="3602737" cy="246221"/>
          </a:xfrm>
        </p:spPr>
        <p:txBody>
          <a:bodyPr/>
          <a:lstStyle>
            <a:lvl1pPr marL="0" indent="0">
              <a:buNone/>
              <a:defRPr sz="1600">
                <a:solidFill>
                  <a:schemeClr val="bg1"/>
                </a:solidFill>
              </a:defRPr>
            </a:lvl1pPr>
          </a:lstStyle>
          <a:p>
            <a:pPr lvl="0"/>
            <a:r>
              <a:rPr lang="en-US"/>
              <a:t>Contact information</a:t>
            </a:r>
          </a:p>
        </p:txBody>
      </p:sp>
      <p:sp>
        <p:nvSpPr>
          <p:cNvPr id="61" name="Title 1">
            <a:extLst>
              <a:ext uri="{FF2B5EF4-FFF2-40B4-BE49-F238E27FC236}">
                <a16:creationId xmlns:a16="http://schemas.microsoft.com/office/drawing/2014/main" id="{17482A62-8B42-5028-7BBC-B1DFC42E4F61}"/>
              </a:ext>
            </a:extLst>
          </p:cNvPr>
          <p:cNvSpPr>
            <a:spLocks noGrp="1"/>
          </p:cNvSpPr>
          <p:nvPr>
            <p:ph type="title" hasCustomPrompt="1"/>
          </p:nvPr>
        </p:nvSpPr>
        <p:spPr>
          <a:xfrm>
            <a:off x="588263" y="2386823"/>
            <a:ext cx="6784994" cy="73866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4800" b="0" i="0" u="none" strike="noStrike" kern="1200" cap="none" spc="0" normalizeH="0" baseline="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sp>
        <p:nvSpPr>
          <p:cNvPr id="62" name="Text Box 3" descr="This is a copyright notice that should be included on the final slide.">
            <a:extLst>
              <a:ext uri="{FF2B5EF4-FFF2-40B4-BE49-F238E27FC236}">
                <a16:creationId xmlns:a16="http://schemas.microsoft.com/office/drawing/2014/main" id="{8D9D1768-1022-E1A1-5B3A-9A615D69BFB3}"/>
              </a:ext>
            </a:extLst>
          </p:cNvPr>
          <p:cNvSpPr txBox="1">
            <a:spLocks noChangeArrowheads="1"/>
          </p:cNvSpPr>
          <p:nvPr userDrawn="1"/>
        </p:nvSpPr>
        <p:spPr bwMode="blackWhite">
          <a:xfrm>
            <a:off x="604894" y="6462131"/>
            <a:ext cx="567684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00009756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4">
    <p:spTree>
      <p:nvGrpSpPr>
        <p:cNvPr id="1" name=""/>
        <p:cNvGrpSpPr/>
        <p:nvPr/>
      </p:nvGrpSpPr>
      <p:grpSpPr>
        <a:xfrm>
          <a:off x="0" y="0"/>
          <a:ext cx="0" cy="0"/>
          <a:chOff x="0" y="0"/>
          <a:chExt cx="0" cy="0"/>
        </a:xfrm>
      </p:grpSpPr>
      <p:sp>
        <p:nvSpPr>
          <p:cNvPr id="24" name="Freeform: Shape 7">
            <a:extLst>
              <a:ext uri="{FF2B5EF4-FFF2-40B4-BE49-F238E27FC236}">
                <a16:creationId xmlns:a16="http://schemas.microsoft.com/office/drawing/2014/main" id="{90DE383E-86C6-7313-3688-F727E45EB54E}"/>
              </a:ext>
            </a:extLst>
          </p:cNvPr>
          <p:cNvSpPr/>
          <p:nvPr userDrawn="1"/>
        </p:nvSpPr>
        <p:spPr>
          <a:xfrm flipH="1">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08DD4794-BB97-1F13-17FF-B07C100D9341}"/>
              </a:ext>
            </a:extLst>
          </p:cNvPr>
          <p:cNvSpPr/>
          <p:nvPr userDrawn="1"/>
        </p:nvSpPr>
        <p:spPr>
          <a:xfrm>
            <a:off x="558231" y="1036503"/>
            <a:ext cx="6329078" cy="5821497"/>
          </a:xfrm>
          <a:custGeom>
            <a:avLst/>
            <a:gdLst>
              <a:gd name="connsiteX0" fmla="*/ 4425471 w 4425470"/>
              <a:gd name="connsiteY0" fmla="*/ 4104417 h 4104416"/>
              <a:gd name="connsiteX1" fmla="*/ 3783256 w 4425470"/>
              <a:gd name="connsiteY1" fmla="*/ 4104417 h 4104416"/>
              <a:gd name="connsiteX2" fmla="*/ 1842581 w 4425470"/>
              <a:gd name="connsiteY2" fmla="*/ 2163921 h 4104416"/>
              <a:gd name="connsiteX3" fmla="*/ 938264 w 4425470"/>
              <a:gd name="connsiteY3" fmla="*/ 1259604 h 4104416"/>
              <a:gd name="connsiteX4" fmla="*/ 300726 w 4425470"/>
              <a:gd name="connsiteY4" fmla="*/ 622067 h 4104416"/>
              <a:gd name="connsiteX5" fmla="*/ 66327 w 4425470"/>
              <a:gd name="connsiteY5" fmla="*/ 387667 h 4104416"/>
              <a:gd name="connsiteX6" fmla="*/ 15597 w 4425470"/>
              <a:gd name="connsiteY6" fmla="*/ 144093 h 4104416"/>
              <a:gd name="connsiteX7" fmla="*/ 26571 w 4425470"/>
              <a:gd name="connsiteY7" fmla="*/ 120528 h 4104416"/>
              <a:gd name="connsiteX8" fmla="*/ 48338 w 4425470"/>
              <a:gd name="connsiteY8" fmla="*/ 87247 h 4104416"/>
              <a:gd name="connsiteX9" fmla="*/ 66327 w 4425470"/>
              <a:gd name="connsiteY9" fmla="*/ 66560 h 4104416"/>
              <a:gd name="connsiteX10" fmla="*/ 226971 w 4425470"/>
              <a:gd name="connsiteY10" fmla="*/ 0 h 4104416"/>
              <a:gd name="connsiteX11" fmla="*/ 387434 w 4425470"/>
              <a:gd name="connsiteY11" fmla="*/ 66560 h 4104416"/>
              <a:gd name="connsiteX12" fmla="*/ 920994 w 4425470"/>
              <a:gd name="connsiteY12" fmla="*/ 600120 h 4104416"/>
              <a:gd name="connsiteX13" fmla="*/ 2047298 w 4425470"/>
              <a:gd name="connsiteY13" fmla="*/ 1726244 h 4104416"/>
              <a:gd name="connsiteX14" fmla="*/ 4425471 w 4425470"/>
              <a:gd name="connsiteY14" fmla="*/ 4104417 h 410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25470" h="4104416">
                <a:moveTo>
                  <a:pt x="4425471" y="4104417"/>
                </a:moveTo>
                <a:lnTo>
                  <a:pt x="3783256" y="4104417"/>
                </a:lnTo>
                <a:lnTo>
                  <a:pt x="1842581" y="2163921"/>
                </a:lnTo>
                <a:lnTo>
                  <a:pt x="938264" y="1259604"/>
                </a:lnTo>
                <a:lnTo>
                  <a:pt x="300726" y="622067"/>
                </a:lnTo>
                <a:lnTo>
                  <a:pt x="66327" y="387667"/>
                </a:lnTo>
                <a:cubicBezTo>
                  <a:pt x="666" y="321827"/>
                  <a:pt x="-16244" y="225584"/>
                  <a:pt x="15597" y="144093"/>
                </a:cubicBezTo>
                <a:cubicBezTo>
                  <a:pt x="18835" y="135998"/>
                  <a:pt x="22433" y="128083"/>
                  <a:pt x="26571" y="120528"/>
                </a:cubicBezTo>
                <a:cubicBezTo>
                  <a:pt x="32507" y="109015"/>
                  <a:pt x="39703" y="97861"/>
                  <a:pt x="48338" y="87247"/>
                </a:cubicBezTo>
                <a:cubicBezTo>
                  <a:pt x="53734" y="80052"/>
                  <a:pt x="59671" y="73216"/>
                  <a:pt x="66327" y="66560"/>
                </a:cubicBezTo>
                <a:cubicBezTo>
                  <a:pt x="110760" y="22127"/>
                  <a:pt x="168685" y="0"/>
                  <a:pt x="226971" y="0"/>
                </a:cubicBezTo>
                <a:cubicBezTo>
                  <a:pt x="285256" y="0"/>
                  <a:pt x="343181" y="22127"/>
                  <a:pt x="387434" y="66560"/>
                </a:cubicBezTo>
                <a:lnTo>
                  <a:pt x="920994" y="600120"/>
                </a:lnTo>
                <a:lnTo>
                  <a:pt x="2047298" y="1726244"/>
                </a:lnTo>
                <a:lnTo>
                  <a:pt x="4425471" y="4104417"/>
                </a:lnTo>
                <a:close/>
              </a:path>
            </a:pathLst>
          </a:custGeom>
          <a:gradFill>
            <a:gsLst>
              <a:gs pos="0">
                <a:srgbClr val="0098FF"/>
              </a:gs>
              <a:gs pos="50000">
                <a:srgbClr val="00BCFF"/>
              </a:gs>
              <a:gs pos="100000">
                <a:srgbClr val="00E1FF"/>
              </a:gs>
            </a:gsLst>
            <a:lin ang="13500053"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5">
            <a:extLst>
              <a:ext uri="{FF2B5EF4-FFF2-40B4-BE49-F238E27FC236}">
                <a16:creationId xmlns:a16="http://schemas.microsoft.com/office/drawing/2014/main" id="{37028EF9-46F2-7F9A-5FC9-1296915A9616}"/>
              </a:ext>
            </a:extLst>
          </p:cNvPr>
          <p:cNvSpPr/>
          <p:nvPr userDrawn="1"/>
        </p:nvSpPr>
        <p:spPr>
          <a:xfrm>
            <a:off x="2093105" y="4667028"/>
            <a:ext cx="2280910" cy="2190970"/>
          </a:xfrm>
          <a:custGeom>
            <a:avLst/>
            <a:gdLst>
              <a:gd name="connsiteX0" fmla="*/ 1594878 w 1594877"/>
              <a:gd name="connsiteY0" fmla="*/ 1544733 h 1544732"/>
              <a:gd name="connsiteX1" fmla="*/ 1494678 w 1594877"/>
              <a:gd name="connsiteY1" fmla="*/ 1544733 h 1544732"/>
              <a:gd name="connsiteX2" fmla="*/ 10389 w 1594877"/>
              <a:gd name="connsiteY2" fmla="*/ 60444 h 1544732"/>
              <a:gd name="connsiteX3" fmla="*/ 10389 w 1594877"/>
              <a:gd name="connsiteY3" fmla="*/ 10433 h 1544732"/>
              <a:gd name="connsiteX4" fmla="*/ 35394 w 1594877"/>
              <a:gd name="connsiteY4" fmla="*/ 0 h 1544732"/>
              <a:gd name="connsiteX5" fmla="*/ 60399 w 1594877"/>
              <a:gd name="connsiteY5" fmla="*/ 10433 h 1544732"/>
              <a:gd name="connsiteX6" fmla="*/ 358120 w 1594877"/>
              <a:gd name="connsiteY6" fmla="*/ 308155 h 1544732"/>
              <a:gd name="connsiteX7" fmla="*/ 1594878 w 1594877"/>
              <a:gd name="connsiteY7" fmla="*/ 1544733 h 1544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4877" h="1544732">
                <a:moveTo>
                  <a:pt x="1594878" y="1544733"/>
                </a:moveTo>
                <a:lnTo>
                  <a:pt x="1494678" y="1544733"/>
                </a:lnTo>
                <a:lnTo>
                  <a:pt x="10389" y="60444"/>
                </a:lnTo>
                <a:cubicBezTo>
                  <a:pt x="-3463" y="46592"/>
                  <a:pt x="-3463" y="24286"/>
                  <a:pt x="10389" y="10433"/>
                </a:cubicBezTo>
                <a:cubicBezTo>
                  <a:pt x="17225" y="3598"/>
                  <a:pt x="26399" y="0"/>
                  <a:pt x="35394" y="0"/>
                </a:cubicBezTo>
                <a:cubicBezTo>
                  <a:pt x="44388" y="0"/>
                  <a:pt x="53563" y="3598"/>
                  <a:pt x="60399" y="10433"/>
                </a:cubicBezTo>
                <a:lnTo>
                  <a:pt x="358120" y="308155"/>
                </a:lnTo>
                <a:lnTo>
                  <a:pt x="1594878" y="1544733"/>
                </a:ln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Shape 29">
            <a:extLst>
              <a:ext uri="{FF2B5EF4-FFF2-40B4-BE49-F238E27FC236}">
                <a16:creationId xmlns:a16="http://schemas.microsoft.com/office/drawing/2014/main" id="{45C5CFDC-58FD-7A81-3E72-2682868C5F27}"/>
              </a:ext>
            </a:extLst>
          </p:cNvPr>
          <p:cNvSpPr/>
          <p:nvPr userDrawn="1"/>
        </p:nvSpPr>
        <p:spPr>
          <a:xfrm>
            <a:off x="4999575" y="4109909"/>
            <a:ext cx="1241337" cy="1231098"/>
          </a:xfrm>
          <a:custGeom>
            <a:avLst/>
            <a:gdLst>
              <a:gd name="connsiteX0" fmla="*/ 855836 w 867978"/>
              <a:gd name="connsiteY0" fmla="*/ 855836 h 867979"/>
              <a:gd name="connsiteX1" fmla="*/ 855836 w 867978"/>
              <a:gd name="connsiteY1" fmla="*/ 855836 h 867979"/>
              <a:gd name="connsiteX2" fmla="*/ 797551 w 867978"/>
              <a:gd name="connsiteY2" fmla="*/ 855836 h 867979"/>
              <a:gd name="connsiteX3" fmla="*/ 12143 w 867978"/>
              <a:gd name="connsiteY3" fmla="*/ 70427 h 867979"/>
              <a:gd name="connsiteX4" fmla="*/ 12143 w 867978"/>
              <a:gd name="connsiteY4" fmla="*/ 12143 h 867979"/>
              <a:gd name="connsiteX5" fmla="*/ 12143 w 867978"/>
              <a:gd name="connsiteY5" fmla="*/ 12143 h 867979"/>
              <a:gd name="connsiteX6" fmla="*/ 70427 w 867978"/>
              <a:gd name="connsiteY6" fmla="*/ 12143 h 867979"/>
              <a:gd name="connsiteX7" fmla="*/ 855836 w 867978"/>
              <a:gd name="connsiteY7" fmla="*/ 797551 h 867979"/>
              <a:gd name="connsiteX8" fmla="*/ 855836 w 867978"/>
              <a:gd name="connsiteY8" fmla="*/ 855836 h 86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7978" h="867979">
                <a:moveTo>
                  <a:pt x="855836" y="855836"/>
                </a:moveTo>
                <a:lnTo>
                  <a:pt x="855836" y="855836"/>
                </a:lnTo>
                <a:cubicBezTo>
                  <a:pt x="839646" y="872027"/>
                  <a:pt x="813561" y="872027"/>
                  <a:pt x="797551" y="855836"/>
                </a:cubicBezTo>
                <a:lnTo>
                  <a:pt x="12143" y="70427"/>
                </a:lnTo>
                <a:cubicBezTo>
                  <a:pt x="-4048" y="54237"/>
                  <a:pt x="-4048" y="28153"/>
                  <a:pt x="12143" y="12143"/>
                </a:cubicBezTo>
                <a:lnTo>
                  <a:pt x="12143" y="12143"/>
                </a:lnTo>
                <a:cubicBezTo>
                  <a:pt x="28333" y="-4048"/>
                  <a:pt x="54417" y="-4048"/>
                  <a:pt x="70427" y="12143"/>
                </a:cubicBezTo>
                <a:lnTo>
                  <a:pt x="855836" y="797551"/>
                </a:lnTo>
                <a:cubicBezTo>
                  <a:pt x="872026" y="813742"/>
                  <a:pt x="872026" y="839826"/>
                  <a:pt x="855836" y="85583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Shape 32">
            <a:extLst>
              <a:ext uri="{FF2B5EF4-FFF2-40B4-BE49-F238E27FC236}">
                <a16:creationId xmlns:a16="http://schemas.microsoft.com/office/drawing/2014/main" id="{031359A5-F014-7A8F-761D-F603E5AB6876}"/>
              </a:ext>
            </a:extLst>
          </p:cNvPr>
          <p:cNvSpPr/>
          <p:nvPr userDrawn="1"/>
        </p:nvSpPr>
        <p:spPr>
          <a:xfrm>
            <a:off x="258476" y="4522104"/>
            <a:ext cx="2664781" cy="2335896"/>
          </a:xfrm>
          <a:custGeom>
            <a:avLst/>
            <a:gdLst>
              <a:gd name="connsiteX0" fmla="*/ 1863291 w 1863290"/>
              <a:gd name="connsiteY0" fmla="*/ 1646911 h 1646911"/>
              <a:gd name="connsiteX1" fmla="*/ 1430291 w 1863290"/>
              <a:gd name="connsiteY1" fmla="*/ 1646911 h 1646911"/>
              <a:gd name="connsiteX2" fmla="*/ 44942 w 1863290"/>
              <a:gd name="connsiteY2" fmla="*/ 261563 h 1646911"/>
              <a:gd name="connsiteX3" fmla="*/ 28932 w 1863290"/>
              <a:gd name="connsiteY3" fmla="*/ 63861 h 1646911"/>
              <a:gd name="connsiteX4" fmla="*/ 44942 w 1863290"/>
              <a:gd name="connsiteY4" fmla="*/ 44973 h 1646911"/>
              <a:gd name="connsiteX5" fmla="*/ 153058 w 1863290"/>
              <a:gd name="connsiteY5" fmla="*/ 0 h 1646911"/>
              <a:gd name="connsiteX6" fmla="*/ 261352 w 1863290"/>
              <a:gd name="connsiteY6" fmla="*/ 44973 h 1646911"/>
              <a:gd name="connsiteX7" fmla="*/ 1209563 w 1863290"/>
              <a:gd name="connsiteY7" fmla="*/ 993184 h 1646911"/>
              <a:gd name="connsiteX8" fmla="*/ 1863291 w 1863290"/>
              <a:gd name="connsiteY8" fmla="*/ 1646911 h 164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290" h="1646911">
                <a:moveTo>
                  <a:pt x="1863291" y="1646911"/>
                </a:moveTo>
                <a:lnTo>
                  <a:pt x="1430291" y="1646911"/>
                </a:lnTo>
                <a:lnTo>
                  <a:pt x="44942" y="261563"/>
                </a:lnTo>
                <a:cubicBezTo>
                  <a:pt x="-9025" y="207596"/>
                  <a:pt x="-14422" y="123586"/>
                  <a:pt x="28932" y="63861"/>
                </a:cubicBezTo>
                <a:cubicBezTo>
                  <a:pt x="33609" y="57206"/>
                  <a:pt x="39006" y="50909"/>
                  <a:pt x="44942" y="44973"/>
                </a:cubicBezTo>
                <a:cubicBezTo>
                  <a:pt x="74804" y="15111"/>
                  <a:pt x="114021" y="0"/>
                  <a:pt x="153058" y="0"/>
                </a:cubicBezTo>
                <a:cubicBezTo>
                  <a:pt x="192094" y="0"/>
                  <a:pt x="231490" y="15111"/>
                  <a:pt x="261352" y="44973"/>
                </a:cubicBezTo>
                <a:lnTo>
                  <a:pt x="1209563" y="993184"/>
                </a:lnTo>
                <a:lnTo>
                  <a:pt x="1863291" y="1646911"/>
                </a:lnTo>
                <a:close/>
              </a:path>
            </a:pathLst>
          </a:custGeom>
          <a:gradFill>
            <a:gsLst>
              <a:gs pos="0">
                <a:srgbClr val="0098FF"/>
              </a:gs>
              <a:gs pos="50000">
                <a:srgbClr val="00BCFF"/>
              </a:gs>
              <a:gs pos="100000">
                <a:srgbClr val="00E1FF"/>
              </a:gs>
            </a:gsLst>
            <a:lin ang="13500167"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837F3A17-9072-2F68-16DC-A4BAB9F87BCD}"/>
              </a:ext>
            </a:extLst>
          </p:cNvPr>
          <p:cNvSpPr/>
          <p:nvPr userDrawn="1"/>
        </p:nvSpPr>
        <p:spPr>
          <a:xfrm>
            <a:off x="1548813" y="-3432"/>
            <a:ext cx="774390" cy="550142"/>
          </a:xfrm>
          <a:custGeom>
            <a:avLst/>
            <a:gdLst>
              <a:gd name="connsiteX0" fmla="*/ 39552 w 774390"/>
              <a:gd name="connsiteY0" fmla="*/ 0 h 550142"/>
              <a:gd name="connsiteX1" fmla="*/ 734839 w 774390"/>
              <a:gd name="connsiteY1" fmla="*/ 0 h 550142"/>
              <a:gd name="connsiteX2" fmla="*/ 743963 w 774390"/>
              <a:gd name="connsiteY2" fmla="*/ 16671 h 550142"/>
              <a:gd name="connsiteX3" fmla="*/ 774390 w 774390"/>
              <a:gd name="connsiteY3" fmla="*/ 166141 h 550142"/>
              <a:gd name="connsiteX4" fmla="*/ 387196 w 774390"/>
              <a:gd name="connsiteY4" fmla="*/ 550142 h 550142"/>
              <a:gd name="connsiteX5" fmla="*/ 0 w 774390"/>
              <a:gd name="connsiteY5" fmla="*/ 166141 h 550142"/>
              <a:gd name="connsiteX6" fmla="*/ 30428 w 774390"/>
              <a:gd name="connsiteY6" fmla="*/ 16671 h 550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4390" h="550142">
                <a:moveTo>
                  <a:pt x="39552" y="0"/>
                </a:moveTo>
                <a:lnTo>
                  <a:pt x="734839" y="0"/>
                </a:lnTo>
                <a:lnTo>
                  <a:pt x="743963" y="16671"/>
                </a:lnTo>
                <a:cubicBezTo>
                  <a:pt x="763556" y="62612"/>
                  <a:pt x="774390" y="113122"/>
                  <a:pt x="774390" y="166141"/>
                </a:cubicBezTo>
                <a:cubicBezTo>
                  <a:pt x="774390" y="378220"/>
                  <a:pt x="601038" y="550142"/>
                  <a:pt x="387196" y="550142"/>
                </a:cubicBezTo>
                <a:cubicBezTo>
                  <a:pt x="173353" y="550142"/>
                  <a:pt x="0" y="378220"/>
                  <a:pt x="0" y="166141"/>
                </a:cubicBezTo>
                <a:cubicBezTo>
                  <a:pt x="0" y="113122"/>
                  <a:pt x="10835" y="62612"/>
                  <a:pt x="30428" y="16671"/>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FBF413E7-F95B-647F-1309-5743984F7D21}"/>
              </a:ext>
            </a:extLst>
          </p:cNvPr>
          <p:cNvSpPr/>
          <p:nvPr userDrawn="1"/>
        </p:nvSpPr>
        <p:spPr>
          <a:xfrm>
            <a:off x="0" y="1853345"/>
            <a:ext cx="480458" cy="2267991"/>
          </a:xfrm>
          <a:custGeom>
            <a:avLst/>
            <a:gdLst>
              <a:gd name="connsiteX0" fmla="*/ 0 w 480458"/>
              <a:gd name="connsiteY0" fmla="*/ 0 h 2267991"/>
              <a:gd name="connsiteX1" fmla="*/ 10390 w 480458"/>
              <a:gd name="connsiteY1" fmla="*/ 9365 h 2267991"/>
              <a:gd name="connsiteX2" fmla="*/ 480458 w 480458"/>
              <a:gd name="connsiteY2" fmla="*/ 1134798 h 2267991"/>
              <a:gd name="connsiteX3" fmla="*/ 479173 w 480458"/>
              <a:gd name="connsiteY3" fmla="*/ 1199352 h 2267991"/>
              <a:gd name="connsiteX4" fmla="*/ 304742 w 480458"/>
              <a:gd name="connsiteY4" fmla="*/ 1860190 h 2267991"/>
              <a:gd name="connsiteX5" fmla="*/ 32547 w 480458"/>
              <a:gd name="connsiteY5" fmla="*/ 2238067 h 2267991"/>
              <a:gd name="connsiteX6" fmla="*/ 0 w 480458"/>
              <a:gd name="connsiteY6" fmla="*/ 2267991 h 2267991"/>
              <a:gd name="connsiteX7" fmla="*/ 0 w 480458"/>
              <a:gd name="connsiteY7" fmla="*/ 2071959 h 2267991"/>
              <a:gd name="connsiteX8" fmla="*/ 81011 w 480458"/>
              <a:gd name="connsiteY8" fmla="*/ 1976123 h 2267991"/>
              <a:gd name="connsiteX9" fmla="*/ 206721 w 480458"/>
              <a:gd name="connsiteY9" fmla="*/ 1763232 h 2267991"/>
              <a:gd name="connsiteX10" fmla="*/ 349507 w 480458"/>
              <a:gd name="connsiteY10" fmla="*/ 1134798 h 2267991"/>
              <a:gd name="connsiteX11" fmla="*/ 347963 w 480458"/>
              <a:gd name="connsiteY11" fmla="*/ 1069480 h 2267991"/>
              <a:gd name="connsiteX12" fmla="*/ 7922 w 480458"/>
              <a:gd name="connsiteY12" fmla="*/ 198795 h 2267991"/>
              <a:gd name="connsiteX13" fmla="*/ 0 w 480458"/>
              <a:gd name="connsiteY13" fmla="*/ 190196 h 226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0458" h="2267991">
                <a:moveTo>
                  <a:pt x="0" y="0"/>
                </a:moveTo>
                <a:lnTo>
                  <a:pt x="10390" y="9365"/>
                </a:lnTo>
                <a:cubicBezTo>
                  <a:pt x="300818" y="297397"/>
                  <a:pt x="480458" y="695303"/>
                  <a:pt x="480458" y="1134798"/>
                </a:cubicBezTo>
                <a:cubicBezTo>
                  <a:pt x="480458" y="1156486"/>
                  <a:pt x="479944" y="1177919"/>
                  <a:pt x="479173" y="1199352"/>
                </a:cubicBezTo>
                <a:cubicBezTo>
                  <a:pt x="469654" y="1436641"/>
                  <a:pt x="407651" y="1660663"/>
                  <a:pt x="304742" y="1860190"/>
                </a:cubicBezTo>
                <a:cubicBezTo>
                  <a:pt x="232705" y="1999245"/>
                  <a:pt x="140602" y="2126567"/>
                  <a:pt x="32547" y="2238067"/>
                </a:cubicBezTo>
                <a:lnTo>
                  <a:pt x="0" y="2267991"/>
                </a:lnTo>
                <a:lnTo>
                  <a:pt x="0" y="2071959"/>
                </a:lnTo>
                <a:lnTo>
                  <a:pt x="81011" y="1976123"/>
                </a:lnTo>
                <a:cubicBezTo>
                  <a:pt x="128703" y="1909050"/>
                  <a:pt x="170831" y="1837864"/>
                  <a:pt x="206721" y="1763232"/>
                </a:cubicBezTo>
                <a:cubicBezTo>
                  <a:pt x="298310" y="1572891"/>
                  <a:pt x="349507" y="1359841"/>
                  <a:pt x="349507" y="1134798"/>
                </a:cubicBezTo>
                <a:cubicBezTo>
                  <a:pt x="349507" y="1113112"/>
                  <a:pt x="348992" y="1091424"/>
                  <a:pt x="347963" y="1069480"/>
                </a:cubicBezTo>
                <a:cubicBezTo>
                  <a:pt x="333331" y="738838"/>
                  <a:pt x="208048" y="436765"/>
                  <a:pt x="7922" y="198795"/>
                </a:cubicBezTo>
                <a:lnTo>
                  <a:pt x="0" y="190196"/>
                </a:ln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36483A95-9C55-D921-4342-7FD3A8EE9522}"/>
              </a:ext>
            </a:extLst>
          </p:cNvPr>
          <p:cNvSpPr/>
          <p:nvPr userDrawn="1"/>
        </p:nvSpPr>
        <p:spPr>
          <a:xfrm>
            <a:off x="0" y="2540096"/>
            <a:ext cx="89147" cy="899117"/>
          </a:xfrm>
          <a:custGeom>
            <a:avLst/>
            <a:gdLst>
              <a:gd name="connsiteX0" fmla="*/ 0 w 89147"/>
              <a:gd name="connsiteY0" fmla="*/ 0 h 899117"/>
              <a:gd name="connsiteX1" fmla="*/ 25859 w 89147"/>
              <a:gd name="connsiteY1" fmla="*/ 63536 h 899117"/>
              <a:gd name="connsiteX2" fmla="*/ 89147 w 89147"/>
              <a:gd name="connsiteY2" fmla="*/ 448048 h 899117"/>
              <a:gd name="connsiteX3" fmla="*/ 8621 w 89147"/>
              <a:gd name="connsiteY3" fmla="*/ 880016 h 899117"/>
              <a:gd name="connsiteX4" fmla="*/ 0 w 89147"/>
              <a:gd name="connsiteY4" fmla="*/ 899117 h 899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147" h="899117">
                <a:moveTo>
                  <a:pt x="0" y="0"/>
                </a:moveTo>
                <a:lnTo>
                  <a:pt x="25859" y="63536"/>
                </a:lnTo>
                <a:cubicBezTo>
                  <a:pt x="66765" y="184222"/>
                  <a:pt x="89147" y="313584"/>
                  <a:pt x="89147" y="448048"/>
                </a:cubicBezTo>
                <a:cubicBezTo>
                  <a:pt x="89147" y="600116"/>
                  <a:pt x="60590" y="745807"/>
                  <a:pt x="8621" y="880016"/>
                </a:cubicBezTo>
                <a:lnTo>
                  <a:pt x="0" y="899117"/>
                </a:ln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EA695DCE-F153-C7D1-3282-69AF5C4B1B45}"/>
              </a:ext>
            </a:extLst>
          </p:cNvPr>
          <p:cNvSpPr/>
          <p:nvPr userDrawn="1"/>
        </p:nvSpPr>
        <p:spPr>
          <a:xfrm>
            <a:off x="0" y="-3431"/>
            <a:ext cx="674888" cy="329279"/>
          </a:xfrm>
          <a:custGeom>
            <a:avLst/>
            <a:gdLst>
              <a:gd name="connsiteX0" fmla="*/ 560104 w 674888"/>
              <a:gd name="connsiteY0" fmla="*/ 0 h 329279"/>
              <a:gd name="connsiteX1" fmla="*/ 674888 w 674888"/>
              <a:gd name="connsiteY1" fmla="*/ 0 h 329279"/>
              <a:gd name="connsiteX2" fmla="*/ 645724 w 674888"/>
              <a:gd name="connsiteY2" fmla="*/ 35314 h 329279"/>
              <a:gd name="connsiteX3" fmla="*/ 36593 w 674888"/>
              <a:gd name="connsiteY3" fmla="*/ 327139 h 329279"/>
              <a:gd name="connsiteX4" fmla="*/ 0 w 674888"/>
              <a:gd name="connsiteY4" fmla="*/ 329279 h 329279"/>
              <a:gd name="connsiteX5" fmla="*/ 0 w 674888"/>
              <a:gd name="connsiteY5" fmla="*/ 247484 h 329279"/>
              <a:gd name="connsiteX6" fmla="*/ 19894 w 674888"/>
              <a:gd name="connsiteY6" fmla="*/ 246487 h 329279"/>
              <a:gd name="connsiteX7" fmla="*/ 446198 w 674888"/>
              <a:gd name="connsiteY7" fmla="*/ 93208 h 329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4888" h="329279">
                <a:moveTo>
                  <a:pt x="560104" y="0"/>
                </a:moveTo>
                <a:lnTo>
                  <a:pt x="674888" y="0"/>
                </a:lnTo>
                <a:lnTo>
                  <a:pt x="645724" y="35314"/>
                </a:lnTo>
                <a:cubicBezTo>
                  <a:pt x="486428" y="194579"/>
                  <a:pt x="273826" y="301320"/>
                  <a:pt x="36593" y="327139"/>
                </a:cubicBezTo>
                <a:lnTo>
                  <a:pt x="0" y="329279"/>
                </a:lnTo>
                <a:lnTo>
                  <a:pt x="0" y="247484"/>
                </a:lnTo>
                <a:lnTo>
                  <a:pt x="19894" y="246487"/>
                </a:lnTo>
                <a:cubicBezTo>
                  <a:pt x="176731" y="230689"/>
                  <a:pt x="322090" y="176364"/>
                  <a:pt x="446198" y="93208"/>
                </a:cubicBezTo>
                <a:close/>
              </a:path>
            </a:pathLst>
          </a:custGeom>
          <a:gradFill>
            <a:gsLst>
              <a:gs pos="0">
                <a:srgbClr val="0098FF"/>
              </a:gs>
              <a:gs pos="50000">
                <a:srgbClr val="00BCFF"/>
              </a:gs>
              <a:gs pos="100000">
                <a:srgbClr val="00E1FF"/>
              </a:gs>
            </a:gsLst>
            <a:lin ang="18900000" scaled="1"/>
          </a:gradFill>
          <a:ln w="1798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FF94C6C6-C5A3-BEE2-769E-B8EC62DAF56B}"/>
              </a:ext>
            </a:extLst>
          </p:cNvPr>
          <p:cNvSpPr/>
          <p:nvPr userDrawn="1"/>
        </p:nvSpPr>
        <p:spPr>
          <a:xfrm>
            <a:off x="0" y="-3431"/>
            <a:ext cx="274958" cy="83919"/>
          </a:xfrm>
          <a:custGeom>
            <a:avLst/>
            <a:gdLst>
              <a:gd name="connsiteX0" fmla="*/ 0 w 274958"/>
              <a:gd name="connsiteY0" fmla="*/ 0 h 83919"/>
              <a:gd name="connsiteX1" fmla="*/ 274958 w 274958"/>
              <a:gd name="connsiteY1" fmla="*/ 0 h 83919"/>
              <a:gd name="connsiteX2" fmla="*/ 223247 w 274958"/>
              <a:gd name="connsiteY2" fmla="*/ 27838 h 83919"/>
              <a:gd name="connsiteX3" fmla="*/ 2776 w 274958"/>
              <a:gd name="connsiteY3" fmla="*/ 83780 h 83919"/>
              <a:gd name="connsiteX4" fmla="*/ 0 w 274958"/>
              <a:gd name="connsiteY4" fmla="*/ 83919 h 83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958" h="83919">
                <a:moveTo>
                  <a:pt x="0" y="0"/>
                </a:moveTo>
                <a:lnTo>
                  <a:pt x="274958" y="0"/>
                </a:lnTo>
                <a:lnTo>
                  <a:pt x="223247" y="27838"/>
                </a:lnTo>
                <a:cubicBezTo>
                  <a:pt x="154317" y="56754"/>
                  <a:pt x="80248" y="75977"/>
                  <a:pt x="2776" y="83780"/>
                </a:cubicBezTo>
                <a:lnTo>
                  <a:pt x="0" y="83919"/>
                </a:lnTo>
                <a:close/>
              </a:path>
            </a:pathLst>
          </a:custGeom>
          <a:gradFill>
            <a:gsLst>
              <a:gs pos="0">
                <a:srgbClr val="0098FF"/>
              </a:gs>
              <a:gs pos="50000">
                <a:srgbClr val="00BCFF"/>
              </a:gs>
              <a:gs pos="100000">
                <a:srgbClr val="00E1FF"/>
              </a:gs>
            </a:gsLst>
            <a:lin ang="18900000" scaled="1"/>
          </a:gradFill>
          <a:ln w="1798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153C05F8-B8FE-9C11-811F-40D420CD5B8F}"/>
              </a:ext>
            </a:extLst>
          </p:cNvPr>
          <p:cNvSpPr/>
          <p:nvPr userDrawn="1"/>
        </p:nvSpPr>
        <p:spPr>
          <a:xfrm>
            <a:off x="0" y="5870221"/>
            <a:ext cx="239138" cy="987779"/>
          </a:xfrm>
          <a:custGeom>
            <a:avLst/>
            <a:gdLst>
              <a:gd name="connsiteX0" fmla="*/ 0 w 239138"/>
              <a:gd name="connsiteY0" fmla="*/ 0 h 987779"/>
              <a:gd name="connsiteX1" fmla="*/ 57149 w 239138"/>
              <a:gd name="connsiteY1" fmla="*/ 93294 h 987779"/>
              <a:gd name="connsiteX2" fmla="*/ 239138 w 239138"/>
              <a:gd name="connsiteY2" fmla="*/ 806112 h 987779"/>
              <a:gd name="connsiteX3" fmla="*/ 228074 w 239138"/>
              <a:gd name="connsiteY3" fmla="*/ 987779 h 987779"/>
              <a:gd name="connsiteX4" fmla="*/ 0 w 239138"/>
              <a:gd name="connsiteY4" fmla="*/ 987779 h 98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138" h="987779">
                <a:moveTo>
                  <a:pt x="0" y="0"/>
                </a:moveTo>
                <a:lnTo>
                  <a:pt x="57149" y="93294"/>
                </a:lnTo>
                <a:cubicBezTo>
                  <a:pt x="173212" y="305187"/>
                  <a:pt x="239138" y="548012"/>
                  <a:pt x="239138" y="806112"/>
                </a:cubicBezTo>
                <a:cubicBezTo>
                  <a:pt x="239138" y="867603"/>
                  <a:pt x="235278" y="928328"/>
                  <a:pt x="228074" y="987779"/>
                </a:cubicBezTo>
                <a:lnTo>
                  <a:pt x="0" y="987779"/>
                </a:ln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Shape 58">
            <a:extLst>
              <a:ext uri="{FF2B5EF4-FFF2-40B4-BE49-F238E27FC236}">
                <a16:creationId xmlns:a16="http://schemas.microsoft.com/office/drawing/2014/main" id="{3EE978CE-8350-091C-F0B2-A6D946FE82D7}"/>
              </a:ext>
            </a:extLst>
          </p:cNvPr>
          <p:cNvSpPr/>
          <p:nvPr userDrawn="1"/>
        </p:nvSpPr>
        <p:spPr>
          <a:xfrm>
            <a:off x="3295274" y="1702188"/>
            <a:ext cx="687688" cy="682015"/>
          </a:xfrm>
          <a:custGeom>
            <a:avLst/>
            <a:gdLst>
              <a:gd name="connsiteX0" fmla="*/ 480492 w 480851"/>
              <a:gd name="connsiteY0" fmla="*/ 228103 h 480851"/>
              <a:gd name="connsiteX1" fmla="*/ 480492 w 480851"/>
              <a:gd name="connsiteY1" fmla="*/ 228103 h 480851"/>
              <a:gd name="connsiteX2" fmla="*/ 240336 w 480851"/>
              <a:gd name="connsiteY2" fmla="*/ 0 h 480851"/>
              <a:gd name="connsiteX3" fmla="*/ 105057 w 480851"/>
              <a:gd name="connsiteY3" fmla="*/ 41735 h 480851"/>
              <a:gd name="connsiteX4" fmla="*/ 103258 w 480851"/>
              <a:gd name="connsiteY4" fmla="*/ 42994 h 480851"/>
              <a:gd name="connsiteX5" fmla="*/ 0 w 480851"/>
              <a:gd name="connsiteY5" fmla="*/ 240516 h 480851"/>
              <a:gd name="connsiteX6" fmla="*/ 240336 w 480851"/>
              <a:gd name="connsiteY6" fmla="*/ 480851 h 480851"/>
              <a:gd name="connsiteX7" fmla="*/ 437857 w 480851"/>
              <a:gd name="connsiteY7" fmla="*/ 377593 h 480851"/>
              <a:gd name="connsiteX8" fmla="*/ 442715 w 480851"/>
              <a:gd name="connsiteY8" fmla="*/ 370038 h 480851"/>
              <a:gd name="connsiteX9" fmla="*/ 471677 w 480851"/>
              <a:gd name="connsiteY9" fmla="*/ 306176 h 480851"/>
              <a:gd name="connsiteX10" fmla="*/ 480852 w 480851"/>
              <a:gd name="connsiteY10" fmla="*/ 240516 h 480851"/>
              <a:gd name="connsiteX11" fmla="*/ 480492 w 480851"/>
              <a:gd name="connsiteY11" fmla="*/ 228103 h 480851"/>
              <a:gd name="connsiteX12" fmla="*/ 240336 w 480851"/>
              <a:gd name="connsiteY12" fmla="*/ 340356 h 480851"/>
              <a:gd name="connsiteX13" fmla="*/ 140496 w 480851"/>
              <a:gd name="connsiteY13" fmla="*/ 240516 h 480851"/>
              <a:gd name="connsiteX14" fmla="*/ 206696 w 480851"/>
              <a:gd name="connsiteY14" fmla="*/ 146432 h 480851"/>
              <a:gd name="connsiteX15" fmla="*/ 240336 w 480851"/>
              <a:gd name="connsiteY15" fmla="*/ 140496 h 480851"/>
              <a:gd name="connsiteX16" fmla="*/ 246093 w 480851"/>
              <a:gd name="connsiteY16" fmla="*/ 140856 h 480851"/>
              <a:gd name="connsiteX17" fmla="*/ 333160 w 480851"/>
              <a:gd name="connsiteY17" fmla="*/ 203638 h 480851"/>
              <a:gd name="connsiteX18" fmla="*/ 333160 w 480851"/>
              <a:gd name="connsiteY18" fmla="*/ 203638 h 480851"/>
              <a:gd name="connsiteX19" fmla="*/ 340356 w 480851"/>
              <a:gd name="connsiteY19" fmla="*/ 240516 h 480851"/>
              <a:gd name="connsiteX20" fmla="*/ 334419 w 480851"/>
              <a:gd name="connsiteY20" fmla="*/ 274156 h 480851"/>
              <a:gd name="connsiteX21" fmla="*/ 240336 w 480851"/>
              <a:gd name="connsiteY21" fmla="*/ 340356 h 48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0851" h="480851">
                <a:moveTo>
                  <a:pt x="480492" y="228103"/>
                </a:moveTo>
                <a:lnTo>
                  <a:pt x="480492" y="228103"/>
                </a:lnTo>
                <a:cubicBezTo>
                  <a:pt x="474016" y="100919"/>
                  <a:pt x="368959" y="0"/>
                  <a:pt x="240336" y="0"/>
                </a:cubicBezTo>
                <a:cubicBezTo>
                  <a:pt x="190146" y="0"/>
                  <a:pt x="143554" y="15471"/>
                  <a:pt x="105057" y="41735"/>
                </a:cubicBezTo>
                <a:cubicBezTo>
                  <a:pt x="104338" y="42095"/>
                  <a:pt x="103798" y="42455"/>
                  <a:pt x="103258" y="42994"/>
                </a:cubicBezTo>
                <a:cubicBezTo>
                  <a:pt x="40836" y="86348"/>
                  <a:pt x="0" y="158665"/>
                  <a:pt x="0" y="240516"/>
                </a:cubicBezTo>
                <a:cubicBezTo>
                  <a:pt x="0" y="373276"/>
                  <a:pt x="107576" y="480851"/>
                  <a:pt x="240336" y="480851"/>
                </a:cubicBezTo>
                <a:cubicBezTo>
                  <a:pt x="322187" y="480851"/>
                  <a:pt x="394504" y="440016"/>
                  <a:pt x="437857" y="377593"/>
                </a:cubicBezTo>
                <a:cubicBezTo>
                  <a:pt x="439656" y="375075"/>
                  <a:pt x="441275" y="372556"/>
                  <a:pt x="442715" y="370038"/>
                </a:cubicBezTo>
                <a:cubicBezTo>
                  <a:pt x="455487" y="350610"/>
                  <a:pt x="465201" y="329022"/>
                  <a:pt x="471677" y="306176"/>
                </a:cubicBezTo>
                <a:cubicBezTo>
                  <a:pt x="477614" y="285309"/>
                  <a:pt x="480852" y="263362"/>
                  <a:pt x="480852" y="240516"/>
                </a:cubicBezTo>
                <a:cubicBezTo>
                  <a:pt x="480852" y="236378"/>
                  <a:pt x="480852" y="232241"/>
                  <a:pt x="480492" y="228103"/>
                </a:cubicBezTo>
                <a:close/>
                <a:moveTo>
                  <a:pt x="240336" y="340356"/>
                </a:moveTo>
                <a:cubicBezTo>
                  <a:pt x="185289" y="340356"/>
                  <a:pt x="140496" y="295562"/>
                  <a:pt x="140496" y="240516"/>
                </a:cubicBezTo>
                <a:cubicBezTo>
                  <a:pt x="140496" y="197162"/>
                  <a:pt x="168199" y="160104"/>
                  <a:pt x="206696" y="146432"/>
                </a:cubicBezTo>
                <a:cubicBezTo>
                  <a:pt x="217130" y="142474"/>
                  <a:pt x="228463" y="140496"/>
                  <a:pt x="240336" y="140496"/>
                </a:cubicBezTo>
                <a:cubicBezTo>
                  <a:pt x="242315" y="140496"/>
                  <a:pt x="244114" y="140496"/>
                  <a:pt x="246093" y="140856"/>
                </a:cubicBezTo>
                <a:cubicBezTo>
                  <a:pt x="285849" y="143014"/>
                  <a:pt x="319308" y="168379"/>
                  <a:pt x="333160" y="203638"/>
                </a:cubicBezTo>
                <a:lnTo>
                  <a:pt x="333160" y="203638"/>
                </a:lnTo>
                <a:cubicBezTo>
                  <a:pt x="337837" y="215151"/>
                  <a:pt x="340356" y="227563"/>
                  <a:pt x="340356" y="240516"/>
                </a:cubicBezTo>
                <a:cubicBezTo>
                  <a:pt x="340356" y="252389"/>
                  <a:pt x="338377" y="263722"/>
                  <a:pt x="334419" y="274156"/>
                </a:cubicBezTo>
                <a:cubicBezTo>
                  <a:pt x="320748" y="312652"/>
                  <a:pt x="283690" y="340356"/>
                  <a:pt x="240336" y="340356"/>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9675EEC3-C564-9D4F-C006-D4539A4DB7BD}"/>
              </a:ext>
            </a:extLst>
          </p:cNvPr>
          <p:cNvSpPr/>
          <p:nvPr userDrawn="1"/>
        </p:nvSpPr>
        <p:spPr bwMode="auto">
          <a:xfrm flipV="1">
            <a:off x="6807200" y="0"/>
            <a:ext cx="5384801" cy="2132922"/>
          </a:xfrm>
          <a:custGeom>
            <a:avLst/>
            <a:gdLst>
              <a:gd name="connsiteX0" fmla="*/ 1744161 w 2463781"/>
              <a:gd name="connsiteY0" fmla="*/ 0 h 975905"/>
              <a:gd name="connsiteX1" fmla="*/ 2354022 w 2463781"/>
              <a:gd name="connsiteY1" fmla="*/ 92203 h 975905"/>
              <a:gd name="connsiteX2" fmla="*/ 2463781 w 2463781"/>
              <a:gd name="connsiteY2" fmla="*/ 132375 h 975905"/>
              <a:gd name="connsiteX3" fmla="*/ 2463781 w 2463781"/>
              <a:gd name="connsiteY3" fmla="*/ 557015 h 975905"/>
              <a:gd name="connsiteX4" fmla="*/ 2390197 w 2463781"/>
              <a:gd name="connsiteY4" fmla="*/ 521568 h 975905"/>
              <a:gd name="connsiteX5" fmla="*/ 1744161 w 2463781"/>
              <a:gd name="connsiteY5" fmla="*/ 391139 h 975905"/>
              <a:gd name="connsiteX6" fmla="*/ 570565 w 2463781"/>
              <a:gd name="connsiteY6" fmla="*/ 877259 h 975905"/>
              <a:gd name="connsiteX7" fmla="*/ 480909 w 2463781"/>
              <a:gd name="connsiteY7" fmla="*/ 975905 h 975905"/>
              <a:gd name="connsiteX8" fmla="*/ 0 w 2463781"/>
              <a:gd name="connsiteY8" fmla="*/ 975905 h 975905"/>
              <a:gd name="connsiteX9" fmla="*/ 43561 w 2463781"/>
              <a:gd name="connsiteY9" fmla="*/ 904202 h 975905"/>
              <a:gd name="connsiteX10" fmla="*/ 1744161 w 2463781"/>
              <a:gd name="connsiteY10" fmla="*/ 0 h 97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3781" h="975905">
                <a:moveTo>
                  <a:pt x="1744161" y="0"/>
                </a:moveTo>
                <a:cubicBezTo>
                  <a:pt x="1956534" y="0"/>
                  <a:pt x="2161367" y="32281"/>
                  <a:pt x="2354022" y="92203"/>
                </a:cubicBezTo>
                <a:lnTo>
                  <a:pt x="2463781" y="132375"/>
                </a:lnTo>
                <a:lnTo>
                  <a:pt x="2463781" y="557015"/>
                </a:lnTo>
                <a:lnTo>
                  <a:pt x="2390197" y="521568"/>
                </a:lnTo>
                <a:cubicBezTo>
                  <a:pt x="2191631" y="437582"/>
                  <a:pt x="1973320" y="391139"/>
                  <a:pt x="1744161" y="391139"/>
                </a:cubicBezTo>
                <a:cubicBezTo>
                  <a:pt x="1285843" y="391139"/>
                  <a:pt x="870915" y="576909"/>
                  <a:pt x="570565" y="877259"/>
                </a:cubicBezTo>
                <a:lnTo>
                  <a:pt x="480909" y="975905"/>
                </a:lnTo>
                <a:lnTo>
                  <a:pt x="0" y="975905"/>
                </a:lnTo>
                <a:lnTo>
                  <a:pt x="43561" y="904202"/>
                </a:lnTo>
                <a:cubicBezTo>
                  <a:pt x="412114" y="358672"/>
                  <a:pt x="1036252" y="0"/>
                  <a:pt x="1744161" y="0"/>
                </a:cubicBezTo>
                <a:close/>
              </a:path>
            </a:pathLst>
          </a:custGeom>
          <a:gradFill>
            <a:gsLst>
              <a:gs pos="0">
                <a:srgbClr val="0098FF"/>
              </a:gs>
              <a:gs pos="50000">
                <a:srgbClr val="00BCFF"/>
              </a:gs>
              <a:gs pos="100000">
                <a:srgbClr val="00E1FF"/>
              </a:gs>
            </a:gsLst>
            <a:lin ang="18900000" scaled="1"/>
          </a:gradFill>
          <a:ln w="17980" cap="flat">
            <a:noFill/>
            <a:prstDash val="solid"/>
            <a:miter/>
          </a:ln>
        </p:spPr>
        <p:txBody>
          <a:bodyPr wrap="square" rtlCol="0" anchor="ctr">
            <a:noAutofit/>
          </a:bodyPr>
          <a:lstStyle/>
          <a:p>
            <a:endParaRPr lang="en-US" err="1">
              <a:solidFill>
                <a:srgbClr val="000000"/>
              </a:solidFill>
              <a:latin typeface="Segoe UI"/>
            </a:endParaRPr>
          </a:p>
        </p:txBody>
      </p:sp>
      <p:sp>
        <p:nvSpPr>
          <p:cNvPr id="43" name="Freeform: Shape 61">
            <a:extLst>
              <a:ext uri="{FF2B5EF4-FFF2-40B4-BE49-F238E27FC236}">
                <a16:creationId xmlns:a16="http://schemas.microsoft.com/office/drawing/2014/main" id="{E8857B4E-9358-73A2-BBF5-19294FD6BA8F}"/>
              </a:ext>
            </a:extLst>
          </p:cNvPr>
          <p:cNvSpPr/>
          <p:nvPr userDrawn="1"/>
        </p:nvSpPr>
        <p:spPr>
          <a:xfrm flipH="1" flipV="1">
            <a:off x="0" y="0"/>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alpha val="74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Text Box 3" descr="This is a copyright notice that should be included on the final slide.">
            <a:extLst>
              <a:ext uri="{FF2B5EF4-FFF2-40B4-BE49-F238E27FC236}">
                <a16:creationId xmlns:a16="http://schemas.microsoft.com/office/drawing/2014/main" id="{BA56B6B7-5F8B-DC5B-132E-53D20154A0EB}"/>
              </a:ext>
            </a:extLst>
          </p:cNvPr>
          <p:cNvSpPr txBox="1">
            <a:spLocks noChangeArrowheads="1"/>
          </p:cNvSpPr>
          <p:nvPr userDrawn="1"/>
        </p:nvSpPr>
        <p:spPr bwMode="blackWhite">
          <a:xfrm>
            <a:off x="604894" y="6462131"/>
            <a:ext cx="567684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grpSp>
        <p:nvGrpSpPr>
          <p:cNvPr id="26" name="Group 25">
            <a:extLst>
              <a:ext uri="{FF2B5EF4-FFF2-40B4-BE49-F238E27FC236}">
                <a16:creationId xmlns:a16="http://schemas.microsoft.com/office/drawing/2014/main" id="{81B5CE95-BEC8-78FF-66C0-B2E0D8807281}"/>
              </a:ext>
            </a:extLst>
          </p:cNvPr>
          <p:cNvGrpSpPr/>
          <p:nvPr userDrawn="1"/>
        </p:nvGrpSpPr>
        <p:grpSpPr>
          <a:xfrm>
            <a:off x="604894" y="597820"/>
            <a:ext cx="3084456" cy="292608"/>
            <a:chOff x="604894" y="597820"/>
            <a:chExt cx="3084456" cy="292608"/>
          </a:xfrm>
        </p:grpSpPr>
        <p:pic>
          <p:nvPicPr>
            <p:cNvPr id="27" name="Graphic 26" descr="Microsoft Power Platform logo">
              <a:extLst>
                <a:ext uri="{FF2B5EF4-FFF2-40B4-BE49-F238E27FC236}">
                  <a16:creationId xmlns:a16="http://schemas.microsoft.com/office/drawing/2014/main" id="{120ADA71-126C-9752-3940-1CEAF3C7672E}"/>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8" name="Graphic 27" descr="Microsoft Power Platform logo">
              <a:extLst>
                <a:ext uri="{FF2B5EF4-FFF2-40B4-BE49-F238E27FC236}">
                  <a16:creationId xmlns:a16="http://schemas.microsoft.com/office/drawing/2014/main" id="{1DC06F3F-EF47-D8B4-9C2E-3901B12D65BF}"/>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6629398" y="5097719"/>
            <a:ext cx="4985307"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6629398" y="5540203"/>
            <a:ext cx="4985307" cy="246221"/>
          </a:xfrm>
        </p:spPr>
        <p:txBody>
          <a:bodyPr/>
          <a:lstStyle>
            <a:lvl1pPr marL="0" indent="0" algn="r">
              <a:buNone/>
              <a:defRPr sz="1600">
                <a:solidFill>
                  <a:schemeClr val="bg1"/>
                </a:solidFill>
              </a:defRPr>
            </a:lvl1pPr>
          </a:lstStyle>
          <a:p>
            <a:pPr lvl="0"/>
            <a:r>
              <a:rPr lang="en-US"/>
              <a:t>Contact information</a:t>
            </a:r>
          </a:p>
        </p:txBody>
      </p:sp>
      <p:sp>
        <p:nvSpPr>
          <p:cNvPr id="3" name="Title 1">
            <a:extLst>
              <a:ext uri="{FF2B5EF4-FFF2-40B4-BE49-F238E27FC236}">
                <a16:creationId xmlns:a16="http://schemas.microsoft.com/office/drawing/2014/main" id="{A5992092-48A3-FE62-A527-89F3519B62B8}"/>
              </a:ext>
            </a:extLst>
          </p:cNvPr>
          <p:cNvSpPr>
            <a:spLocks noGrp="1"/>
          </p:cNvSpPr>
          <p:nvPr>
            <p:ph type="title" hasCustomPrompt="1"/>
          </p:nvPr>
        </p:nvSpPr>
        <p:spPr>
          <a:xfrm>
            <a:off x="5448301" y="3450552"/>
            <a:ext cx="6166404" cy="1107996"/>
          </a:xfrm>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7200" b="0" i="0" u="none" strike="noStrike" kern="1200" cap="none" spc="0" normalizeH="0" baseline="0" noProof="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spTree>
    <p:extLst>
      <p:ext uri="{BB962C8B-B14F-4D97-AF65-F5344CB8AC3E}">
        <p14:creationId xmlns:p14="http://schemas.microsoft.com/office/powerpoint/2010/main" val="390251727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5">
    <p:spTree>
      <p:nvGrpSpPr>
        <p:cNvPr id="1" name=""/>
        <p:cNvGrpSpPr/>
        <p:nvPr/>
      </p:nvGrpSpPr>
      <p:grpSpPr>
        <a:xfrm>
          <a:off x="0" y="0"/>
          <a:ext cx="0" cy="0"/>
          <a:chOff x="0" y="0"/>
          <a:chExt cx="0" cy="0"/>
        </a:xfrm>
      </p:grpSpPr>
      <p:sp>
        <p:nvSpPr>
          <p:cNvPr id="3" name="Freeform: Shape 7">
            <a:extLst>
              <a:ext uri="{FF2B5EF4-FFF2-40B4-BE49-F238E27FC236}">
                <a16:creationId xmlns:a16="http://schemas.microsoft.com/office/drawing/2014/main" id="{F3A4735C-012E-BDA5-D95E-FF00C296B188}"/>
              </a:ext>
            </a:extLst>
          </p:cNvPr>
          <p:cNvSpPr/>
          <p:nvPr userDrawn="1"/>
        </p:nvSpPr>
        <p:spPr>
          <a:xfrm flipH="1">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gradFill flip="none" rotWithShape="1">
            <a:gsLst>
              <a:gs pos="2000">
                <a:schemeClr val="bg2"/>
              </a:gs>
              <a:gs pos="88000">
                <a:schemeClr val="bg2">
                  <a:lumMod val="50000"/>
                </a:schemeClr>
              </a:gs>
            </a:gsLst>
            <a:lin ang="13500000" scaled="1"/>
            <a:tileRect/>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C79244A2-3EB5-D67C-42FB-0C5616A55260}"/>
              </a:ext>
            </a:extLst>
          </p:cNvPr>
          <p:cNvSpPr/>
          <p:nvPr userDrawn="1"/>
        </p:nvSpPr>
        <p:spPr bwMode="auto">
          <a:xfrm>
            <a:off x="0" y="-3432"/>
            <a:ext cx="878684" cy="736960"/>
          </a:xfrm>
          <a:custGeom>
            <a:avLst/>
            <a:gdLst>
              <a:gd name="connsiteX0" fmla="*/ 0 w 878684"/>
              <a:gd name="connsiteY0" fmla="*/ 0 h 736960"/>
              <a:gd name="connsiteX1" fmla="*/ 878684 w 878684"/>
              <a:gd name="connsiteY1" fmla="*/ 0 h 736960"/>
              <a:gd name="connsiteX2" fmla="*/ 141724 w 878684"/>
              <a:gd name="connsiteY2" fmla="*/ 736960 h 736960"/>
              <a:gd name="connsiteX3" fmla="*/ 0 w 878684"/>
              <a:gd name="connsiteY3" fmla="*/ 595236 h 736960"/>
            </a:gdLst>
            <a:ahLst/>
            <a:cxnLst>
              <a:cxn ang="0">
                <a:pos x="connsiteX0" y="connsiteY0"/>
              </a:cxn>
              <a:cxn ang="0">
                <a:pos x="connsiteX1" y="connsiteY1"/>
              </a:cxn>
              <a:cxn ang="0">
                <a:pos x="connsiteX2" y="connsiteY2"/>
              </a:cxn>
              <a:cxn ang="0">
                <a:pos x="connsiteX3" y="connsiteY3"/>
              </a:cxn>
            </a:cxnLst>
            <a:rect l="l" t="t" r="r" b="b"/>
            <a:pathLst>
              <a:path w="878684" h="736960">
                <a:moveTo>
                  <a:pt x="0" y="0"/>
                </a:moveTo>
                <a:lnTo>
                  <a:pt x="878684" y="0"/>
                </a:lnTo>
                <a:lnTo>
                  <a:pt x="141724" y="736960"/>
                </a:lnTo>
                <a:lnTo>
                  <a:pt x="0" y="595236"/>
                </a:lnTo>
                <a:close/>
              </a:path>
            </a:pathLst>
          </a:cu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Free-form: Shape 4">
            <a:extLst>
              <a:ext uri="{FF2B5EF4-FFF2-40B4-BE49-F238E27FC236}">
                <a16:creationId xmlns:a16="http://schemas.microsoft.com/office/drawing/2014/main" id="{2AA46FF8-578B-AF69-F89A-419E22E0A56F}"/>
              </a:ext>
            </a:extLst>
          </p:cNvPr>
          <p:cNvSpPr/>
          <p:nvPr userDrawn="1"/>
        </p:nvSpPr>
        <p:spPr bwMode="auto">
          <a:xfrm flipH="1">
            <a:off x="2959100" y="3368588"/>
            <a:ext cx="9232900" cy="3213697"/>
          </a:xfrm>
          <a:custGeom>
            <a:avLst/>
            <a:gdLst>
              <a:gd name="connsiteX0" fmla="*/ 10025024 w 10025024"/>
              <a:gd name="connsiteY0" fmla="*/ 0 h 3489412"/>
              <a:gd name="connsiteX1" fmla="*/ 0 w 10025024"/>
              <a:gd name="connsiteY1" fmla="*/ 0 h 3489412"/>
              <a:gd name="connsiteX2" fmla="*/ 0 w 10025024"/>
              <a:gd name="connsiteY2" fmla="*/ 3489412 h 3489412"/>
              <a:gd name="connsiteX3" fmla="*/ 6535613 w 10025024"/>
              <a:gd name="connsiteY3" fmla="*/ 3489412 h 3489412"/>
            </a:gdLst>
            <a:ahLst/>
            <a:cxnLst>
              <a:cxn ang="0">
                <a:pos x="connsiteX0" y="connsiteY0"/>
              </a:cxn>
              <a:cxn ang="0">
                <a:pos x="connsiteX1" y="connsiteY1"/>
              </a:cxn>
              <a:cxn ang="0">
                <a:pos x="connsiteX2" y="connsiteY2"/>
              </a:cxn>
              <a:cxn ang="0">
                <a:pos x="connsiteX3" y="connsiteY3"/>
              </a:cxn>
            </a:cxnLst>
            <a:rect l="l" t="t" r="r" b="b"/>
            <a:pathLst>
              <a:path w="10025024" h="3489412">
                <a:moveTo>
                  <a:pt x="10025024" y="0"/>
                </a:moveTo>
                <a:lnTo>
                  <a:pt x="0" y="0"/>
                </a:lnTo>
                <a:lnTo>
                  <a:pt x="0" y="3489412"/>
                </a:lnTo>
                <a:lnTo>
                  <a:pt x="6535613" y="3489412"/>
                </a:lnTo>
                <a:close/>
              </a:path>
            </a:pathLst>
          </a:custGeom>
          <a:gradFill flip="none" rotWithShape="1">
            <a:gsLst>
              <a:gs pos="9000">
                <a:schemeClr val="bg2">
                  <a:lumMod val="75000"/>
                </a:schemeClr>
              </a:gs>
              <a:gs pos="81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Free-form: Shape 5">
            <a:extLst>
              <a:ext uri="{FF2B5EF4-FFF2-40B4-BE49-F238E27FC236}">
                <a16:creationId xmlns:a16="http://schemas.microsoft.com/office/drawing/2014/main" id="{9FA48372-5CEB-DD13-B777-5D251ED667EB}"/>
              </a:ext>
            </a:extLst>
          </p:cNvPr>
          <p:cNvSpPr/>
          <p:nvPr userDrawn="1"/>
        </p:nvSpPr>
        <p:spPr bwMode="auto">
          <a:xfrm>
            <a:off x="0" y="3212182"/>
            <a:ext cx="6362700" cy="3649251"/>
          </a:xfrm>
          <a:custGeom>
            <a:avLst/>
            <a:gdLst>
              <a:gd name="connsiteX0" fmla="*/ 2727325 w 6362700"/>
              <a:gd name="connsiteY0" fmla="*/ 0 h 3649251"/>
              <a:gd name="connsiteX1" fmla="*/ 6362700 w 6362700"/>
              <a:gd name="connsiteY1" fmla="*/ 3635375 h 3649251"/>
              <a:gd name="connsiteX2" fmla="*/ 6348824 w 6362700"/>
              <a:gd name="connsiteY2" fmla="*/ 3649251 h 3649251"/>
              <a:gd name="connsiteX3" fmla="*/ 0 w 6362700"/>
              <a:gd name="connsiteY3" fmla="*/ 3649251 h 3649251"/>
              <a:gd name="connsiteX4" fmla="*/ 0 w 6362700"/>
              <a:gd name="connsiteY4" fmla="*/ 2727325 h 3649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700" h="3649251">
                <a:moveTo>
                  <a:pt x="2727325" y="0"/>
                </a:moveTo>
                <a:lnTo>
                  <a:pt x="6362700" y="3635375"/>
                </a:lnTo>
                <a:lnTo>
                  <a:pt x="6348824" y="3649251"/>
                </a:lnTo>
                <a:lnTo>
                  <a:pt x="0" y="3649251"/>
                </a:lnTo>
                <a:lnTo>
                  <a:pt x="0" y="2727325"/>
                </a:lnTo>
                <a:close/>
              </a:path>
            </a:pathLst>
          </a:custGeom>
          <a:solidFill>
            <a:schemeClr val="bg2">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7" name="Free-form: Shape 6">
            <a:extLst>
              <a:ext uri="{FF2B5EF4-FFF2-40B4-BE49-F238E27FC236}">
                <a16:creationId xmlns:a16="http://schemas.microsoft.com/office/drawing/2014/main" id="{F2097435-28DD-FAE7-DCAF-A85E9BEBB4AB}"/>
              </a:ext>
            </a:extLst>
          </p:cNvPr>
          <p:cNvSpPr/>
          <p:nvPr userDrawn="1"/>
        </p:nvSpPr>
        <p:spPr bwMode="auto">
          <a:xfrm flipV="1">
            <a:off x="1" y="385939"/>
            <a:ext cx="2429343" cy="4847279"/>
          </a:xfrm>
          <a:custGeom>
            <a:avLst/>
            <a:gdLst>
              <a:gd name="connsiteX0" fmla="*/ 0 w 2429343"/>
              <a:gd name="connsiteY0" fmla="*/ 4847279 h 4847279"/>
              <a:gd name="connsiteX1" fmla="*/ 2429343 w 2429343"/>
              <a:gd name="connsiteY1" fmla="*/ 2423640 h 4847279"/>
              <a:gd name="connsiteX2" fmla="*/ 0 w 2429343"/>
              <a:gd name="connsiteY2" fmla="*/ 0 h 4847279"/>
              <a:gd name="connsiteX3" fmla="*/ 0 w 2429343"/>
              <a:gd name="connsiteY3" fmla="*/ 931447 h 4847279"/>
              <a:gd name="connsiteX4" fmla="*/ 1495704 w 2429343"/>
              <a:gd name="connsiteY4" fmla="*/ 2423640 h 4847279"/>
              <a:gd name="connsiteX5" fmla="*/ 0 w 2429343"/>
              <a:gd name="connsiteY5" fmla="*/ 3915831 h 484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29343" h="4847279">
                <a:moveTo>
                  <a:pt x="0" y="4847279"/>
                </a:moveTo>
                <a:lnTo>
                  <a:pt x="2429343" y="2423640"/>
                </a:lnTo>
                <a:lnTo>
                  <a:pt x="0" y="0"/>
                </a:lnTo>
                <a:lnTo>
                  <a:pt x="0" y="931447"/>
                </a:lnTo>
                <a:lnTo>
                  <a:pt x="1495704" y="2423640"/>
                </a:lnTo>
                <a:lnTo>
                  <a:pt x="0" y="3915831"/>
                </a:lnTo>
                <a:close/>
              </a:path>
            </a:pathLst>
          </a:custGeom>
          <a:gradFill flip="none" rotWithShape="1">
            <a:gsLst>
              <a:gs pos="58000">
                <a:schemeClr val="bg2">
                  <a:lumMod val="50000"/>
                  <a:alpha val="50000"/>
                </a:schemeClr>
              </a:gs>
              <a:gs pos="100000">
                <a:schemeClr val="bg2">
                  <a:alpha val="6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8" name="Free-form: Shape 7">
            <a:extLst>
              <a:ext uri="{FF2B5EF4-FFF2-40B4-BE49-F238E27FC236}">
                <a16:creationId xmlns:a16="http://schemas.microsoft.com/office/drawing/2014/main" id="{CFD7FD53-A250-6253-4A0A-8A8E89F17753}"/>
              </a:ext>
            </a:extLst>
          </p:cNvPr>
          <p:cNvSpPr/>
          <p:nvPr userDrawn="1"/>
        </p:nvSpPr>
        <p:spPr bwMode="auto">
          <a:xfrm>
            <a:off x="0" y="1659802"/>
            <a:ext cx="2497605" cy="5201630"/>
          </a:xfrm>
          <a:custGeom>
            <a:avLst/>
            <a:gdLst>
              <a:gd name="connsiteX0" fmla="*/ 1803826 w 2497605"/>
              <a:gd name="connsiteY0" fmla="*/ 3471071 h 5201630"/>
              <a:gd name="connsiteX1" fmla="*/ 2497605 w 2497605"/>
              <a:gd name="connsiteY1" fmla="*/ 4164850 h 5201630"/>
              <a:gd name="connsiteX2" fmla="*/ 1457762 w 2497605"/>
              <a:gd name="connsiteY2" fmla="*/ 5201630 h 5201630"/>
              <a:gd name="connsiteX3" fmla="*/ 68154 w 2497605"/>
              <a:gd name="connsiteY3" fmla="*/ 5201630 h 5201630"/>
              <a:gd name="connsiteX4" fmla="*/ 0 w 2497605"/>
              <a:gd name="connsiteY4" fmla="*/ 0 h 5201630"/>
              <a:gd name="connsiteX5" fmla="*/ 2497605 w 2497605"/>
              <a:gd name="connsiteY5" fmla="*/ 2490248 h 5201630"/>
              <a:gd name="connsiteX6" fmla="*/ 1803826 w 2497605"/>
              <a:gd name="connsiteY6" fmla="*/ 3184028 h 5201630"/>
              <a:gd name="connsiteX7" fmla="*/ 0 w 2497605"/>
              <a:gd name="connsiteY7" fmla="*/ 1385515 h 520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7605" h="5201630">
                <a:moveTo>
                  <a:pt x="1803826" y="3471071"/>
                </a:moveTo>
                <a:lnTo>
                  <a:pt x="2497605" y="4164850"/>
                </a:lnTo>
                <a:lnTo>
                  <a:pt x="1457762" y="5201630"/>
                </a:lnTo>
                <a:lnTo>
                  <a:pt x="68154" y="5201630"/>
                </a:lnTo>
                <a:close/>
                <a:moveTo>
                  <a:pt x="0" y="0"/>
                </a:moveTo>
                <a:lnTo>
                  <a:pt x="2497605" y="2490248"/>
                </a:lnTo>
                <a:lnTo>
                  <a:pt x="1803826" y="3184028"/>
                </a:lnTo>
                <a:lnTo>
                  <a:pt x="0" y="1385515"/>
                </a:lnTo>
                <a:close/>
              </a:path>
            </a:pathLst>
          </a:custGeom>
          <a:gradFill flip="none" rotWithShape="1">
            <a:gsLst>
              <a:gs pos="0">
                <a:schemeClr val="bg2">
                  <a:lumMod val="50000"/>
                </a:schemeClr>
              </a:gs>
              <a:gs pos="100000">
                <a:schemeClr val="bg2">
                  <a:lumMod val="50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9" name="Diamond 8">
            <a:extLst>
              <a:ext uri="{FF2B5EF4-FFF2-40B4-BE49-F238E27FC236}">
                <a16:creationId xmlns:a16="http://schemas.microsoft.com/office/drawing/2014/main" id="{36372CCE-EAB8-0696-5A72-5F4432073A80}"/>
              </a:ext>
            </a:extLst>
          </p:cNvPr>
          <p:cNvSpPr>
            <a:spLocks noChangeAspect="1"/>
          </p:cNvSpPr>
          <p:nvPr userDrawn="1"/>
        </p:nvSpPr>
        <p:spPr bwMode="auto">
          <a:xfrm>
            <a:off x="771082" y="5173434"/>
            <a:ext cx="998766" cy="998766"/>
          </a:xfrm>
          <a:prstGeom prst="diamond">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10" name="Diamond 9">
            <a:extLst>
              <a:ext uri="{FF2B5EF4-FFF2-40B4-BE49-F238E27FC236}">
                <a16:creationId xmlns:a16="http://schemas.microsoft.com/office/drawing/2014/main" id="{5DA1E256-DC97-52F8-B02B-F3742B71FDFB}"/>
              </a:ext>
            </a:extLst>
          </p:cNvPr>
          <p:cNvSpPr/>
          <p:nvPr userDrawn="1"/>
        </p:nvSpPr>
        <p:spPr bwMode="auto">
          <a:xfrm>
            <a:off x="1660303" y="4038491"/>
            <a:ext cx="1897720" cy="1897720"/>
          </a:xfrm>
          <a:prstGeom prst="diamond">
            <a:avLst/>
          </a:prstGeom>
          <a:noFill/>
          <a:ln w="127000">
            <a:solidFill>
              <a:schemeClr val="bg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14" name="Text Box 3" descr="This is a copyright notice that should be included on the final slide.">
            <a:extLst>
              <a:ext uri="{FF2B5EF4-FFF2-40B4-BE49-F238E27FC236}">
                <a16:creationId xmlns:a16="http://schemas.microsoft.com/office/drawing/2014/main" id="{6587B843-F298-B5A0-D69D-B06F03252C47}"/>
              </a:ext>
            </a:extLst>
          </p:cNvPr>
          <p:cNvSpPr txBox="1">
            <a:spLocks noChangeArrowheads="1"/>
          </p:cNvSpPr>
          <p:nvPr userDrawn="1"/>
        </p:nvSpPr>
        <p:spPr bwMode="blackWhite">
          <a:xfrm>
            <a:off x="604894" y="6462131"/>
            <a:ext cx="448212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
        <p:nvSpPr>
          <p:cNvPr id="15" name="Free-form: Shape 14">
            <a:extLst>
              <a:ext uri="{FF2B5EF4-FFF2-40B4-BE49-F238E27FC236}">
                <a16:creationId xmlns:a16="http://schemas.microsoft.com/office/drawing/2014/main" id="{72BBAA61-68F1-1FBA-E03B-CED1F4E0AE15}"/>
              </a:ext>
            </a:extLst>
          </p:cNvPr>
          <p:cNvSpPr/>
          <p:nvPr userDrawn="1"/>
        </p:nvSpPr>
        <p:spPr bwMode="auto">
          <a:xfrm flipV="1">
            <a:off x="1" y="3557538"/>
            <a:ext cx="2143125" cy="1208603"/>
          </a:xfrm>
          <a:custGeom>
            <a:avLst/>
            <a:gdLst>
              <a:gd name="connsiteX0" fmla="*/ 1208604 w 2143125"/>
              <a:gd name="connsiteY0" fmla="*/ 3303895 h 3303895"/>
              <a:gd name="connsiteX1" fmla="*/ 2143125 w 2143125"/>
              <a:gd name="connsiteY1" fmla="*/ 2369374 h 3303895"/>
              <a:gd name="connsiteX2" fmla="*/ 358258 w 2143125"/>
              <a:gd name="connsiteY2" fmla="*/ 0 h 3303895"/>
              <a:gd name="connsiteX3" fmla="*/ 0 w 2143125"/>
              <a:gd name="connsiteY3" fmla="*/ 0 h 3303895"/>
              <a:gd name="connsiteX4" fmla="*/ 0 w 2143125"/>
              <a:gd name="connsiteY4" fmla="*/ 2095292 h 3303895"/>
              <a:gd name="connsiteX0" fmla="*/ 358258 w 2143125"/>
              <a:gd name="connsiteY0" fmla="*/ 0 h 3303895"/>
              <a:gd name="connsiteX1" fmla="*/ 0 w 2143125"/>
              <a:gd name="connsiteY1" fmla="*/ 0 h 3303895"/>
              <a:gd name="connsiteX2" fmla="*/ 0 w 2143125"/>
              <a:gd name="connsiteY2" fmla="*/ 2095292 h 3303895"/>
              <a:gd name="connsiteX3" fmla="*/ 1208604 w 2143125"/>
              <a:gd name="connsiteY3" fmla="*/ 3303895 h 3303895"/>
              <a:gd name="connsiteX4" fmla="*/ 2143125 w 2143125"/>
              <a:gd name="connsiteY4" fmla="*/ 2369374 h 3303895"/>
              <a:gd name="connsiteX5" fmla="*/ 449698 w 2143125"/>
              <a:gd name="connsiteY5" fmla="*/ 91440 h 3303895"/>
              <a:gd name="connsiteX0" fmla="*/ 358258 w 2143125"/>
              <a:gd name="connsiteY0" fmla="*/ 0 h 3303895"/>
              <a:gd name="connsiteX1" fmla="*/ 0 w 2143125"/>
              <a:gd name="connsiteY1" fmla="*/ 0 h 3303895"/>
              <a:gd name="connsiteX2" fmla="*/ 0 w 2143125"/>
              <a:gd name="connsiteY2" fmla="*/ 2095292 h 3303895"/>
              <a:gd name="connsiteX3" fmla="*/ 1208604 w 2143125"/>
              <a:gd name="connsiteY3" fmla="*/ 3303895 h 3303895"/>
              <a:gd name="connsiteX4" fmla="*/ 2143125 w 2143125"/>
              <a:gd name="connsiteY4" fmla="*/ 2369374 h 3303895"/>
              <a:gd name="connsiteX0" fmla="*/ 0 w 2143125"/>
              <a:gd name="connsiteY0" fmla="*/ 0 h 3303895"/>
              <a:gd name="connsiteX1" fmla="*/ 0 w 2143125"/>
              <a:gd name="connsiteY1" fmla="*/ 2095292 h 3303895"/>
              <a:gd name="connsiteX2" fmla="*/ 1208604 w 2143125"/>
              <a:gd name="connsiteY2" fmla="*/ 3303895 h 3303895"/>
              <a:gd name="connsiteX3" fmla="*/ 2143125 w 2143125"/>
              <a:gd name="connsiteY3" fmla="*/ 2369374 h 3303895"/>
              <a:gd name="connsiteX0" fmla="*/ 0 w 2143125"/>
              <a:gd name="connsiteY0" fmla="*/ 0 h 1208603"/>
              <a:gd name="connsiteX1" fmla="*/ 1208604 w 2143125"/>
              <a:gd name="connsiteY1" fmla="*/ 1208603 h 1208603"/>
              <a:gd name="connsiteX2" fmla="*/ 2143125 w 2143125"/>
              <a:gd name="connsiteY2" fmla="*/ 274082 h 1208603"/>
            </a:gdLst>
            <a:ahLst/>
            <a:cxnLst>
              <a:cxn ang="0">
                <a:pos x="connsiteX0" y="connsiteY0"/>
              </a:cxn>
              <a:cxn ang="0">
                <a:pos x="connsiteX1" y="connsiteY1"/>
              </a:cxn>
              <a:cxn ang="0">
                <a:pos x="connsiteX2" y="connsiteY2"/>
              </a:cxn>
            </a:cxnLst>
            <a:rect l="l" t="t" r="r" b="b"/>
            <a:pathLst>
              <a:path w="2143125" h="1208603">
                <a:moveTo>
                  <a:pt x="0" y="0"/>
                </a:moveTo>
                <a:lnTo>
                  <a:pt x="1208604" y="1208603"/>
                </a:lnTo>
                <a:lnTo>
                  <a:pt x="2143125" y="274082"/>
                </a:lnTo>
              </a:path>
            </a:pathLst>
          </a:custGeom>
          <a:noFill/>
          <a:ln w="127000">
            <a:solidFill>
              <a:schemeClr val="bg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grpSp>
        <p:nvGrpSpPr>
          <p:cNvPr id="26" name="Group 25">
            <a:extLst>
              <a:ext uri="{FF2B5EF4-FFF2-40B4-BE49-F238E27FC236}">
                <a16:creationId xmlns:a16="http://schemas.microsoft.com/office/drawing/2014/main" id="{81B5CE95-BEC8-78FF-66C0-B2E0D8807281}"/>
              </a:ext>
            </a:extLst>
          </p:cNvPr>
          <p:cNvGrpSpPr/>
          <p:nvPr userDrawn="1"/>
        </p:nvGrpSpPr>
        <p:grpSpPr>
          <a:xfrm>
            <a:off x="604894" y="597820"/>
            <a:ext cx="3084456" cy="292608"/>
            <a:chOff x="604894" y="597820"/>
            <a:chExt cx="3084456" cy="292608"/>
          </a:xfrm>
        </p:grpSpPr>
        <p:pic>
          <p:nvPicPr>
            <p:cNvPr id="27" name="Graphic 26" descr="Microsoft Power Platform logo">
              <a:extLst>
                <a:ext uri="{FF2B5EF4-FFF2-40B4-BE49-F238E27FC236}">
                  <a16:creationId xmlns:a16="http://schemas.microsoft.com/office/drawing/2014/main" id="{120ADA71-126C-9752-3940-1CEAF3C7672E}"/>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8" name="Graphic 27" descr="Microsoft Power Platform logo">
              <a:extLst>
                <a:ext uri="{FF2B5EF4-FFF2-40B4-BE49-F238E27FC236}">
                  <a16:creationId xmlns:a16="http://schemas.microsoft.com/office/drawing/2014/main" id="{1DC06F3F-EF47-D8B4-9C2E-3901B12D65BF}"/>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6629398" y="5373944"/>
            <a:ext cx="4985307"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6629398" y="5816428"/>
            <a:ext cx="4985307" cy="246221"/>
          </a:xfrm>
        </p:spPr>
        <p:txBody>
          <a:bodyPr/>
          <a:lstStyle>
            <a:lvl1pPr marL="0" indent="0" algn="r">
              <a:buNone/>
              <a:defRPr sz="1600">
                <a:solidFill>
                  <a:schemeClr val="bg1"/>
                </a:solidFill>
              </a:defRPr>
            </a:lvl1pPr>
          </a:lstStyle>
          <a:p>
            <a:pPr lvl="0"/>
            <a:r>
              <a:rPr lang="en-US"/>
              <a:t>Contact information</a:t>
            </a:r>
          </a:p>
        </p:txBody>
      </p:sp>
      <p:sp>
        <p:nvSpPr>
          <p:cNvPr id="2" name="Title 1">
            <a:extLst>
              <a:ext uri="{FF2B5EF4-FFF2-40B4-BE49-F238E27FC236}">
                <a16:creationId xmlns:a16="http://schemas.microsoft.com/office/drawing/2014/main" id="{6B03C06A-6569-7472-F3FD-DCD47752D09E}"/>
              </a:ext>
            </a:extLst>
          </p:cNvPr>
          <p:cNvSpPr>
            <a:spLocks noGrp="1"/>
          </p:cNvSpPr>
          <p:nvPr>
            <p:ph type="title" hasCustomPrompt="1"/>
          </p:nvPr>
        </p:nvSpPr>
        <p:spPr>
          <a:xfrm>
            <a:off x="6629397" y="3924300"/>
            <a:ext cx="4985307" cy="1015663"/>
          </a:xfrm>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GB" sz="6600" b="0" kern="1200" cap="none" spc="0" baseline="0" dirty="0" smtClean="0">
                <a:ln w="3175">
                  <a:noFill/>
                </a:ln>
                <a:solidFill>
                  <a:schemeClr val="bg2">
                    <a:lumMod val="20000"/>
                    <a:lumOff val="80000"/>
                  </a:schemeClr>
                </a:solidFill>
                <a:effectLst/>
                <a:latin typeface="Segoe UI Semibold"/>
                <a:ea typeface="+mn-ea"/>
                <a:cs typeface="Segoe UI" panose="020B0502040204020203" pitchFamily="34" charset="0"/>
              </a:defRPr>
            </a:lvl1pPr>
          </a:lstStyle>
          <a:p>
            <a:r>
              <a:rPr lang="en-GB"/>
              <a:t>Thank you!</a:t>
            </a:r>
          </a:p>
        </p:txBody>
      </p:sp>
    </p:spTree>
    <p:extLst>
      <p:ext uri="{BB962C8B-B14F-4D97-AF65-F5344CB8AC3E}">
        <p14:creationId xmlns:p14="http://schemas.microsoft.com/office/powerpoint/2010/main" val="332761563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ank you 2 (Light)">
    <p:spTree>
      <p:nvGrpSpPr>
        <p:cNvPr id="1" name=""/>
        <p:cNvGrpSpPr/>
        <p:nvPr/>
      </p:nvGrpSpPr>
      <p:grpSpPr>
        <a:xfrm>
          <a:off x="0" y="0"/>
          <a:ext cx="0" cy="0"/>
          <a:chOff x="0" y="0"/>
          <a:chExt cx="0" cy="0"/>
        </a:xfrm>
      </p:grpSpPr>
      <p:pic>
        <p:nvPicPr>
          <p:cNvPr id="2" name="Graphic 1" descr="Microsoft Power Platform logo">
            <a:extLst>
              <a:ext uri="{FF2B5EF4-FFF2-40B4-BE49-F238E27FC236}">
                <a16:creationId xmlns:a16="http://schemas.microsoft.com/office/drawing/2014/main" id="{5474156B-520D-0CFF-6121-BFF0C07DD945}"/>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4894" y="597820"/>
            <a:ext cx="3068320" cy="292608"/>
          </a:xfrm>
          <a:prstGeom prst="rect">
            <a:avLst/>
          </a:prstGeom>
        </p:spPr>
      </p:pic>
      <p:sp>
        <p:nvSpPr>
          <p:cNvPr id="11" name="Rectangle 10">
            <a:extLst>
              <a:ext uri="{FF2B5EF4-FFF2-40B4-BE49-F238E27FC236}">
                <a16:creationId xmlns:a16="http://schemas.microsoft.com/office/drawing/2014/main" id="{AE3E642E-DA20-F4F4-71E8-74EDC3C17B9A}"/>
              </a:ext>
            </a:extLst>
          </p:cNvPr>
          <p:cNvSpPr/>
          <p:nvPr userDrawn="1"/>
        </p:nvSpPr>
        <p:spPr bwMode="auto">
          <a:xfrm>
            <a:off x="0" y="2598613"/>
            <a:ext cx="8721814" cy="24312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AECA1A8A-7695-B932-C36D-D7608CE9FADE}"/>
              </a:ext>
            </a:extLst>
          </p:cNvPr>
          <p:cNvSpPr/>
          <p:nvPr userDrawn="1"/>
        </p:nvSpPr>
        <p:spPr>
          <a:xfrm>
            <a:off x="3206680" y="1"/>
            <a:ext cx="8713776" cy="6858001"/>
          </a:xfrm>
          <a:custGeom>
            <a:avLst/>
            <a:gdLst>
              <a:gd name="connsiteX0" fmla="*/ 6858862 w 8713776"/>
              <a:gd name="connsiteY0" fmla="*/ 0 h 6858001"/>
              <a:gd name="connsiteX1" fmla="*/ 8713776 w 8713776"/>
              <a:gd name="connsiteY1" fmla="*/ 0 h 6858001"/>
              <a:gd name="connsiteX2" fmla="*/ 1854710 w 8713776"/>
              <a:gd name="connsiteY2" fmla="*/ 6858001 h 6858001"/>
              <a:gd name="connsiteX3" fmla="*/ 0 w 8713776"/>
              <a:gd name="connsiteY3" fmla="*/ 6858001 h 6858001"/>
              <a:gd name="connsiteX4" fmla="*/ 6858862 w 8713776"/>
              <a:gd name="connsiteY4" fmla="*/ 0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3776" h="6858001">
                <a:moveTo>
                  <a:pt x="6858862" y="0"/>
                </a:moveTo>
                <a:lnTo>
                  <a:pt x="8713776" y="0"/>
                </a:lnTo>
                <a:lnTo>
                  <a:pt x="1854710" y="6858001"/>
                </a:lnTo>
                <a:lnTo>
                  <a:pt x="0" y="6858001"/>
                </a:lnTo>
                <a:lnTo>
                  <a:pt x="6858862" y="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latin typeface="Calibri" panose="020F0502020204030204"/>
              <a:cs typeface="Segoe UI" pitchFamily="34" charset="0"/>
            </a:endParaRPr>
          </a:p>
        </p:txBody>
      </p:sp>
      <p:sp>
        <p:nvSpPr>
          <p:cNvPr id="13" name="Freeform: Shape 12">
            <a:extLst>
              <a:ext uri="{FF2B5EF4-FFF2-40B4-BE49-F238E27FC236}">
                <a16:creationId xmlns:a16="http://schemas.microsoft.com/office/drawing/2014/main" id="{2B9CC861-261A-CF51-9293-1F692E56AB86}"/>
              </a:ext>
            </a:extLst>
          </p:cNvPr>
          <p:cNvSpPr/>
          <p:nvPr userDrawn="1"/>
        </p:nvSpPr>
        <p:spPr>
          <a:xfrm>
            <a:off x="4378982" y="542501"/>
            <a:ext cx="7816411" cy="6322756"/>
          </a:xfrm>
          <a:custGeom>
            <a:avLst/>
            <a:gdLst>
              <a:gd name="connsiteX0" fmla="*/ 2720111 w 2720111"/>
              <a:gd name="connsiteY0" fmla="*/ 521894 h 2197793"/>
              <a:gd name="connsiteX1" fmla="*/ 2720111 w 2720111"/>
              <a:gd name="connsiteY1" fmla="*/ 2197794 h 2197793"/>
              <a:gd name="connsiteX2" fmla="*/ 0 w 2720111"/>
              <a:gd name="connsiteY2" fmla="*/ 2197794 h 2197793"/>
              <a:gd name="connsiteX3" fmla="*/ 2198006 w 2720111"/>
              <a:gd name="connsiteY3" fmla="*/ 0 h 2197793"/>
              <a:gd name="connsiteX4" fmla="*/ 2720111 w 2720111"/>
              <a:gd name="connsiteY4" fmla="*/ 521894 h 219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111" h="2197793">
                <a:moveTo>
                  <a:pt x="2720111" y="521894"/>
                </a:moveTo>
                <a:lnTo>
                  <a:pt x="2720111" y="2197794"/>
                </a:lnTo>
                <a:lnTo>
                  <a:pt x="0" y="2197794"/>
                </a:lnTo>
                <a:lnTo>
                  <a:pt x="2198006" y="0"/>
                </a:lnTo>
                <a:lnTo>
                  <a:pt x="2720111" y="521894"/>
                </a:lnTo>
                <a:close/>
              </a:path>
            </a:pathLst>
          </a:custGeom>
          <a:gradFill>
            <a:gsLst>
              <a:gs pos="0">
                <a:schemeClr val="bg2">
                  <a:lumMod val="75000"/>
                </a:schemeClr>
              </a:gs>
              <a:gs pos="50000">
                <a:schemeClr val="bg2"/>
              </a:gs>
              <a:gs pos="100000">
                <a:schemeClr val="tx2"/>
              </a:gs>
            </a:gsLst>
            <a:lin ang="18939364"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4B58F365-B512-8DA5-9AC5-6646CD2D51AA}"/>
              </a:ext>
            </a:extLst>
          </p:cNvPr>
          <p:cNvSpPr/>
          <p:nvPr userDrawn="1"/>
        </p:nvSpPr>
        <p:spPr>
          <a:xfrm>
            <a:off x="6192965" y="0"/>
            <a:ext cx="6002431" cy="6628213"/>
          </a:xfrm>
          <a:custGeom>
            <a:avLst/>
            <a:gdLst>
              <a:gd name="connsiteX0" fmla="*/ 625784 w 6002431"/>
              <a:gd name="connsiteY0" fmla="*/ 0 h 6628213"/>
              <a:gd name="connsiteX1" fmla="*/ 3247782 w 6002431"/>
              <a:gd name="connsiteY1" fmla="*/ 0 h 6628213"/>
              <a:gd name="connsiteX2" fmla="*/ 2621885 w 6002431"/>
              <a:gd name="connsiteY2" fmla="*/ 625784 h 6628213"/>
              <a:gd name="connsiteX3" fmla="*/ 6002431 w 6002431"/>
              <a:gd name="connsiteY3" fmla="*/ 4006331 h 6628213"/>
              <a:gd name="connsiteX4" fmla="*/ 6002431 w 6002431"/>
              <a:gd name="connsiteY4" fmla="*/ 6628213 h 6628213"/>
              <a:gd name="connsiteX5" fmla="*/ 0 w 6002431"/>
              <a:gd name="connsiteY5" fmla="*/ 625784 h 6628213"/>
              <a:gd name="connsiteX6" fmla="*/ 625784 w 6002431"/>
              <a:gd name="connsiteY6" fmla="*/ 0 h 6628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2431" h="6628213">
                <a:moveTo>
                  <a:pt x="625784" y="0"/>
                </a:moveTo>
                <a:lnTo>
                  <a:pt x="3247782" y="0"/>
                </a:lnTo>
                <a:lnTo>
                  <a:pt x="2621885" y="625784"/>
                </a:lnTo>
                <a:lnTo>
                  <a:pt x="6002431" y="4006331"/>
                </a:lnTo>
                <a:lnTo>
                  <a:pt x="6002431" y="6628213"/>
                </a:lnTo>
                <a:lnTo>
                  <a:pt x="0" y="625784"/>
                </a:lnTo>
                <a:lnTo>
                  <a:pt x="625784" y="0"/>
                </a:lnTo>
                <a:close/>
              </a:path>
            </a:pathLst>
          </a:custGeom>
          <a:gradFill>
            <a:gsLst>
              <a:gs pos="0">
                <a:schemeClr val="bg2">
                  <a:lumMod val="20000"/>
                  <a:lumOff val="80000"/>
                </a:schemeClr>
              </a:gs>
              <a:gs pos="63000">
                <a:schemeClr val="bg2"/>
              </a:gs>
              <a:gs pos="100000">
                <a:schemeClr val="tx2"/>
              </a:gs>
            </a:gsLst>
            <a:lin ang="18939364"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18" name="Freeform: Shape 17">
            <a:extLst>
              <a:ext uri="{FF2B5EF4-FFF2-40B4-BE49-F238E27FC236}">
                <a16:creationId xmlns:a16="http://schemas.microsoft.com/office/drawing/2014/main" id="{1CBC7DA8-204A-C18C-D12B-13D0879782D8}"/>
              </a:ext>
            </a:extLst>
          </p:cNvPr>
          <p:cNvSpPr/>
          <p:nvPr userDrawn="1"/>
        </p:nvSpPr>
        <p:spPr>
          <a:xfrm>
            <a:off x="10698131" y="0"/>
            <a:ext cx="1497265" cy="2037335"/>
          </a:xfrm>
          <a:custGeom>
            <a:avLst/>
            <a:gdLst>
              <a:gd name="connsiteX0" fmla="*/ 540070 w 1497265"/>
              <a:gd name="connsiteY0" fmla="*/ 0 h 2037335"/>
              <a:gd name="connsiteX1" fmla="*/ 1497265 w 1497265"/>
              <a:gd name="connsiteY1" fmla="*/ 0 h 2037335"/>
              <a:gd name="connsiteX2" fmla="*/ 1497265 w 1497265"/>
              <a:gd name="connsiteY2" fmla="*/ 2037335 h 2037335"/>
              <a:gd name="connsiteX3" fmla="*/ 0 w 1497265"/>
              <a:gd name="connsiteY3" fmla="*/ 540070 h 2037335"/>
              <a:gd name="connsiteX4" fmla="*/ 540070 w 1497265"/>
              <a:gd name="connsiteY4" fmla="*/ 0 h 2037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5" h="2037335">
                <a:moveTo>
                  <a:pt x="540070" y="0"/>
                </a:moveTo>
                <a:lnTo>
                  <a:pt x="1497265" y="0"/>
                </a:lnTo>
                <a:lnTo>
                  <a:pt x="1497265" y="2037335"/>
                </a:lnTo>
                <a:lnTo>
                  <a:pt x="0" y="540070"/>
                </a:lnTo>
                <a:lnTo>
                  <a:pt x="540070" y="0"/>
                </a:lnTo>
                <a:close/>
              </a:path>
            </a:pathLst>
          </a:custGeom>
          <a:gradFill>
            <a:gsLst>
              <a:gs pos="0">
                <a:schemeClr val="bg2">
                  <a:lumMod val="20000"/>
                  <a:lumOff val="80000"/>
                </a:schemeClr>
              </a:gs>
              <a:gs pos="63000">
                <a:schemeClr val="bg2"/>
              </a:gs>
            </a:gsLst>
            <a:lin ang="13500000" scaled="1"/>
          </a:gradFill>
          <a:ln w="1373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ACD24BF-DC84-1486-D51A-689CE4E17EB7}"/>
              </a:ext>
            </a:extLst>
          </p:cNvPr>
          <p:cNvSpPr/>
          <p:nvPr userDrawn="1"/>
        </p:nvSpPr>
        <p:spPr>
          <a:xfrm>
            <a:off x="3524272" y="1"/>
            <a:ext cx="8667728" cy="6858001"/>
          </a:xfrm>
          <a:custGeom>
            <a:avLst/>
            <a:gdLst>
              <a:gd name="connsiteX0" fmla="*/ 5068600 w 8667728"/>
              <a:gd name="connsiteY0" fmla="*/ 0 h 6858001"/>
              <a:gd name="connsiteX1" fmla="*/ 8667728 w 8667728"/>
              <a:gd name="connsiteY1" fmla="*/ 0 h 6858001"/>
              <a:gd name="connsiteX2" fmla="*/ 1809728 w 8667728"/>
              <a:gd name="connsiteY2" fmla="*/ 6858001 h 6858001"/>
              <a:gd name="connsiteX3" fmla="*/ 0 w 8667728"/>
              <a:gd name="connsiteY3" fmla="*/ 6858001 h 6858001"/>
              <a:gd name="connsiteX4" fmla="*/ 5963553 w 8667728"/>
              <a:gd name="connsiteY4" fmla="*/ 895285 h 6858001"/>
              <a:gd name="connsiteX5" fmla="*/ 5068600 w 8667728"/>
              <a:gd name="connsiteY5"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728" h="6858001">
                <a:moveTo>
                  <a:pt x="5068600" y="0"/>
                </a:moveTo>
                <a:lnTo>
                  <a:pt x="8667728" y="0"/>
                </a:lnTo>
                <a:lnTo>
                  <a:pt x="1809728" y="6858001"/>
                </a:lnTo>
                <a:lnTo>
                  <a:pt x="0" y="6858001"/>
                </a:lnTo>
                <a:lnTo>
                  <a:pt x="5963553" y="895285"/>
                </a:lnTo>
                <a:lnTo>
                  <a:pt x="5068600" y="0"/>
                </a:lnTo>
                <a:close/>
              </a:path>
            </a:pathLst>
          </a:custGeom>
          <a:solidFill>
            <a:schemeClr val="bg2">
              <a:lumMod val="60000"/>
              <a:lumOff val="40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latin typeface="Calibri" panose="020F0502020204030204"/>
              <a:cs typeface="Segoe UI" pitchFamily="34" charset="0"/>
            </a:endParaRPr>
          </a:p>
        </p:txBody>
      </p:sp>
      <p:sp>
        <p:nvSpPr>
          <p:cNvPr id="22" name="Text Box 3" descr="This is a copyright notice that should be included on the final slide.">
            <a:extLst>
              <a:ext uri="{FF2B5EF4-FFF2-40B4-BE49-F238E27FC236}">
                <a16:creationId xmlns:a16="http://schemas.microsoft.com/office/drawing/2014/main" id="{8F78F77A-D1AE-DC3B-27C3-404F633EAF5A}"/>
              </a:ext>
            </a:extLst>
          </p:cNvPr>
          <p:cNvSpPr txBox="1">
            <a:spLocks noChangeArrowheads="1"/>
          </p:cNvSpPr>
          <p:nvPr userDrawn="1"/>
        </p:nvSpPr>
        <p:spPr bwMode="blackWhite">
          <a:xfrm>
            <a:off x="604894" y="6462131"/>
            <a:ext cx="448212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lumMod val="65000"/>
                  </a:schemeClr>
                </a:solidFill>
                <a:effectLst/>
                <a:uLnTx/>
                <a:uFillTx/>
                <a:latin typeface="Segoe UI"/>
                <a:ea typeface="+mn-ea"/>
                <a:cs typeface="Segoe UI" pitchFamily="34" charset="0"/>
              </a:rPr>
              <a:t>© Copyright Microsoft Corporation. All rights reserved. </a:t>
            </a:r>
          </a:p>
        </p:txBody>
      </p:sp>
      <p:sp>
        <p:nvSpPr>
          <p:cNvPr id="3" name="Title 1">
            <a:extLst>
              <a:ext uri="{FF2B5EF4-FFF2-40B4-BE49-F238E27FC236}">
                <a16:creationId xmlns:a16="http://schemas.microsoft.com/office/drawing/2014/main" id="{EDFEE6E9-8666-CBFD-B1A5-1DAFB51F4B7A}"/>
              </a:ext>
            </a:extLst>
          </p:cNvPr>
          <p:cNvSpPr>
            <a:spLocks noGrp="1"/>
          </p:cNvSpPr>
          <p:nvPr>
            <p:ph type="title" hasCustomPrompt="1"/>
          </p:nvPr>
        </p:nvSpPr>
        <p:spPr>
          <a:xfrm>
            <a:off x="585216" y="3340672"/>
            <a:ext cx="4985307" cy="830997"/>
          </a:xfrm>
        </p:spPr>
        <p:txBody>
          <a:bodyPr anchor="ctr"/>
          <a:lstStyle>
            <a:lvl1pPr marL="0" marR="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defRPr lang="en-GB" sz="5400" b="0" kern="1200" cap="none" spc="-50" baseline="0" dirty="0" smtClean="0">
                <a:ln w="3175">
                  <a:noFill/>
                </a:ln>
                <a:solidFill>
                  <a:schemeClr val="bg2"/>
                </a:solidFill>
                <a:effectLst/>
                <a:latin typeface="+mj-lt"/>
                <a:ea typeface="+mn-ea"/>
                <a:cs typeface="Segoe UI" pitchFamily="34" charset="0"/>
              </a:defRPr>
            </a:lvl1pPr>
          </a:lstStyle>
          <a:p>
            <a:r>
              <a:rPr lang="en-GB"/>
              <a:t>Thank you!</a:t>
            </a:r>
          </a:p>
        </p:txBody>
      </p:sp>
    </p:spTree>
    <p:extLst>
      <p:ext uri="{BB962C8B-B14F-4D97-AF65-F5344CB8AC3E}">
        <p14:creationId xmlns:p14="http://schemas.microsoft.com/office/powerpoint/2010/main" val="20479160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3 (Light)">
    <p:spTree>
      <p:nvGrpSpPr>
        <p:cNvPr id="1" name=""/>
        <p:cNvGrpSpPr/>
        <p:nvPr/>
      </p:nvGrpSpPr>
      <p:grpSpPr>
        <a:xfrm>
          <a:off x="0" y="0"/>
          <a:ext cx="0" cy="0"/>
          <a:chOff x="0" y="0"/>
          <a:chExt cx="0" cy="0"/>
        </a:xfrm>
      </p:grpSpPr>
      <p:pic>
        <p:nvPicPr>
          <p:cNvPr id="116" name="Graphic 115">
            <a:extLst>
              <a:ext uri="{FF2B5EF4-FFF2-40B4-BE49-F238E27FC236}">
                <a16:creationId xmlns:a16="http://schemas.microsoft.com/office/drawing/2014/main" id="{3A7E59A8-E0B6-CD05-3DBD-8BC20313735E}"/>
              </a:ext>
            </a:extLst>
          </p:cNvPr>
          <p:cNvPicPr>
            <a:picLocks noChangeAspect="1"/>
          </p:cNvPicPr>
          <p:nvPr userDrawn="1"/>
        </p:nvPicPr>
        <p:blipFill>
          <a:blip r:embed="rId2">
            <a:grayscl/>
            <a:alphaModFix amt="4000"/>
            <a:extLst>
              <a:ext uri="{96DAC541-7B7A-43D3-8B79-37D633B846F1}">
                <asvg:svgBlip xmlns:asvg="http://schemas.microsoft.com/office/drawing/2016/SVG/main" r:embed="rId3"/>
              </a:ext>
            </a:extLst>
          </a:blip>
          <a:srcRect l="42275" r="2049"/>
          <a:stretch>
            <a:fillRect/>
          </a:stretch>
        </p:blipFill>
        <p:spPr>
          <a:xfrm rot="18415104" flipV="1">
            <a:off x="-1625119" y="-1206766"/>
            <a:ext cx="12175124" cy="7556328"/>
          </a:xfrm>
          <a:custGeom>
            <a:avLst/>
            <a:gdLst>
              <a:gd name="connsiteX0" fmla="*/ 0 w 12175124"/>
              <a:gd name="connsiteY0" fmla="*/ 4787786 h 7556328"/>
              <a:gd name="connsiteX1" fmla="*/ 3597176 w 12175124"/>
              <a:gd name="connsiteY1" fmla="*/ 0 h 7556328"/>
              <a:gd name="connsiteX2" fmla="*/ 12175124 w 12175124"/>
              <a:gd name="connsiteY2" fmla="*/ 0 h 7556328"/>
              <a:gd name="connsiteX3" fmla="*/ 6497877 w 12175124"/>
              <a:gd name="connsiteY3" fmla="*/ 7556328 h 7556328"/>
              <a:gd name="connsiteX4" fmla="*/ 3684886 w 12175124"/>
              <a:gd name="connsiteY4" fmla="*/ 7556328 h 7556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5124" h="7556328">
                <a:moveTo>
                  <a:pt x="0" y="4787786"/>
                </a:moveTo>
                <a:lnTo>
                  <a:pt x="3597176" y="0"/>
                </a:lnTo>
                <a:lnTo>
                  <a:pt x="12175124" y="0"/>
                </a:lnTo>
                <a:lnTo>
                  <a:pt x="6497877" y="7556328"/>
                </a:lnTo>
                <a:lnTo>
                  <a:pt x="3684886" y="7556328"/>
                </a:lnTo>
                <a:close/>
              </a:path>
            </a:pathLst>
          </a:custGeom>
        </p:spPr>
      </p:pic>
      <p:sp>
        <p:nvSpPr>
          <p:cNvPr id="29" name="Text Placeholder 4">
            <a:extLst>
              <a:ext uri="{FF2B5EF4-FFF2-40B4-BE49-F238E27FC236}">
                <a16:creationId xmlns:a16="http://schemas.microsoft.com/office/drawing/2014/main" id="{ED1427E7-1656-6F99-4DC0-44C3C0980B9B}"/>
              </a:ext>
            </a:extLst>
          </p:cNvPr>
          <p:cNvSpPr>
            <a:spLocks noGrp="1"/>
          </p:cNvSpPr>
          <p:nvPr>
            <p:ph type="body" sz="quarter" idx="12" hasCustomPrompt="1"/>
          </p:nvPr>
        </p:nvSpPr>
        <p:spPr>
          <a:xfrm>
            <a:off x="5007429" y="4442348"/>
            <a:ext cx="6061177" cy="369332"/>
          </a:xfrm>
          <a:noFill/>
        </p:spPr>
        <p:txBody>
          <a:bodyPr wrap="square" lIns="0" tIns="0" rIns="0" bIns="0" anchor="ctr">
            <a:spAutoFit/>
          </a:bodyPr>
          <a:lstStyle>
            <a:lvl1pPr marL="0" indent="0" algn="r">
              <a:spcBef>
                <a:spcPts val="0"/>
              </a:spcBef>
              <a:spcAft>
                <a:spcPts val="0"/>
              </a:spcAft>
              <a:buFont typeface="Arial" panose="020B0604020202020204" pitchFamily="34" charset="0"/>
              <a:buNone/>
              <a:defRPr lang="en-US" sz="2400" kern="1200" spc="0" baseline="0" dirty="0">
                <a:solidFill>
                  <a:srgbClr val="FFFFFF">
                    <a:lumMod val="50000"/>
                  </a:srgbClr>
                </a:solidFill>
                <a:latin typeface="Segoe UI Semibold"/>
                <a:ea typeface="+mn-ea"/>
                <a:cs typeface="Segoe UI" panose="020B0502040204020203" pitchFamily="34" charset="0"/>
              </a:defRPr>
            </a:lvl1pPr>
          </a:lstStyle>
          <a:p>
            <a:pPr marL="0" marR="0" lvl="0" indent="0" algn="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lang="en-US"/>
              <a:t>Speaker name</a:t>
            </a:r>
          </a:p>
        </p:txBody>
      </p:sp>
      <p:sp>
        <p:nvSpPr>
          <p:cNvPr id="30" name="Text Placeholder 3">
            <a:extLst>
              <a:ext uri="{FF2B5EF4-FFF2-40B4-BE49-F238E27FC236}">
                <a16:creationId xmlns:a16="http://schemas.microsoft.com/office/drawing/2014/main" id="{10C2B09A-54BA-8905-D458-3913B0BEA66C}"/>
              </a:ext>
            </a:extLst>
          </p:cNvPr>
          <p:cNvSpPr>
            <a:spLocks noGrp="1"/>
          </p:cNvSpPr>
          <p:nvPr>
            <p:ph type="body" sz="quarter" idx="13" hasCustomPrompt="1"/>
          </p:nvPr>
        </p:nvSpPr>
        <p:spPr>
          <a:xfrm>
            <a:off x="5007429" y="4965568"/>
            <a:ext cx="6061177" cy="307777"/>
          </a:xfrm>
        </p:spPr>
        <p:txBody>
          <a:bodyPr anchor="ctr"/>
          <a:lstStyle>
            <a:lvl1pPr marL="0" indent="0" algn="r">
              <a:buNone/>
              <a:defRPr lang="en-US" sz="2000" kern="1200" spc="0" baseline="0" dirty="0">
                <a:solidFill>
                  <a:srgbClr val="000000"/>
                </a:solidFill>
                <a:latin typeface="+mn-lt"/>
                <a:ea typeface="+mn-ea"/>
                <a:cs typeface="Segoe UI" panose="020B0502040204020203" pitchFamily="34" charset="0"/>
              </a:defRPr>
            </a:lvl1pPr>
          </a:lstStyle>
          <a:p>
            <a:pPr marL="0" marR="0" lvl="0" indent="0" algn="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lang="en-US"/>
              <a:t>Contact information</a:t>
            </a:r>
          </a:p>
        </p:txBody>
      </p:sp>
      <p:sp>
        <p:nvSpPr>
          <p:cNvPr id="2" name="Oval 1">
            <a:extLst>
              <a:ext uri="{FF2B5EF4-FFF2-40B4-BE49-F238E27FC236}">
                <a16:creationId xmlns:a16="http://schemas.microsoft.com/office/drawing/2014/main" id="{328D9C4A-C12F-C5EA-3F38-D34B616769A2}"/>
              </a:ext>
            </a:extLst>
          </p:cNvPr>
          <p:cNvSpPr/>
          <p:nvPr userDrawn="1"/>
        </p:nvSpPr>
        <p:spPr bwMode="auto">
          <a:xfrm>
            <a:off x="5219700" y="2090736"/>
            <a:ext cx="2185566" cy="2185566"/>
          </a:xfrm>
          <a:prstGeom prst="ellipse">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Graphic 10" descr="Microsoft Power Platform logo">
            <a:extLst>
              <a:ext uri="{FF2B5EF4-FFF2-40B4-BE49-F238E27FC236}">
                <a16:creationId xmlns:a16="http://schemas.microsoft.com/office/drawing/2014/main" id="{2B08070D-DA45-9E50-5236-87D907B8A4FA}"/>
              </a:ext>
              <a:ext uri="{C183D7F6-B498-43B3-948B-1728B52AA6E4}">
                <adec:decorative xmlns:adec="http://schemas.microsoft.com/office/drawing/2017/decorative" val="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04894" y="597820"/>
            <a:ext cx="3068320" cy="292608"/>
          </a:xfrm>
          <a:prstGeom prst="rect">
            <a:avLst/>
          </a:prstGeom>
        </p:spPr>
      </p:pic>
      <p:sp>
        <p:nvSpPr>
          <p:cNvPr id="12" name="Free-form: Shape 11">
            <a:extLst>
              <a:ext uri="{FF2B5EF4-FFF2-40B4-BE49-F238E27FC236}">
                <a16:creationId xmlns:a16="http://schemas.microsoft.com/office/drawing/2014/main" id="{0F41B74D-A7EF-3B20-7F0D-D067296E9EC6}"/>
              </a:ext>
            </a:extLst>
          </p:cNvPr>
          <p:cNvSpPr/>
          <p:nvPr userDrawn="1"/>
        </p:nvSpPr>
        <p:spPr bwMode="auto">
          <a:xfrm flipH="1" flipV="1">
            <a:off x="2171700" y="0"/>
            <a:ext cx="9715500" cy="5918200"/>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 name="connsiteX0" fmla="*/ 0 w 4343400"/>
              <a:gd name="connsiteY0" fmla="*/ 1473200 h 1473200"/>
              <a:gd name="connsiteX1" fmla="*/ 0 w 4343400"/>
              <a:gd name="connsiteY1" fmla="*/ 0 h 1473200"/>
              <a:gd name="connsiteX2" fmla="*/ 4343400 w 4343400"/>
              <a:gd name="connsiteY2" fmla="*/ 0 h 1473200"/>
            </a:gdLst>
            <a:ahLst/>
            <a:cxnLst>
              <a:cxn ang="0">
                <a:pos x="connsiteX0" y="connsiteY0"/>
              </a:cxn>
              <a:cxn ang="0">
                <a:pos x="connsiteX1" y="connsiteY1"/>
              </a:cxn>
              <a:cxn ang="0">
                <a:pos x="connsiteX2" y="connsiteY2"/>
              </a:cxn>
            </a:cxnLst>
            <a:rect l="l" t="t" r="r" b="b"/>
            <a:pathLst>
              <a:path w="4343400" h="1473200">
                <a:moveTo>
                  <a:pt x="0" y="1473200"/>
                </a:moveTo>
                <a:lnTo>
                  <a:pt x="0" y="0"/>
                </a:lnTo>
                <a:lnTo>
                  <a:pt x="4343400" y="0"/>
                </a:lnTo>
              </a:path>
            </a:pathLst>
          </a:custGeom>
          <a:noFill/>
          <a:ln w="6350" cap="rnd">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987DECF0-2825-F323-1C94-7430D87E00E5}"/>
              </a:ext>
            </a:extLst>
          </p:cNvPr>
          <p:cNvGrpSpPr/>
          <p:nvPr userDrawn="1"/>
        </p:nvGrpSpPr>
        <p:grpSpPr>
          <a:xfrm rot="5400000">
            <a:off x="933017" y="5029200"/>
            <a:ext cx="932403" cy="932403"/>
            <a:chOff x="11016820" y="5720920"/>
            <a:chExt cx="870379" cy="870379"/>
          </a:xfrm>
        </p:grpSpPr>
        <p:sp>
          <p:nvSpPr>
            <p:cNvPr id="17" name="Oval 16">
              <a:extLst>
                <a:ext uri="{FF2B5EF4-FFF2-40B4-BE49-F238E27FC236}">
                  <a16:creationId xmlns:a16="http://schemas.microsoft.com/office/drawing/2014/main" id="{CDAB639E-D164-BC8B-4619-40816048398F}"/>
                </a:ext>
              </a:extLst>
            </p:cNvPr>
            <p:cNvSpPr/>
            <p:nvPr/>
          </p:nvSpPr>
          <p:spPr bwMode="auto">
            <a:xfrm>
              <a:off x="11798515"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DD002153-809C-34E9-0578-2AA7C15B1C2C}"/>
                </a:ext>
              </a:extLst>
            </p:cNvPr>
            <p:cNvSpPr/>
            <p:nvPr/>
          </p:nvSpPr>
          <p:spPr bwMode="auto">
            <a:xfrm>
              <a:off x="11798515"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33FEB50E-6B75-3FB6-E975-8BCDE5024C9E}"/>
                </a:ext>
              </a:extLst>
            </p:cNvPr>
            <p:cNvSpPr/>
            <p:nvPr/>
          </p:nvSpPr>
          <p:spPr bwMode="auto">
            <a:xfrm>
              <a:off x="11798515"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9764DC1F-AABF-35A3-1458-72C9D07C5C2D}"/>
                </a:ext>
              </a:extLst>
            </p:cNvPr>
            <p:cNvSpPr/>
            <p:nvPr/>
          </p:nvSpPr>
          <p:spPr bwMode="auto">
            <a:xfrm>
              <a:off x="11798515"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EB4321EC-BAC3-DA0F-4630-6E6B57E9FA8F}"/>
                </a:ext>
              </a:extLst>
            </p:cNvPr>
            <p:cNvSpPr/>
            <p:nvPr/>
          </p:nvSpPr>
          <p:spPr bwMode="auto">
            <a:xfrm rot="5400000">
              <a:off x="1153795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41A3E2B5-28D3-C2B2-8A09-1BB3097A442D}"/>
                </a:ext>
              </a:extLst>
            </p:cNvPr>
            <p:cNvSpPr/>
            <p:nvPr/>
          </p:nvSpPr>
          <p:spPr bwMode="auto">
            <a:xfrm rot="5400000">
              <a:off x="11277384"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06C83398-8708-BA02-6FAE-3928DB816762}"/>
                </a:ext>
              </a:extLst>
            </p:cNvPr>
            <p:cNvSpPr/>
            <p:nvPr/>
          </p:nvSpPr>
          <p:spPr bwMode="auto">
            <a:xfrm rot="5400000">
              <a:off x="1101682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9DABA7B6-3A8C-9246-13E2-CCA2D76D493E}"/>
                </a:ext>
              </a:extLst>
            </p:cNvPr>
            <p:cNvSpPr/>
            <p:nvPr/>
          </p:nvSpPr>
          <p:spPr bwMode="auto">
            <a:xfrm rot="5400000">
              <a:off x="1153795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3BA4D6B5-4B90-7357-1AC2-8146651B29E3}"/>
                </a:ext>
              </a:extLst>
            </p:cNvPr>
            <p:cNvSpPr/>
            <p:nvPr/>
          </p:nvSpPr>
          <p:spPr bwMode="auto">
            <a:xfrm rot="5400000">
              <a:off x="11277384"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B5F486D6-6932-FA63-AC6B-7D2F304BE77A}"/>
                </a:ext>
              </a:extLst>
            </p:cNvPr>
            <p:cNvSpPr/>
            <p:nvPr/>
          </p:nvSpPr>
          <p:spPr bwMode="auto">
            <a:xfrm rot="5400000">
              <a:off x="11537950"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049B813A-7A86-ED14-2F6C-5DD6BC1D8C2D}"/>
                </a:ext>
              </a:extLst>
            </p:cNvPr>
            <p:cNvSpPr/>
            <p:nvPr/>
          </p:nvSpPr>
          <p:spPr bwMode="auto">
            <a:xfrm rot="5400000">
              <a:off x="1101682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FF4D76DA-8C14-D22D-8350-903159932C33}"/>
                </a:ext>
              </a:extLst>
            </p:cNvPr>
            <p:cNvSpPr/>
            <p:nvPr/>
          </p:nvSpPr>
          <p:spPr bwMode="auto">
            <a:xfrm rot="5400000">
              <a:off x="11537950"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38" name="Free-form: Shape 37">
            <a:extLst>
              <a:ext uri="{FF2B5EF4-FFF2-40B4-BE49-F238E27FC236}">
                <a16:creationId xmlns:a16="http://schemas.microsoft.com/office/drawing/2014/main" id="{03AE6250-4BAE-A5D3-8E60-0CB02D58C209}"/>
              </a:ext>
            </a:extLst>
          </p:cNvPr>
          <p:cNvSpPr/>
          <p:nvPr userDrawn="1"/>
        </p:nvSpPr>
        <p:spPr bwMode="auto">
          <a:xfrm flipH="1" flipV="1">
            <a:off x="604894" y="2628900"/>
            <a:ext cx="11004494" cy="3613150"/>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Lst>
            <a:ahLst/>
            <a:cxnLst>
              <a:cxn ang="0">
                <a:pos x="connsiteX0" y="connsiteY0"/>
              </a:cxn>
              <a:cxn ang="0">
                <a:pos x="connsiteX1" y="connsiteY1"/>
              </a:cxn>
              <a:cxn ang="0">
                <a:pos x="connsiteX2" y="connsiteY2"/>
              </a:cxn>
              <a:cxn ang="0">
                <a:pos x="connsiteX3" y="connsiteY3"/>
              </a:cxn>
            </a:cxnLst>
            <a:rect l="l" t="t" r="r" b="b"/>
            <a:pathLst>
              <a:path w="4343400" h="1473200">
                <a:moveTo>
                  <a:pt x="0" y="1473200"/>
                </a:moveTo>
                <a:lnTo>
                  <a:pt x="0" y="0"/>
                </a:lnTo>
                <a:lnTo>
                  <a:pt x="4343400" y="0"/>
                </a:lnTo>
                <a:lnTo>
                  <a:pt x="4343400" y="304800"/>
                </a:lnTo>
              </a:path>
            </a:pathLst>
          </a:custGeom>
          <a:noFill/>
          <a:ln w="635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Text Box 3" descr="This is a copyright notice that should be included on the final slide.">
            <a:extLst>
              <a:ext uri="{FF2B5EF4-FFF2-40B4-BE49-F238E27FC236}">
                <a16:creationId xmlns:a16="http://schemas.microsoft.com/office/drawing/2014/main" id="{23A27302-55F2-1DF8-B450-7D1630FFA97D}"/>
              </a:ext>
            </a:extLst>
          </p:cNvPr>
          <p:cNvSpPr txBox="1">
            <a:spLocks noChangeArrowheads="1"/>
          </p:cNvSpPr>
          <p:nvPr userDrawn="1"/>
        </p:nvSpPr>
        <p:spPr bwMode="blackWhite">
          <a:xfrm>
            <a:off x="604894" y="6462131"/>
            <a:ext cx="448212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lumMod val="65000"/>
                  </a:schemeClr>
                </a:solidFill>
                <a:effectLst/>
                <a:uLnTx/>
                <a:uFillTx/>
                <a:ea typeface="+mn-ea"/>
                <a:cs typeface="Segoe UI" pitchFamily="34" charset="0"/>
              </a:rPr>
              <a:t>© Copyright Microsoft Corporation. All rights reserved. </a:t>
            </a:r>
          </a:p>
        </p:txBody>
      </p:sp>
      <p:grpSp>
        <p:nvGrpSpPr>
          <p:cNvPr id="41" name="Group 40">
            <a:extLst>
              <a:ext uri="{FF2B5EF4-FFF2-40B4-BE49-F238E27FC236}">
                <a16:creationId xmlns:a16="http://schemas.microsoft.com/office/drawing/2014/main" id="{3C47CEF5-4E26-434F-C205-C5D59182A20A}"/>
              </a:ext>
            </a:extLst>
          </p:cNvPr>
          <p:cNvGrpSpPr/>
          <p:nvPr userDrawn="1"/>
        </p:nvGrpSpPr>
        <p:grpSpPr>
          <a:xfrm>
            <a:off x="7536264" y="1533901"/>
            <a:ext cx="4636098" cy="950695"/>
            <a:chOff x="2110257" y="-2186187"/>
            <a:chExt cx="6422153" cy="1316951"/>
          </a:xfrm>
        </p:grpSpPr>
        <p:sp>
          <p:nvSpPr>
            <p:cNvPr id="42" name="Oval 41">
              <a:extLst>
                <a:ext uri="{FF2B5EF4-FFF2-40B4-BE49-F238E27FC236}">
                  <a16:creationId xmlns:a16="http://schemas.microsoft.com/office/drawing/2014/main" id="{85F5C0AB-990D-2F9A-9824-12A661B549A4}"/>
                </a:ext>
              </a:extLst>
            </p:cNvPr>
            <p:cNvSpPr/>
            <p:nvPr/>
          </p:nvSpPr>
          <p:spPr bwMode="auto">
            <a:xfrm rot="16200000" flipH="1">
              <a:off x="5445945"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8CC8D0A2-FC3B-DF70-09D0-8B9E76E48C55}"/>
                </a:ext>
              </a:extLst>
            </p:cNvPr>
            <p:cNvSpPr/>
            <p:nvPr/>
          </p:nvSpPr>
          <p:spPr bwMode="auto">
            <a:xfrm rot="16200000" flipH="1">
              <a:off x="581657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9A9D49D7-29F9-248B-14A7-BBBBEF6CAAE1}"/>
                </a:ext>
              </a:extLst>
            </p:cNvPr>
            <p:cNvSpPr/>
            <p:nvPr/>
          </p:nvSpPr>
          <p:spPr bwMode="auto">
            <a:xfrm rot="16200000" flipH="1">
              <a:off x="618720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B2561DA4-A2CD-FAF3-7040-2E2E3D84BE0C}"/>
                </a:ext>
              </a:extLst>
            </p:cNvPr>
            <p:cNvSpPr/>
            <p:nvPr/>
          </p:nvSpPr>
          <p:spPr bwMode="auto">
            <a:xfrm flipH="1">
              <a:off x="7299105"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9B8C7BF9-CF2E-086F-A931-59D2D6FDE469}"/>
                </a:ext>
              </a:extLst>
            </p:cNvPr>
            <p:cNvSpPr/>
            <p:nvPr/>
          </p:nvSpPr>
          <p:spPr bwMode="auto">
            <a:xfrm rot="16200000" flipH="1">
              <a:off x="766973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E674ABA2-9D9F-1574-0667-BB61EC6450D3}"/>
                </a:ext>
              </a:extLst>
            </p:cNvPr>
            <p:cNvSpPr/>
            <p:nvPr/>
          </p:nvSpPr>
          <p:spPr bwMode="auto">
            <a:xfrm rot="16200000" flipH="1">
              <a:off x="804036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011D13ED-5B08-1E30-A093-88381E410AFC}"/>
                </a:ext>
              </a:extLst>
            </p:cNvPr>
            <p:cNvSpPr/>
            <p:nvPr/>
          </p:nvSpPr>
          <p:spPr bwMode="auto">
            <a:xfrm rot="16200000" flipH="1">
              <a:off x="841100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45994FC4-52D3-CBD4-359A-5C6BC4753B98}"/>
                </a:ext>
              </a:extLst>
            </p:cNvPr>
            <p:cNvSpPr/>
            <p:nvPr/>
          </p:nvSpPr>
          <p:spPr bwMode="auto">
            <a:xfrm flipH="1">
              <a:off x="6928473"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09015457-EA20-56F4-EB5A-4E4A95F4B2F9}"/>
                </a:ext>
              </a:extLst>
            </p:cNvPr>
            <p:cNvSpPr/>
            <p:nvPr/>
          </p:nvSpPr>
          <p:spPr bwMode="auto">
            <a:xfrm flipH="1">
              <a:off x="6557841"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6B18E8D1-4891-B493-559C-C49D4F4749E3}"/>
                </a:ext>
              </a:extLst>
            </p:cNvPr>
            <p:cNvSpPr/>
            <p:nvPr/>
          </p:nvSpPr>
          <p:spPr bwMode="auto">
            <a:xfrm rot="16200000" flipH="1">
              <a:off x="5445945"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04209FF1-B135-83FD-1F0F-9935EBF19CBA}"/>
                </a:ext>
              </a:extLst>
            </p:cNvPr>
            <p:cNvSpPr/>
            <p:nvPr/>
          </p:nvSpPr>
          <p:spPr bwMode="auto">
            <a:xfrm rot="16200000" flipH="1">
              <a:off x="581657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6D1E3D37-5028-D6E6-BC57-4E0F6530B556}"/>
                </a:ext>
              </a:extLst>
            </p:cNvPr>
            <p:cNvSpPr/>
            <p:nvPr/>
          </p:nvSpPr>
          <p:spPr bwMode="auto">
            <a:xfrm rot="16200000" flipH="1">
              <a:off x="618720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691117A2-350B-A2A8-0C2B-488272516AAC}"/>
                </a:ext>
              </a:extLst>
            </p:cNvPr>
            <p:cNvSpPr/>
            <p:nvPr/>
          </p:nvSpPr>
          <p:spPr bwMode="auto">
            <a:xfrm flipH="1">
              <a:off x="7299105"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B6B779F3-C5D7-85F4-E094-D311373F3123}"/>
                </a:ext>
              </a:extLst>
            </p:cNvPr>
            <p:cNvSpPr/>
            <p:nvPr/>
          </p:nvSpPr>
          <p:spPr bwMode="auto">
            <a:xfrm rot="16200000" flipH="1">
              <a:off x="766973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5C90D65A-9B8D-6ACD-E374-15C1EEB0516F}"/>
                </a:ext>
              </a:extLst>
            </p:cNvPr>
            <p:cNvSpPr/>
            <p:nvPr/>
          </p:nvSpPr>
          <p:spPr bwMode="auto">
            <a:xfrm rot="16200000" flipH="1">
              <a:off x="804036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16A3F3A3-12F8-4A60-C6DA-E8550EE733F3}"/>
                </a:ext>
              </a:extLst>
            </p:cNvPr>
            <p:cNvSpPr/>
            <p:nvPr/>
          </p:nvSpPr>
          <p:spPr bwMode="auto">
            <a:xfrm rot="16200000" flipH="1">
              <a:off x="841100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3778DA2C-346D-E6C4-AA4B-7107C88BB627}"/>
                </a:ext>
              </a:extLst>
            </p:cNvPr>
            <p:cNvSpPr/>
            <p:nvPr/>
          </p:nvSpPr>
          <p:spPr bwMode="auto">
            <a:xfrm flipH="1">
              <a:off x="6928473"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A335053E-8EA8-4A66-B89C-BEB5BE1FB6E8}"/>
                </a:ext>
              </a:extLst>
            </p:cNvPr>
            <p:cNvSpPr/>
            <p:nvPr/>
          </p:nvSpPr>
          <p:spPr bwMode="auto">
            <a:xfrm flipH="1">
              <a:off x="6557841"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E83F58D6-4326-2626-9F49-92570BAC141F}"/>
                </a:ext>
              </a:extLst>
            </p:cNvPr>
            <p:cNvSpPr/>
            <p:nvPr/>
          </p:nvSpPr>
          <p:spPr bwMode="auto">
            <a:xfrm rot="16200000" flipH="1">
              <a:off x="5445945"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9296434F-0FA2-14AA-6625-45E69FDAB767}"/>
                </a:ext>
              </a:extLst>
            </p:cNvPr>
            <p:cNvSpPr/>
            <p:nvPr/>
          </p:nvSpPr>
          <p:spPr bwMode="auto">
            <a:xfrm rot="16200000" flipH="1">
              <a:off x="581657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C7532114-B426-DA63-7BEE-86777BB54061}"/>
                </a:ext>
              </a:extLst>
            </p:cNvPr>
            <p:cNvSpPr/>
            <p:nvPr/>
          </p:nvSpPr>
          <p:spPr bwMode="auto">
            <a:xfrm rot="16200000" flipH="1">
              <a:off x="618720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C3A7092C-212F-3730-A7A6-8C584BAE4283}"/>
                </a:ext>
              </a:extLst>
            </p:cNvPr>
            <p:cNvSpPr/>
            <p:nvPr/>
          </p:nvSpPr>
          <p:spPr bwMode="auto">
            <a:xfrm flipH="1">
              <a:off x="7299105"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612ED967-98EA-7F85-0868-E80276A0BAC9}"/>
                </a:ext>
              </a:extLst>
            </p:cNvPr>
            <p:cNvSpPr/>
            <p:nvPr/>
          </p:nvSpPr>
          <p:spPr bwMode="auto">
            <a:xfrm rot="16200000" flipH="1">
              <a:off x="766973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F251AF1B-67A0-6343-D19A-B9BA44690D42}"/>
                </a:ext>
              </a:extLst>
            </p:cNvPr>
            <p:cNvSpPr/>
            <p:nvPr/>
          </p:nvSpPr>
          <p:spPr bwMode="auto">
            <a:xfrm rot="16200000" flipH="1">
              <a:off x="804036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A036B1FA-9118-7392-802E-F7856BBF7515}"/>
                </a:ext>
              </a:extLst>
            </p:cNvPr>
            <p:cNvSpPr/>
            <p:nvPr/>
          </p:nvSpPr>
          <p:spPr bwMode="auto">
            <a:xfrm rot="16200000" flipH="1">
              <a:off x="841100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41073763-3649-CC03-CBC8-723B2E6792E7}"/>
                </a:ext>
              </a:extLst>
            </p:cNvPr>
            <p:cNvSpPr/>
            <p:nvPr/>
          </p:nvSpPr>
          <p:spPr bwMode="auto">
            <a:xfrm flipH="1">
              <a:off x="6928473"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A374FDD-BAA4-371C-CC42-BA6EB27DC8D7}"/>
                </a:ext>
              </a:extLst>
            </p:cNvPr>
            <p:cNvSpPr/>
            <p:nvPr/>
          </p:nvSpPr>
          <p:spPr bwMode="auto">
            <a:xfrm flipH="1">
              <a:off x="6557841"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8FED1891-7910-423A-B412-31C9F6A3F168}"/>
                </a:ext>
              </a:extLst>
            </p:cNvPr>
            <p:cNvSpPr/>
            <p:nvPr/>
          </p:nvSpPr>
          <p:spPr bwMode="auto">
            <a:xfrm rot="16200000" flipH="1">
              <a:off x="5445945"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4E014EFB-467C-ECCB-7962-C767F03D682D}"/>
                </a:ext>
              </a:extLst>
            </p:cNvPr>
            <p:cNvSpPr/>
            <p:nvPr/>
          </p:nvSpPr>
          <p:spPr bwMode="auto">
            <a:xfrm rot="16200000" flipH="1">
              <a:off x="581657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C80BB61A-BA3B-0441-BDCE-B312AC39D15F}"/>
                </a:ext>
              </a:extLst>
            </p:cNvPr>
            <p:cNvSpPr/>
            <p:nvPr/>
          </p:nvSpPr>
          <p:spPr bwMode="auto">
            <a:xfrm rot="16200000" flipH="1">
              <a:off x="618720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9828A16C-4250-F81A-4756-F0BB5781CB09}"/>
                </a:ext>
              </a:extLst>
            </p:cNvPr>
            <p:cNvSpPr/>
            <p:nvPr/>
          </p:nvSpPr>
          <p:spPr bwMode="auto">
            <a:xfrm flipH="1">
              <a:off x="7299105"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69F02B4D-05F2-907F-FA80-146C2407926B}"/>
                </a:ext>
              </a:extLst>
            </p:cNvPr>
            <p:cNvSpPr/>
            <p:nvPr/>
          </p:nvSpPr>
          <p:spPr bwMode="auto">
            <a:xfrm rot="16200000" flipH="1">
              <a:off x="766973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3359AB73-768C-5A56-ADDA-87F0576AB605}"/>
                </a:ext>
              </a:extLst>
            </p:cNvPr>
            <p:cNvSpPr/>
            <p:nvPr/>
          </p:nvSpPr>
          <p:spPr bwMode="auto">
            <a:xfrm rot="16200000" flipH="1">
              <a:off x="804036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07682A51-2BAE-D9F2-517F-04C7E0CB82BA}"/>
                </a:ext>
              </a:extLst>
            </p:cNvPr>
            <p:cNvSpPr/>
            <p:nvPr/>
          </p:nvSpPr>
          <p:spPr bwMode="auto">
            <a:xfrm rot="16200000" flipH="1">
              <a:off x="841100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A25FB99-1C34-2689-DE7D-23F96876F28B}"/>
                </a:ext>
              </a:extLst>
            </p:cNvPr>
            <p:cNvSpPr/>
            <p:nvPr/>
          </p:nvSpPr>
          <p:spPr bwMode="auto">
            <a:xfrm flipH="1">
              <a:off x="6928473"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976316FF-8C95-5855-6E47-7A2400E4D2E7}"/>
                </a:ext>
              </a:extLst>
            </p:cNvPr>
            <p:cNvSpPr/>
            <p:nvPr/>
          </p:nvSpPr>
          <p:spPr bwMode="auto">
            <a:xfrm flipH="1">
              <a:off x="6557841"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CD1804F6-8356-8A39-2957-654FFA8EE4EA}"/>
                </a:ext>
              </a:extLst>
            </p:cNvPr>
            <p:cNvSpPr/>
            <p:nvPr/>
          </p:nvSpPr>
          <p:spPr bwMode="auto">
            <a:xfrm rot="16200000" flipH="1">
              <a:off x="211025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697BC876-FF0A-5AAC-5C72-BE0B08F6B307}"/>
                </a:ext>
              </a:extLst>
            </p:cNvPr>
            <p:cNvSpPr/>
            <p:nvPr/>
          </p:nvSpPr>
          <p:spPr bwMode="auto">
            <a:xfrm rot="16200000" flipH="1">
              <a:off x="248088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71B1C47F-E934-7BF1-A303-81689FCE3BBF}"/>
                </a:ext>
              </a:extLst>
            </p:cNvPr>
            <p:cNvSpPr/>
            <p:nvPr/>
          </p:nvSpPr>
          <p:spPr bwMode="auto">
            <a:xfrm rot="16200000" flipH="1">
              <a:off x="2851521"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686A8F46-B481-C7BB-3082-D8622C53C252}"/>
                </a:ext>
              </a:extLst>
            </p:cNvPr>
            <p:cNvSpPr/>
            <p:nvPr/>
          </p:nvSpPr>
          <p:spPr bwMode="auto">
            <a:xfrm flipH="1">
              <a:off x="396341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2" name="Oval 81">
              <a:extLst>
                <a:ext uri="{FF2B5EF4-FFF2-40B4-BE49-F238E27FC236}">
                  <a16:creationId xmlns:a16="http://schemas.microsoft.com/office/drawing/2014/main" id="{5BCF7037-DADA-4A96-F7DC-AB443E05FA5C}"/>
                </a:ext>
              </a:extLst>
            </p:cNvPr>
            <p:cNvSpPr/>
            <p:nvPr/>
          </p:nvSpPr>
          <p:spPr bwMode="auto">
            <a:xfrm rot="16200000" flipH="1">
              <a:off x="433404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AD6D1AA5-7D71-C1CB-C470-378A60914442}"/>
                </a:ext>
              </a:extLst>
            </p:cNvPr>
            <p:cNvSpPr/>
            <p:nvPr/>
          </p:nvSpPr>
          <p:spPr bwMode="auto">
            <a:xfrm rot="16200000" flipH="1">
              <a:off x="4704681"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77500A5D-B3AA-309C-3D1E-105F945788B7}"/>
                </a:ext>
              </a:extLst>
            </p:cNvPr>
            <p:cNvSpPr/>
            <p:nvPr/>
          </p:nvSpPr>
          <p:spPr bwMode="auto">
            <a:xfrm rot="16200000" flipH="1">
              <a:off x="5075313"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5" name="Oval 84">
              <a:extLst>
                <a:ext uri="{FF2B5EF4-FFF2-40B4-BE49-F238E27FC236}">
                  <a16:creationId xmlns:a16="http://schemas.microsoft.com/office/drawing/2014/main" id="{D7997A35-F408-AE73-AA8E-15EF5E248C92}"/>
                </a:ext>
              </a:extLst>
            </p:cNvPr>
            <p:cNvSpPr/>
            <p:nvPr/>
          </p:nvSpPr>
          <p:spPr bwMode="auto">
            <a:xfrm flipH="1">
              <a:off x="3592785"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97B6D733-4487-637F-11CF-C9EA4143B76F}"/>
                </a:ext>
              </a:extLst>
            </p:cNvPr>
            <p:cNvSpPr/>
            <p:nvPr/>
          </p:nvSpPr>
          <p:spPr bwMode="auto">
            <a:xfrm flipH="1">
              <a:off x="3222153"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94CE726B-FFF4-BD97-D30C-5B0898B39919}"/>
                </a:ext>
              </a:extLst>
            </p:cNvPr>
            <p:cNvSpPr/>
            <p:nvPr/>
          </p:nvSpPr>
          <p:spPr bwMode="auto">
            <a:xfrm rot="16200000" flipH="1">
              <a:off x="211025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7D58717A-C73E-4A61-33DB-0D734732426B}"/>
                </a:ext>
              </a:extLst>
            </p:cNvPr>
            <p:cNvSpPr/>
            <p:nvPr/>
          </p:nvSpPr>
          <p:spPr bwMode="auto">
            <a:xfrm rot="16200000" flipH="1">
              <a:off x="248088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1EAFAD89-4A4F-F63D-0ECB-810ED30921EC}"/>
                </a:ext>
              </a:extLst>
            </p:cNvPr>
            <p:cNvSpPr/>
            <p:nvPr/>
          </p:nvSpPr>
          <p:spPr bwMode="auto">
            <a:xfrm rot="16200000" flipH="1">
              <a:off x="2851521"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31DFDC77-6E9C-4015-060B-10E5C49E35D0}"/>
                </a:ext>
              </a:extLst>
            </p:cNvPr>
            <p:cNvSpPr/>
            <p:nvPr/>
          </p:nvSpPr>
          <p:spPr bwMode="auto">
            <a:xfrm flipH="1">
              <a:off x="396341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CF452185-1B91-EE5D-DC9E-F6E1D4A7A7A9}"/>
                </a:ext>
              </a:extLst>
            </p:cNvPr>
            <p:cNvSpPr/>
            <p:nvPr/>
          </p:nvSpPr>
          <p:spPr bwMode="auto">
            <a:xfrm rot="16200000" flipH="1">
              <a:off x="433404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17748EFE-0A2B-A83A-D005-BC9D09AE4E02}"/>
                </a:ext>
              </a:extLst>
            </p:cNvPr>
            <p:cNvSpPr/>
            <p:nvPr/>
          </p:nvSpPr>
          <p:spPr bwMode="auto">
            <a:xfrm rot="16200000" flipH="1">
              <a:off x="4704681"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138668CA-F054-E0EA-D6C2-910ADF8B020F}"/>
                </a:ext>
              </a:extLst>
            </p:cNvPr>
            <p:cNvSpPr/>
            <p:nvPr/>
          </p:nvSpPr>
          <p:spPr bwMode="auto">
            <a:xfrm rot="16200000" flipH="1">
              <a:off x="5075313"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85DB7F3E-FAB7-FCFC-11EB-E2A53EE8EDFD}"/>
                </a:ext>
              </a:extLst>
            </p:cNvPr>
            <p:cNvSpPr/>
            <p:nvPr/>
          </p:nvSpPr>
          <p:spPr bwMode="auto">
            <a:xfrm flipH="1">
              <a:off x="3592785"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88B7CBBC-283E-38E4-EE8C-E594B7BAAF7E}"/>
                </a:ext>
              </a:extLst>
            </p:cNvPr>
            <p:cNvSpPr/>
            <p:nvPr/>
          </p:nvSpPr>
          <p:spPr bwMode="auto">
            <a:xfrm flipH="1">
              <a:off x="3222153"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1B2B4742-47FE-AAE8-AB75-F345D93381BB}"/>
                </a:ext>
              </a:extLst>
            </p:cNvPr>
            <p:cNvSpPr/>
            <p:nvPr/>
          </p:nvSpPr>
          <p:spPr bwMode="auto">
            <a:xfrm rot="16200000" flipH="1">
              <a:off x="211025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5E08CE76-1221-787E-AA99-3E2E6AEC20A0}"/>
                </a:ext>
              </a:extLst>
            </p:cNvPr>
            <p:cNvSpPr/>
            <p:nvPr/>
          </p:nvSpPr>
          <p:spPr bwMode="auto">
            <a:xfrm rot="16200000" flipH="1">
              <a:off x="248088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8" name="Oval 97">
              <a:extLst>
                <a:ext uri="{FF2B5EF4-FFF2-40B4-BE49-F238E27FC236}">
                  <a16:creationId xmlns:a16="http://schemas.microsoft.com/office/drawing/2014/main" id="{B633EE0B-4B44-00A0-EC81-00D8CE72E24E}"/>
                </a:ext>
              </a:extLst>
            </p:cNvPr>
            <p:cNvSpPr/>
            <p:nvPr/>
          </p:nvSpPr>
          <p:spPr bwMode="auto">
            <a:xfrm rot="16200000" flipH="1">
              <a:off x="2851521"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B2C4282A-0E57-F3DA-B1B3-E74657C9CF9F}"/>
                </a:ext>
              </a:extLst>
            </p:cNvPr>
            <p:cNvSpPr/>
            <p:nvPr/>
          </p:nvSpPr>
          <p:spPr bwMode="auto">
            <a:xfrm flipH="1">
              <a:off x="396341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0" name="Oval 99">
              <a:extLst>
                <a:ext uri="{FF2B5EF4-FFF2-40B4-BE49-F238E27FC236}">
                  <a16:creationId xmlns:a16="http://schemas.microsoft.com/office/drawing/2014/main" id="{A8D7E182-1229-E958-38C9-EC1269F52A0C}"/>
                </a:ext>
              </a:extLst>
            </p:cNvPr>
            <p:cNvSpPr/>
            <p:nvPr/>
          </p:nvSpPr>
          <p:spPr bwMode="auto">
            <a:xfrm rot="16200000" flipH="1">
              <a:off x="433404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D9EED7B3-88D9-E868-F290-F95A30153EB4}"/>
                </a:ext>
              </a:extLst>
            </p:cNvPr>
            <p:cNvSpPr/>
            <p:nvPr/>
          </p:nvSpPr>
          <p:spPr bwMode="auto">
            <a:xfrm rot="16200000" flipH="1">
              <a:off x="4704681"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2" name="Oval 101">
              <a:extLst>
                <a:ext uri="{FF2B5EF4-FFF2-40B4-BE49-F238E27FC236}">
                  <a16:creationId xmlns:a16="http://schemas.microsoft.com/office/drawing/2014/main" id="{A5E49765-F8F1-BC30-FD19-4563677004B7}"/>
                </a:ext>
              </a:extLst>
            </p:cNvPr>
            <p:cNvSpPr/>
            <p:nvPr/>
          </p:nvSpPr>
          <p:spPr bwMode="auto">
            <a:xfrm rot="16200000" flipH="1">
              <a:off x="5075313"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3" name="Oval 102">
              <a:extLst>
                <a:ext uri="{FF2B5EF4-FFF2-40B4-BE49-F238E27FC236}">
                  <a16:creationId xmlns:a16="http://schemas.microsoft.com/office/drawing/2014/main" id="{19555EF8-509A-3BC1-5804-7A421197FD14}"/>
                </a:ext>
              </a:extLst>
            </p:cNvPr>
            <p:cNvSpPr/>
            <p:nvPr/>
          </p:nvSpPr>
          <p:spPr bwMode="auto">
            <a:xfrm flipH="1">
              <a:off x="3592785"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4" name="Oval 103">
              <a:extLst>
                <a:ext uri="{FF2B5EF4-FFF2-40B4-BE49-F238E27FC236}">
                  <a16:creationId xmlns:a16="http://schemas.microsoft.com/office/drawing/2014/main" id="{5F332CD8-B317-D8B1-73C4-69BCE8AC9160}"/>
                </a:ext>
              </a:extLst>
            </p:cNvPr>
            <p:cNvSpPr/>
            <p:nvPr/>
          </p:nvSpPr>
          <p:spPr bwMode="auto">
            <a:xfrm flipH="1">
              <a:off x="3222153"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5" name="Oval 104">
              <a:extLst>
                <a:ext uri="{FF2B5EF4-FFF2-40B4-BE49-F238E27FC236}">
                  <a16:creationId xmlns:a16="http://schemas.microsoft.com/office/drawing/2014/main" id="{E35483CB-DB85-8D97-1410-97D711A1933F}"/>
                </a:ext>
              </a:extLst>
            </p:cNvPr>
            <p:cNvSpPr/>
            <p:nvPr/>
          </p:nvSpPr>
          <p:spPr bwMode="auto">
            <a:xfrm rot="16200000" flipH="1">
              <a:off x="211025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6" name="Oval 105">
              <a:extLst>
                <a:ext uri="{FF2B5EF4-FFF2-40B4-BE49-F238E27FC236}">
                  <a16:creationId xmlns:a16="http://schemas.microsoft.com/office/drawing/2014/main" id="{83E05CCD-6AB6-1284-5692-FE3075A7EA0C}"/>
                </a:ext>
              </a:extLst>
            </p:cNvPr>
            <p:cNvSpPr/>
            <p:nvPr/>
          </p:nvSpPr>
          <p:spPr bwMode="auto">
            <a:xfrm rot="16200000" flipH="1">
              <a:off x="248088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164E278F-A1A5-7C94-CBF9-B070B4F59A85}"/>
                </a:ext>
              </a:extLst>
            </p:cNvPr>
            <p:cNvSpPr/>
            <p:nvPr/>
          </p:nvSpPr>
          <p:spPr bwMode="auto">
            <a:xfrm rot="16200000" flipH="1">
              <a:off x="2851521"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90C9DA85-89FF-8E64-E13D-5FB5C73A6C5D}"/>
                </a:ext>
              </a:extLst>
            </p:cNvPr>
            <p:cNvSpPr/>
            <p:nvPr/>
          </p:nvSpPr>
          <p:spPr bwMode="auto">
            <a:xfrm flipH="1">
              <a:off x="396341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BAF7D82C-32D1-C55E-1E83-0B75C464BBFD}"/>
                </a:ext>
              </a:extLst>
            </p:cNvPr>
            <p:cNvSpPr/>
            <p:nvPr/>
          </p:nvSpPr>
          <p:spPr bwMode="auto">
            <a:xfrm rot="16200000" flipH="1">
              <a:off x="433404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3A35B21D-43A8-2FA7-EE08-99F8CC443016}"/>
                </a:ext>
              </a:extLst>
            </p:cNvPr>
            <p:cNvSpPr/>
            <p:nvPr/>
          </p:nvSpPr>
          <p:spPr bwMode="auto">
            <a:xfrm rot="16200000" flipH="1">
              <a:off x="4704681"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3EF25148-3009-5BD3-26B2-AD564F818F01}"/>
                </a:ext>
              </a:extLst>
            </p:cNvPr>
            <p:cNvSpPr/>
            <p:nvPr/>
          </p:nvSpPr>
          <p:spPr bwMode="auto">
            <a:xfrm rot="16200000" flipH="1">
              <a:off x="5075313"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9E44A32A-8EFF-9D5A-CC62-CB6E5C07FFA4}"/>
                </a:ext>
              </a:extLst>
            </p:cNvPr>
            <p:cNvSpPr/>
            <p:nvPr/>
          </p:nvSpPr>
          <p:spPr bwMode="auto">
            <a:xfrm flipH="1">
              <a:off x="3592785"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8A237C9E-A97B-17DC-BE74-AE292C924D32}"/>
                </a:ext>
              </a:extLst>
            </p:cNvPr>
            <p:cNvSpPr/>
            <p:nvPr/>
          </p:nvSpPr>
          <p:spPr bwMode="auto">
            <a:xfrm flipH="1">
              <a:off x="3222153"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14" name="Free-form: Shape 113">
            <a:extLst>
              <a:ext uri="{FF2B5EF4-FFF2-40B4-BE49-F238E27FC236}">
                <a16:creationId xmlns:a16="http://schemas.microsoft.com/office/drawing/2014/main" id="{2E6C32E4-EB6B-6A10-3124-64148B97C9B2}"/>
              </a:ext>
            </a:extLst>
          </p:cNvPr>
          <p:cNvSpPr/>
          <p:nvPr userDrawn="1"/>
        </p:nvSpPr>
        <p:spPr bwMode="auto">
          <a:xfrm flipH="1" flipV="1">
            <a:off x="9301878" y="0"/>
            <a:ext cx="2890119" cy="1296237"/>
          </a:xfrm>
          <a:custGeom>
            <a:avLst/>
            <a:gdLst>
              <a:gd name="connsiteX0" fmla="*/ 447685 w 3175561"/>
              <a:gd name="connsiteY0" fmla="*/ 0 h 1424260"/>
              <a:gd name="connsiteX1" fmla="*/ 3016378 w 3175561"/>
              <a:gd name="connsiteY1" fmla="*/ 1211388 h 1424260"/>
              <a:gd name="connsiteX2" fmla="*/ 3175561 w 3175561"/>
              <a:gd name="connsiteY2" fmla="*/ 1424260 h 1424260"/>
              <a:gd name="connsiteX3" fmla="*/ 2245404 w 3175561"/>
              <a:gd name="connsiteY3" fmla="*/ 1424260 h 1424260"/>
              <a:gd name="connsiteX4" fmla="*/ 2115220 w 3175561"/>
              <a:gd name="connsiteY4" fmla="*/ 1305941 h 1424260"/>
              <a:gd name="connsiteX5" fmla="*/ 447685 w 3175561"/>
              <a:gd name="connsiteY5" fmla="*/ 707311 h 1424260"/>
              <a:gd name="connsiteX6" fmla="*/ 179649 w 3175561"/>
              <a:gd name="connsiteY6" fmla="*/ 720846 h 1424260"/>
              <a:gd name="connsiteX7" fmla="*/ 0 w 3175561"/>
              <a:gd name="connsiteY7" fmla="*/ 748264 h 1424260"/>
              <a:gd name="connsiteX8" fmla="*/ 0 w 3175561"/>
              <a:gd name="connsiteY8" fmla="*/ 30825 h 1424260"/>
              <a:gd name="connsiteX9" fmla="*/ 107331 w 3175561"/>
              <a:gd name="connsiteY9" fmla="*/ 17187 h 1424260"/>
              <a:gd name="connsiteX10" fmla="*/ 447685 w 3175561"/>
              <a:gd name="connsiteY10" fmla="*/ 0 h 142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75561" h="1424260">
                <a:moveTo>
                  <a:pt x="447685" y="0"/>
                </a:moveTo>
                <a:cubicBezTo>
                  <a:pt x="1481822" y="0"/>
                  <a:pt x="2405820" y="471563"/>
                  <a:pt x="3016378" y="1211388"/>
                </a:cubicBezTo>
                <a:lnTo>
                  <a:pt x="3175561" y="1424260"/>
                </a:lnTo>
                <a:lnTo>
                  <a:pt x="2245404" y="1424260"/>
                </a:lnTo>
                <a:lnTo>
                  <a:pt x="2115220" y="1305941"/>
                </a:lnTo>
                <a:cubicBezTo>
                  <a:pt x="1662065" y="931964"/>
                  <a:pt x="1081110" y="707311"/>
                  <a:pt x="447685" y="707311"/>
                </a:cubicBezTo>
                <a:cubicBezTo>
                  <a:pt x="357196" y="707311"/>
                  <a:pt x="267777" y="711896"/>
                  <a:pt x="179649" y="720846"/>
                </a:cubicBezTo>
                <a:lnTo>
                  <a:pt x="0" y="748264"/>
                </a:lnTo>
                <a:lnTo>
                  <a:pt x="0" y="30825"/>
                </a:lnTo>
                <a:lnTo>
                  <a:pt x="107331" y="17187"/>
                </a:lnTo>
                <a:cubicBezTo>
                  <a:pt x="219237" y="5822"/>
                  <a:pt x="332781" y="0"/>
                  <a:pt x="447685" y="0"/>
                </a:cubicBezTo>
                <a:close/>
              </a:path>
            </a:pathLst>
          </a:custGeom>
          <a:pattFill prst="wdUpDiag">
            <a:fgClr>
              <a:srgbClr val="D8E9F6"/>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Title 116">
            <a:extLst>
              <a:ext uri="{FF2B5EF4-FFF2-40B4-BE49-F238E27FC236}">
                <a16:creationId xmlns:a16="http://schemas.microsoft.com/office/drawing/2014/main" id="{726A0F59-738A-17C3-7A2E-64FBCC1117B8}"/>
              </a:ext>
            </a:extLst>
          </p:cNvPr>
          <p:cNvSpPr>
            <a:spLocks noGrp="1"/>
          </p:cNvSpPr>
          <p:nvPr>
            <p:ph type="title" hasCustomPrompt="1"/>
          </p:nvPr>
        </p:nvSpPr>
        <p:spPr>
          <a:xfrm>
            <a:off x="5007430" y="2880351"/>
            <a:ext cx="6061176" cy="1231106"/>
          </a:xfrm>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0" kern="1200" spc="0" baseline="0" dirty="0">
                <a:solidFill>
                  <a:schemeClr val="bg2"/>
                </a:solidFill>
                <a:latin typeface="Segoe UI Semibold"/>
                <a:ea typeface="+mn-ea"/>
                <a:cs typeface="Segoe UI" panose="020B0502040204020203" pitchFamily="34" charset="0"/>
              </a:defRPr>
            </a:lvl1pPr>
          </a:lstStyle>
          <a:p>
            <a:r>
              <a:rPr lang="en-GB"/>
              <a:t>Thank You!</a:t>
            </a:r>
            <a:endParaRPr lang="en-US"/>
          </a:p>
        </p:txBody>
      </p:sp>
    </p:spTree>
    <p:extLst>
      <p:ext uri="{BB962C8B-B14F-4D97-AF65-F5344CB8AC3E}">
        <p14:creationId xmlns:p14="http://schemas.microsoft.com/office/powerpoint/2010/main" val="222399131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MCS TDM Intro">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FC6D84C9-F0D0-2E7D-2082-0E0EAA97BC32}"/>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Rectangle: Single Corner Rounded 6">
            <a:extLst>
              <a:ext uri="{FF2B5EF4-FFF2-40B4-BE49-F238E27FC236}">
                <a16:creationId xmlns:a16="http://schemas.microsoft.com/office/drawing/2014/main" id="{14C1DEFF-1CC8-4FA3-1BA4-C46D4165E041}"/>
              </a:ext>
            </a:extLst>
          </p:cNvPr>
          <p:cNvSpPr/>
          <p:nvPr userDrawn="1"/>
        </p:nvSpPr>
        <p:spPr>
          <a:xfrm rot="10800000">
            <a:off x="6925824" y="-3432"/>
            <a:ext cx="5266175" cy="6864864"/>
          </a:xfrm>
          <a:prstGeom prst="round1Rect">
            <a:avLst>
              <a:gd name="adj" fmla="val 30051"/>
            </a:avLst>
          </a:prstGeom>
          <a:solidFill>
            <a:schemeClr val="bg2">
              <a:lumMod val="75000"/>
            </a:schemeClr>
          </a:solidFill>
          <a:ln w="13730" cap="flat">
            <a:noFill/>
            <a:prstDash val="solid"/>
            <a:miter/>
          </a:ln>
          <a:effectLst>
            <a:outerShdw blurRad="990600" dist="38100" algn="l" rotWithShape="0">
              <a:prstClr val="black">
                <a:alpha val="14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1EE70375-B879-2E04-7DE9-267858168E40}"/>
              </a:ext>
            </a:extLst>
          </p:cNvPr>
          <p:cNvGrpSpPr/>
          <p:nvPr userDrawn="1"/>
        </p:nvGrpSpPr>
        <p:grpSpPr>
          <a:xfrm>
            <a:off x="9687834" y="5133271"/>
            <a:ext cx="2504165" cy="1728160"/>
            <a:chOff x="9687834" y="5133271"/>
            <a:chExt cx="2504165" cy="1728160"/>
          </a:xfrm>
        </p:grpSpPr>
        <p:sp>
          <p:nvSpPr>
            <p:cNvPr id="11" name="Rectangle: Single Corner Rounded 10">
              <a:extLst>
                <a:ext uri="{FF2B5EF4-FFF2-40B4-BE49-F238E27FC236}">
                  <a16:creationId xmlns:a16="http://schemas.microsoft.com/office/drawing/2014/main" id="{3E49D4A0-C4CF-0AA5-5EB4-3D4E52E194CA}"/>
                </a:ext>
              </a:extLst>
            </p:cNvPr>
            <p:cNvSpPr/>
            <p:nvPr/>
          </p:nvSpPr>
          <p:spPr>
            <a:xfrm flipH="1">
              <a:off x="9687834" y="5517291"/>
              <a:ext cx="2120144" cy="1344140"/>
            </a:xfrm>
            <a:prstGeom prst="round1Rect">
              <a:avLst>
                <a:gd name="adj" fmla="val 50000"/>
              </a:avLst>
            </a:pr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5">
              <a:extLst>
                <a:ext uri="{FF2B5EF4-FFF2-40B4-BE49-F238E27FC236}">
                  <a16:creationId xmlns:a16="http://schemas.microsoft.com/office/drawing/2014/main" id="{21736647-7677-95A4-E03E-CFB1CE5ED12C}"/>
                </a:ext>
              </a:extLst>
            </p:cNvPr>
            <p:cNvSpPr/>
            <p:nvPr/>
          </p:nvSpPr>
          <p:spPr>
            <a:xfrm>
              <a:off x="11807979" y="5133271"/>
              <a:ext cx="384020" cy="384020"/>
            </a:xfrm>
            <a:custGeom>
              <a:avLst/>
              <a:gdLst>
                <a:gd name="connsiteX0" fmla="*/ 0 w 384020"/>
                <a:gd name="connsiteY0" fmla="*/ 0 h 384020"/>
                <a:gd name="connsiteX1" fmla="*/ 384021 w 384020"/>
                <a:gd name="connsiteY1" fmla="*/ 0 h 384020"/>
                <a:gd name="connsiteX2" fmla="*/ 384021 w 384020"/>
                <a:gd name="connsiteY2" fmla="*/ 384021 h 384020"/>
                <a:gd name="connsiteX3" fmla="*/ 0 w 384020"/>
                <a:gd name="connsiteY3" fmla="*/ 384021 h 384020"/>
              </a:gdLst>
              <a:ahLst/>
              <a:cxnLst>
                <a:cxn ang="0">
                  <a:pos x="connsiteX0" y="connsiteY0"/>
                </a:cxn>
                <a:cxn ang="0">
                  <a:pos x="connsiteX1" y="connsiteY1"/>
                </a:cxn>
                <a:cxn ang="0">
                  <a:pos x="connsiteX2" y="connsiteY2"/>
                </a:cxn>
                <a:cxn ang="0">
                  <a:pos x="connsiteX3" y="connsiteY3"/>
                </a:cxn>
              </a:cxnLst>
              <a:rect l="l" t="t" r="r" b="b"/>
              <a:pathLst>
                <a:path w="384020" h="384020">
                  <a:moveTo>
                    <a:pt x="0" y="0"/>
                  </a:moveTo>
                  <a:lnTo>
                    <a:pt x="384021" y="0"/>
                  </a:lnTo>
                  <a:lnTo>
                    <a:pt x="384021" y="384021"/>
                  </a:lnTo>
                  <a:lnTo>
                    <a:pt x="0" y="384021"/>
                  </a:lnTo>
                  <a:close/>
                </a:path>
              </a:pathLst>
            </a:cu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746C5367-4BDF-E244-6A42-C9CC3CDE3E7B}"/>
              </a:ext>
            </a:extLst>
          </p:cNvPr>
          <p:cNvGrpSpPr/>
          <p:nvPr userDrawn="1"/>
        </p:nvGrpSpPr>
        <p:grpSpPr>
          <a:xfrm>
            <a:off x="7795920" y="4037990"/>
            <a:ext cx="1891914" cy="1010359"/>
            <a:chOff x="604894" y="4447838"/>
            <a:chExt cx="1891914" cy="1010359"/>
          </a:xfrm>
        </p:grpSpPr>
        <p:sp>
          <p:nvSpPr>
            <p:cNvPr id="14" name="Freeform: Shape 33">
              <a:extLst>
                <a:ext uri="{FF2B5EF4-FFF2-40B4-BE49-F238E27FC236}">
                  <a16:creationId xmlns:a16="http://schemas.microsoft.com/office/drawing/2014/main" id="{E0E3D134-EDDE-C309-761E-7A2931AE5650}"/>
                </a:ext>
              </a:extLst>
            </p:cNvPr>
            <p:cNvSpPr/>
            <p:nvPr/>
          </p:nvSpPr>
          <p:spPr>
            <a:xfrm>
              <a:off x="604894"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34">
              <a:extLst>
                <a:ext uri="{FF2B5EF4-FFF2-40B4-BE49-F238E27FC236}">
                  <a16:creationId xmlns:a16="http://schemas.microsoft.com/office/drawing/2014/main" id="{6A47CC7F-4C9B-37F9-2F89-CCB0E67569F9}"/>
                </a:ext>
              </a:extLst>
            </p:cNvPr>
            <p:cNvSpPr/>
            <p:nvPr/>
          </p:nvSpPr>
          <p:spPr>
            <a:xfrm>
              <a:off x="1045792"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35">
              <a:extLst>
                <a:ext uri="{FF2B5EF4-FFF2-40B4-BE49-F238E27FC236}">
                  <a16:creationId xmlns:a16="http://schemas.microsoft.com/office/drawing/2014/main" id="{ACF1B38E-BE08-FFF5-436A-950B19B40061}"/>
                </a:ext>
              </a:extLst>
            </p:cNvPr>
            <p:cNvSpPr/>
            <p:nvPr/>
          </p:nvSpPr>
          <p:spPr>
            <a:xfrm>
              <a:off x="1486689"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36">
              <a:extLst>
                <a:ext uri="{FF2B5EF4-FFF2-40B4-BE49-F238E27FC236}">
                  <a16:creationId xmlns:a16="http://schemas.microsoft.com/office/drawing/2014/main" id="{ABFC80D3-D60A-0429-7B77-A24B5C3DFA51}"/>
                </a:ext>
              </a:extLst>
            </p:cNvPr>
            <p:cNvSpPr/>
            <p:nvPr/>
          </p:nvSpPr>
          <p:spPr>
            <a:xfrm>
              <a:off x="1927822" y="4447838"/>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39">
              <a:extLst>
                <a:ext uri="{FF2B5EF4-FFF2-40B4-BE49-F238E27FC236}">
                  <a16:creationId xmlns:a16="http://schemas.microsoft.com/office/drawing/2014/main" id="{E7099C2F-C30D-0008-8482-90E4D75B82B0}"/>
                </a:ext>
              </a:extLst>
            </p:cNvPr>
            <p:cNvSpPr/>
            <p:nvPr/>
          </p:nvSpPr>
          <p:spPr>
            <a:xfrm>
              <a:off x="2368484"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40">
              <a:extLst>
                <a:ext uri="{FF2B5EF4-FFF2-40B4-BE49-F238E27FC236}">
                  <a16:creationId xmlns:a16="http://schemas.microsoft.com/office/drawing/2014/main" id="{68B94521-C619-90B6-F6E8-DFDC6F0BF984}"/>
                </a:ext>
              </a:extLst>
            </p:cNvPr>
            <p:cNvSpPr/>
            <p:nvPr/>
          </p:nvSpPr>
          <p:spPr>
            <a:xfrm>
              <a:off x="604894"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42">
              <a:extLst>
                <a:ext uri="{FF2B5EF4-FFF2-40B4-BE49-F238E27FC236}">
                  <a16:creationId xmlns:a16="http://schemas.microsoft.com/office/drawing/2014/main" id="{74DFA832-4B4A-BA2C-2D5C-9745C6C0B317}"/>
                </a:ext>
              </a:extLst>
            </p:cNvPr>
            <p:cNvSpPr/>
            <p:nvPr/>
          </p:nvSpPr>
          <p:spPr>
            <a:xfrm>
              <a:off x="1045792"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43">
              <a:extLst>
                <a:ext uri="{FF2B5EF4-FFF2-40B4-BE49-F238E27FC236}">
                  <a16:creationId xmlns:a16="http://schemas.microsoft.com/office/drawing/2014/main" id="{2DF856A0-94CB-B9FD-C649-F20AF5300CED}"/>
                </a:ext>
              </a:extLst>
            </p:cNvPr>
            <p:cNvSpPr/>
            <p:nvPr/>
          </p:nvSpPr>
          <p:spPr>
            <a:xfrm>
              <a:off x="1486689"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44">
              <a:extLst>
                <a:ext uri="{FF2B5EF4-FFF2-40B4-BE49-F238E27FC236}">
                  <a16:creationId xmlns:a16="http://schemas.microsoft.com/office/drawing/2014/main" id="{DE06AA07-F3BC-B873-A606-C2BD8A9F47AE}"/>
                </a:ext>
              </a:extLst>
            </p:cNvPr>
            <p:cNvSpPr/>
            <p:nvPr/>
          </p:nvSpPr>
          <p:spPr>
            <a:xfrm>
              <a:off x="1927822" y="4888972"/>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45">
              <a:extLst>
                <a:ext uri="{FF2B5EF4-FFF2-40B4-BE49-F238E27FC236}">
                  <a16:creationId xmlns:a16="http://schemas.microsoft.com/office/drawing/2014/main" id="{1456EC0B-C7F1-3E39-DA0A-FF7791984511}"/>
                </a:ext>
              </a:extLst>
            </p:cNvPr>
            <p:cNvSpPr/>
            <p:nvPr/>
          </p:nvSpPr>
          <p:spPr>
            <a:xfrm>
              <a:off x="2368484"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46">
              <a:extLst>
                <a:ext uri="{FF2B5EF4-FFF2-40B4-BE49-F238E27FC236}">
                  <a16:creationId xmlns:a16="http://schemas.microsoft.com/office/drawing/2014/main" id="{1B4DC2E8-3BE0-89E9-13BF-80A2FF208436}"/>
                </a:ext>
              </a:extLst>
            </p:cNvPr>
            <p:cNvSpPr/>
            <p:nvPr/>
          </p:nvSpPr>
          <p:spPr>
            <a:xfrm>
              <a:off x="604894"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47">
              <a:extLst>
                <a:ext uri="{FF2B5EF4-FFF2-40B4-BE49-F238E27FC236}">
                  <a16:creationId xmlns:a16="http://schemas.microsoft.com/office/drawing/2014/main" id="{C15642AC-59F9-C462-7258-FB00902E3114}"/>
                </a:ext>
              </a:extLst>
            </p:cNvPr>
            <p:cNvSpPr/>
            <p:nvPr/>
          </p:nvSpPr>
          <p:spPr>
            <a:xfrm>
              <a:off x="1045792"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48">
              <a:extLst>
                <a:ext uri="{FF2B5EF4-FFF2-40B4-BE49-F238E27FC236}">
                  <a16:creationId xmlns:a16="http://schemas.microsoft.com/office/drawing/2014/main" id="{B21A83EB-4AA9-A21D-52D4-D024CCDB9964}"/>
                </a:ext>
              </a:extLst>
            </p:cNvPr>
            <p:cNvSpPr/>
            <p:nvPr/>
          </p:nvSpPr>
          <p:spPr>
            <a:xfrm>
              <a:off x="1486689"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49">
              <a:extLst>
                <a:ext uri="{FF2B5EF4-FFF2-40B4-BE49-F238E27FC236}">
                  <a16:creationId xmlns:a16="http://schemas.microsoft.com/office/drawing/2014/main" id="{176D7FDF-1F8E-DA92-6B2B-A040AA076321}"/>
                </a:ext>
              </a:extLst>
            </p:cNvPr>
            <p:cNvSpPr/>
            <p:nvPr/>
          </p:nvSpPr>
          <p:spPr>
            <a:xfrm>
              <a:off x="1927822" y="5329869"/>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50">
              <a:extLst>
                <a:ext uri="{FF2B5EF4-FFF2-40B4-BE49-F238E27FC236}">
                  <a16:creationId xmlns:a16="http://schemas.microsoft.com/office/drawing/2014/main" id="{2EEA353D-9DEE-DDFF-8CFD-DAE53A86B0DB}"/>
                </a:ext>
              </a:extLst>
            </p:cNvPr>
            <p:cNvSpPr/>
            <p:nvPr/>
          </p:nvSpPr>
          <p:spPr>
            <a:xfrm>
              <a:off x="2368484"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9" name="Rectangle: Single Corner Rounded 28">
            <a:extLst>
              <a:ext uri="{FF2B5EF4-FFF2-40B4-BE49-F238E27FC236}">
                <a16:creationId xmlns:a16="http://schemas.microsoft.com/office/drawing/2014/main" id="{CD78616E-69AD-9AA7-2097-9EB3C37621F4}"/>
              </a:ext>
            </a:extLst>
          </p:cNvPr>
          <p:cNvSpPr/>
          <p:nvPr userDrawn="1"/>
        </p:nvSpPr>
        <p:spPr>
          <a:xfrm rot="10800000" flipH="1">
            <a:off x="6925823" y="-3435"/>
            <a:ext cx="4882152" cy="2318265"/>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Single Corner Rounded 29">
            <a:extLst>
              <a:ext uri="{FF2B5EF4-FFF2-40B4-BE49-F238E27FC236}">
                <a16:creationId xmlns:a16="http://schemas.microsoft.com/office/drawing/2014/main" id="{1089C2C6-EA1F-2659-9060-91E6A380A8AC}"/>
              </a:ext>
            </a:extLst>
          </p:cNvPr>
          <p:cNvSpPr/>
          <p:nvPr userDrawn="1"/>
        </p:nvSpPr>
        <p:spPr>
          <a:xfrm rot="10800000" flipH="1">
            <a:off x="1" y="1959429"/>
            <a:ext cx="293688" cy="3652320"/>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9600453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82" name="Rectangle: Rounded Corners 81">
            <a:extLst>
              <a:ext uri="{FF2B5EF4-FFF2-40B4-BE49-F238E27FC236}">
                <a16:creationId xmlns:a16="http://schemas.microsoft.com/office/drawing/2014/main" id="{29C65921-FD7F-B796-44F6-E9E410683CD9}"/>
              </a:ext>
            </a:extLst>
          </p:cNvPr>
          <p:cNvSpPr/>
          <p:nvPr userDrawn="1"/>
        </p:nvSpPr>
        <p:spPr bwMode="auto">
          <a:xfrm>
            <a:off x="0" y="2328"/>
            <a:ext cx="4025900" cy="6857997"/>
          </a:xfrm>
          <a:prstGeom prst="roundRect">
            <a:avLst>
              <a:gd name="adj"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Arrow: U-Turn 4">
            <a:extLst>
              <a:ext uri="{FF2B5EF4-FFF2-40B4-BE49-F238E27FC236}">
                <a16:creationId xmlns:a16="http://schemas.microsoft.com/office/drawing/2014/main" id="{9813402F-4AE0-5DF2-8034-09DE25CC529B}"/>
              </a:ext>
            </a:extLst>
          </p:cNvPr>
          <p:cNvSpPr/>
          <p:nvPr userDrawn="1"/>
        </p:nvSpPr>
        <p:spPr bwMode="auto">
          <a:xfrm rot="5400000">
            <a:off x="1718628" y="2893060"/>
            <a:ext cx="5686424" cy="1071880"/>
          </a:xfrm>
          <a:prstGeom prst="uturnArrow">
            <a:avLst>
              <a:gd name="adj1" fmla="val 25000"/>
              <a:gd name="adj2" fmla="val 0"/>
              <a:gd name="adj3" fmla="val 25000"/>
              <a:gd name="adj4" fmla="val 10792"/>
              <a:gd name="adj5" fmla="val 10000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4A001AE1-8659-BE68-D13E-1749B7C6F739}"/>
              </a:ext>
            </a:extLst>
          </p:cNvPr>
          <p:cNvGrpSpPr/>
          <p:nvPr userDrawn="1"/>
        </p:nvGrpSpPr>
        <p:grpSpPr>
          <a:xfrm>
            <a:off x="4655194" y="1191140"/>
            <a:ext cx="875440" cy="693220"/>
            <a:chOff x="4655194" y="1191140"/>
            <a:chExt cx="875440" cy="693220"/>
          </a:xfrm>
        </p:grpSpPr>
        <p:sp>
          <p:nvSpPr>
            <p:cNvPr id="9" name="Oval 8">
              <a:extLst>
                <a:ext uri="{FF2B5EF4-FFF2-40B4-BE49-F238E27FC236}">
                  <a16:creationId xmlns:a16="http://schemas.microsoft.com/office/drawing/2014/main" id="{B25ED429-AE6A-B1A3-13DF-0807FF238451}"/>
                </a:ext>
              </a:extLst>
            </p:cNvPr>
            <p:cNvSpPr/>
            <p:nvPr/>
          </p:nvSpPr>
          <p:spPr bwMode="auto">
            <a:xfrm>
              <a:off x="4746304" y="1191140"/>
              <a:ext cx="693220" cy="69322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90A8"/>
                </a:solidFill>
                <a:effectLst/>
                <a:uLnTx/>
                <a:uFillTx/>
                <a:latin typeface="Calibri" panose="020F0502020204030204"/>
                <a:ea typeface="+mn-ea"/>
                <a:cs typeface="Segoe UI" pitchFamily="34" charset="0"/>
              </a:endParaRPr>
            </a:p>
          </p:txBody>
        </p:sp>
        <p:sp>
          <p:nvSpPr>
            <p:cNvPr id="10" name="TextBox 9">
              <a:extLst>
                <a:ext uri="{FF2B5EF4-FFF2-40B4-BE49-F238E27FC236}">
                  <a16:creationId xmlns:a16="http://schemas.microsoft.com/office/drawing/2014/main" id="{4A86AB34-4D15-7377-D025-110BE01996D4}"/>
                </a:ext>
              </a:extLst>
            </p:cNvPr>
            <p:cNvSpPr txBox="1"/>
            <p:nvPr/>
          </p:nvSpPr>
          <p:spPr>
            <a:xfrm>
              <a:off x="4655194" y="1353084"/>
              <a:ext cx="875440"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90A8"/>
                  </a:solidFill>
                  <a:effectLst/>
                  <a:uLnTx/>
                  <a:uFillTx/>
                  <a:latin typeface="Segoe UI"/>
                  <a:ea typeface="+mn-ea"/>
                  <a:cs typeface="+mn-cs"/>
                </a:rPr>
                <a:t>1</a:t>
              </a:r>
            </a:p>
          </p:txBody>
        </p:sp>
      </p:grpSp>
      <p:grpSp>
        <p:nvGrpSpPr>
          <p:cNvPr id="12" name="Group 11">
            <a:extLst>
              <a:ext uri="{FF2B5EF4-FFF2-40B4-BE49-F238E27FC236}">
                <a16:creationId xmlns:a16="http://schemas.microsoft.com/office/drawing/2014/main" id="{BEE9EF4B-403F-24CD-7476-4B9CEC30288B}"/>
              </a:ext>
            </a:extLst>
          </p:cNvPr>
          <p:cNvGrpSpPr/>
          <p:nvPr/>
        </p:nvGrpSpPr>
        <p:grpSpPr>
          <a:xfrm>
            <a:off x="4655194" y="2491228"/>
            <a:ext cx="875439" cy="693220"/>
            <a:chOff x="4542890" y="2973275"/>
            <a:chExt cx="1122682" cy="889000"/>
          </a:xfrm>
        </p:grpSpPr>
        <p:sp>
          <p:nvSpPr>
            <p:cNvPr id="14" name="Oval 13">
              <a:extLst>
                <a:ext uri="{FF2B5EF4-FFF2-40B4-BE49-F238E27FC236}">
                  <a16:creationId xmlns:a16="http://schemas.microsoft.com/office/drawing/2014/main" id="{826C87C4-A125-7CE6-E5A4-CA32960ED41A}"/>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rgbClr val="0090A8"/>
                </a:solidFill>
                <a:effectLst/>
                <a:uLnTx/>
                <a:uFillTx/>
                <a:latin typeface="Calibri" panose="020F0502020204030204"/>
                <a:ea typeface="+mn-ea"/>
                <a:cs typeface="Segoe UI" pitchFamily="34" charset="0"/>
              </a:endParaRPr>
            </a:p>
          </p:txBody>
        </p:sp>
        <p:sp>
          <p:nvSpPr>
            <p:cNvPr id="15" name="TextBox 14">
              <a:extLst>
                <a:ext uri="{FF2B5EF4-FFF2-40B4-BE49-F238E27FC236}">
                  <a16:creationId xmlns:a16="http://schemas.microsoft.com/office/drawing/2014/main" id="{ABE076AC-7D9B-0DF2-53A3-6CE0BDEA6EF6}"/>
                </a:ext>
              </a:extLst>
            </p:cNvPr>
            <p:cNvSpPr txBox="1"/>
            <p:nvPr/>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90A8"/>
                  </a:solidFill>
                  <a:effectLst/>
                  <a:uLnTx/>
                  <a:uFillTx/>
                  <a:latin typeface="Segoe UI"/>
                  <a:ea typeface="+mn-ea"/>
                  <a:cs typeface="+mn-cs"/>
                </a:rPr>
                <a:t>2</a:t>
              </a:r>
            </a:p>
          </p:txBody>
        </p:sp>
      </p:grpSp>
      <p:grpSp>
        <p:nvGrpSpPr>
          <p:cNvPr id="18" name="Group 17">
            <a:extLst>
              <a:ext uri="{FF2B5EF4-FFF2-40B4-BE49-F238E27FC236}">
                <a16:creationId xmlns:a16="http://schemas.microsoft.com/office/drawing/2014/main" id="{02665FB2-6199-D848-B7A0-CB7398D06B75}"/>
              </a:ext>
            </a:extLst>
          </p:cNvPr>
          <p:cNvGrpSpPr/>
          <p:nvPr userDrawn="1"/>
        </p:nvGrpSpPr>
        <p:grpSpPr>
          <a:xfrm>
            <a:off x="82210" y="487355"/>
            <a:ext cx="1999622" cy="1111528"/>
            <a:chOff x="0" y="2143857"/>
            <a:chExt cx="1647336" cy="915703"/>
          </a:xfrm>
          <a:solidFill>
            <a:schemeClr val="accent1">
              <a:lumMod val="20000"/>
              <a:lumOff val="80000"/>
            </a:schemeClr>
          </a:solidFill>
        </p:grpSpPr>
        <p:grpSp>
          <p:nvGrpSpPr>
            <p:cNvPr id="19" name="Group 18">
              <a:extLst>
                <a:ext uri="{FF2B5EF4-FFF2-40B4-BE49-F238E27FC236}">
                  <a16:creationId xmlns:a16="http://schemas.microsoft.com/office/drawing/2014/main" id="{90C3E72C-BC08-E613-5F40-3CCF61D54557}"/>
                </a:ext>
              </a:extLst>
            </p:cNvPr>
            <p:cNvGrpSpPr/>
            <p:nvPr/>
          </p:nvGrpSpPr>
          <p:grpSpPr>
            <a:xfrm>
              <a:off x="0" y="2356582"/>
              <a:ext cx="1647336" cy="64803"/>
              <a:chOff x="0" y="2352485"/>
              <a:chExt cx="1647336" cy="64803"/>
            </a:xfrm>
            <a:grpFill/>
          </p:grpSpPr>
          <p:sp>
            <p:nvSpPr>
              <p:cNvPr id="60" name="Oval 59">
                <a:extLst>
                  <a:ext uri="{FF2B5EF4-FFF2-40B4-BE49-F238E27FC236}">
                    <a16:creationId xmlns:a16="http://schemas.microsoft.com/office/drawing/2014/main" id="{A90DAD7A-43C3-0B7B-06F0-B83E4BC2982F}"/>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C826D7C4-3E96-7653-78A8-963550094E62}"/>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8B7CD4CB-B826-FC84-67D7-CBF3F39C5EAF}"/>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F35B59A6-6763-B8B1-90AE-7C1C223A150B}"/>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9D6474B4-6827-9BF9-FAF2-E1795B70A592}"/>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20741D26-8134-B07C-5729-7489D8773DB2}"/>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D63A4E95-2F66-BFE2-4B98-F21E0E241CA6}"/>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A31585C-BEE0-6E48-7C99-D4F3E7FB0B0F}"/>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E580A55-B12F-81CE-4C39-011911B47C96}"/>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0C0FE0B3-F9C8-2DCE-1AD7-2D310541667A}"/>
                </a:ext>
              </a:extLst>
            </p:cNvPr>
            <p:cNvGrpSpPr/>
            <p:nvPr/>
          </p:nvGrpSpPr>
          <p:grpSpPr>
            <a:xfrm>
              <a:off x="0" y="2569307"/>
              <a:ext cx="1647336" cy="64804"/>
              <a:chOff x="0" y="2561113"/>
              <a:chExt cx="1647336" cy="64804"/>
            </a:xfrm>
            <a:grpFill/>
          </p:grpSpPr>
          <p:sp>
            <p:nvSpPr>
              <p:cNvPr id="51" name="Oval 50">
                <a:extLst>
                  <a:ext uri="{FF2B5EF4-FFF2-40B4-BE49-F238E27FC236}">
                    <a16:creationId xmlns:a16="http://schemas.microsoft.com/office/drawing/2014/main" id="{5F539D38-BAC6-E106-8351-378D03B95ECB}"/>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37CD3226-D29E-43DE-5EDC-EE4C81470C07}"/>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FF45FBE0-18FE-403A-20BA-C7B34EB2C81C}"/>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761FDE27-595C-FFC5-51E2-A1ED4B275F9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E209AC06-E726-AB85-14F5-6B00239D701A}"/>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16558105-8E50-3399-15D7-31043E9AD44E}"/>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AA12D00-9BAD-5E66-25AF-C256F8A82720}"/>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1E39797-6B0D-14A9-60AB-0801F02D8959}"/>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513D16B7-D349-AA7B-93A4-4F2737B66013}"/>
                  </a:ext>
                </a:extLst>
              </p:cNvPr>
              <p:cNvSpPr/>
              <p:nvPr/>
            </p:nvSpPr>
            <p:spPr bwMode="auto">
              <a:xfrm>
                <a:off x="989083" y="2561114"/>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151B41DB-F6F9-349B-2F3E-A7D471C23451}"/>
                </a:ext>
              </a:extLst>
            </p:cNvPr>
            <p:cNvGrpSpPr/>
            <p:nvPr/>
          </p:nvGrpSpPr>
          <p:grpSpPr>
            <a:xfrm>
              <a:off x="0" y="2143857"/>
              <a:ext cx="1647336" cy="64803"/>
              <a:chOff x="0" y="2143857"/>
              <a:chExt cx="1647336" cy="64803"/>
            </a:xfrm>
            <a:grpFill/>
          </p:grpSpPr>
          <p:sp>
            <p:nvSpPr>
              <p:cNvPr id="42" name="Oval 41">
                <a:extLst>
                  <a:ext uri="{FF2B5EF4-FFF2-40B4-BE49-F238E27FC236}">
                    <a16:creationId xmlns:a16="http://schemas.microsoft.com/office/drawing/2014/main" id="{E2EC5D2A-A54B-10AB-1E7F-6D4E2CB71DA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F7142276-15F4-0710-1242-1121E7122CD8}"/>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0D36DC4-3C12-7C0F-D16A-D8703E6BDBB1}"/>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8ACC0488-9DB0-DA62-1B25-0127C8FE9827}"/>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66B78467-3055-9EA7-0D52-D646B9BD7953}"/>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7513A2EF-5D16-E2C7-FD52-025F7D40CF1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684A6D68-14DB-96DF-A697-DA0D78888DA2}"/>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B7386B6C-CA37-6018-FD08-8A8E49F5C3C1}"/>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6AC8E9AC-E8EE-0CD7-248D-ACA0A76B920F}"/>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6033F52-E3A6-1680-DC0D-D620CD1DA149}"/>
                </a:ext>
              </a:extLst>
            </p:cNvPr>
            <p:cNvGrpSpPr/>
            <p:nvPr/>
          </p:nvGrpSpPr>
          <p:grpSpPr>
            <a:xfrm>
              <a:off x="0" y="2782032"/>
              <a:ext cx="1647336" cy="64803"/>
              <a:chOff x="0" y="2769740"/>
              <a:chExt cx="1647336" cy="64803"/>
            </a:xfrm>
            <a:grpFill/>
          </p:grpSpPr>
          <p:sp>
            <p:nvSpPr>
              <p:cNvPr id="33" name="Oval 32">
                <a:extLst>
                  <a:ext uri="{FF2B5EF4-FFF2-40B4-BE49-F238E27FC236}">
                    <a16:creationId xmlns:a16="http://schemas.microsoft.com/office/drawing/2014/main" id="{751A4015-A7FF-D134-974D-1EB42EF2821A}"/>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4FA86999-E837-FCDB-A569-94D7AC160918}"/>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E2DC6340-3A97-7491-6E84-4D8D919FA7AA}"/>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CC5E774E-5267-777B-E099-4AA24D882CCB}"/>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066CC9F6-B651-F2D5-C726-DBB970B82C48}"/>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DEB603B9-F1AD-A280-D081-930CA5045ED3}"/>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37A75424-081A-21D0-FD3F-24A0F7B93067}"/>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F54AD13A-8999-2AD7-ACB0-8A7885185A5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892072C5-EFDC-BF8F-5FF4-90ED48601C2F}"/>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1C1D9B22-F84B-76EC-EAD6-E8E51C8A99B2}"/>
                </a:ext>
              </a:extLst>
            </p:cNvPr>
            <p:cNvGrpSpPr/>
            <p:nvPr/>
          </p:nvGrpSpPr>
          <p:grpSpPr>
            <a:xfrm>
              <a:off x="0" y="2994757"/>
              <a:ext cx="1647336" cy="64803"/>
              <a:chOff x="0" y="2143857"/>
              <a:chExt cx="1647336" cy="64803"/>
            </a:xfrm>
            <a:grpFill/>
          </p:grpSpPr>
          <p:sp>
            <p:nvSpPr>
              <p:cNvPr id="24" name="Oval 23">
                <a:extLst>
                  <a:ext uri="{FF2B5EF4-FFF2-40B4-BE49-F238E27FC236}">
                    <a16:creationId xmlns:a16="http://schemas.microsoft.com/office/drawing/2014/main" id="{F7544CC5-44C3-3B85-469B-EC335C813333}"/>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38D28A50-3AFC-B551-9745-3C2A16D8F6DA}"/>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C9A610-2142-CAC9-B135-417591FE0CE7}"/>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32838E-BCBA-A6CC-9F23-4EBF3D2FFD61}"/>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C6883B0-59EF-596C-A3F3-94671C4E4082}"/>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A5978B37-DDC4-4B1C-987A-E4C3539B68CE}"/>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0D680B7-0E1F-1FA3-7E94-93B924F96FF8}"/>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76895536-276A-D448-DA48-E142A73E6D29}"/>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ECD4F65B-6DC0-8341-E2DD-9326858C8588}"/>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7EFACC46-D7C6-A9C9-A713-51BBDF6E0826}"/>
              </a:ext>
            </a:extLst>
          </p:cNvPr>
          <p:cNvGrpSpPr/>
          <p:nvPr userDrawn="1"/>
        </p:nvGrpSpPr>
        <p:grpSpPr>
          <a:xfrm>
            <a:off x="10348517" y="5559865"/>
            <a:ext cx="1843479" cy="1298140"/>
            <a:chOff x="10348517" y="5559865"/>
            <a:chExt cx="1843479" cy="1298140"/>
          </a:xfrm>
        </p:grpSpPr>
        <p:grpSp>
          <p:nvGrpSpPr>
            <p:cNvPr id="70" name="Graphic 8">
              <a:extLst>
                <a:ext uri="{FF2B5EF4-FFF2-40B4-BE49-F238E27FC236}">
                  <a16:creationId xmlns:a16="http://schemas.microsoft.com/office/drawing/2014/main" id="{352583EF-A44C-30BC-DF51-A58388043305}"/>
                </a:ext>
              </a:extLst>
            </p:cNvPr>
            <p:cNvGrpSpPr/>
            <p:nvPr/>
          </p:nvGrpSpPr>
          <p:grpSpPr>
            <a:xfrm flipH="1">
              <a:off x="10348517" y="5687417"/>
              <a:ext cx="1563963" cy="1170588"/>
              <a:chOff x="5302292" y="8602600"/>
              <a:chExt cx="1381243" cy="1033826"/>
            </a:xfrm>
          </p:grpSpPr>
          <p:sp>
            <p:nvSpPr>
              <p:cNvPr id="76" name="Freeform: Shape 75">
                <a:extLst>
                  <a:ext uri="{FF2B5EF4-FFF2-40B4-BE49-F238E27FC236}">
                    <a16:creationId xmlns:a16="http://schemas.microsoft.com/office/drawing/2014/main" id="{275B7312-75C1-319A-B5F7-65094F88892C}"/>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BA8C487D-BDBE-F196-E82A-BEF7FD134ED6}"/>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3813152B-3F53-FB86-B069-1A6D1F434A56}"/>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C916D3A-E314-69C1-0E7E-EC479B137F8A}"/>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 name="Graphic 8">
              <a:extLst>
                <a:ext uri="{FF2B5EF4-FFF2-40B4-BE49-F238E27FC236}">
                  <a16:creationId xmlns:a16="http://schemas.microsoft.com/office/drawing/2014/main" id="{10392A2F-ABC4-CCDE-715B-1A1C9DD77AA2}"/>
                </a:ext>
              </a:extLst>
            </p:cNvPr>
            <p:cNvGrpSpPr/>
            <p:nvPr/>
          </p:nvGrpSpPr>
          <p:grpSpPr>
            <a:xfrm flipH="1">
              <a:off x="11280562" y="5559865"/>
              <a:ext cx="911434" cy="1298132"/>
              <a:chOff x="5055426" y="8489952"/>
              <a:chExt cx="804949" cy="1146469"/>
            </a:xfrm>
          </p:grpSpPr>
          <p:sp>
            <p:nvSpPr>
              <p:cNvPr id="72" name="Freeform: Shape 71">
                <a:extLst>
                  <a:ext uri="{FF2B5EF4-FFF2-40B4-BE49-F238E27FC236}">
                    <a16:creationId xmlns:a16="http://schemas.microsoft.com/office/drawing/2014/main" id="{DA1BE768-C446-2BBC-8B4B-82BB8537E644}"/>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6B75C75-110C-F534-F18D-2EC1E6583E06}"/>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1F3A462-2CFA-EC34-F2E5-2DD79D1BA341}"/>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6FD0968-77A6-E12D-A940-20167CABAB77}"/>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0" name="TextBox 79">
            <a:extLst>
              <a:ext uri="{FF2B5EF4-FFF2-40B4-BE49-F238E27FC236}">
                <a16:creationId xmlns:a16="http://schemas.microsoft.com/office/drawing/2014/main" id="{CF4122C2-0364-1B55-B2B7-9EFB1BF42341}"/>
              </a:ext>
            </a:extLst>
          </p:cNvPr>
          <p:cNvSpPr txBox="1"/>
          <p:nvPr userDrawn="1"/>
        </p:nvSpPr>
        <p:spPr>
          <a:xfrm>
            <a:off x="361661" y="3013502"/>
            <a:ext cx="3130970" cy="830997"/>
          </a:xfrm>
          <a:prstGeom prst="rect">
            <a:avLst/>
          </a:prstGeom>
          <a:noFill/>
        </p:spPr>
        <p:txBody>
          <a:bodyPr wrap="square" lIns="0" tIns="0" rIns="0" bIns="0" rtlCol="0">
            <a:spAutoFit/>
          </a:bodyPr>
          <a:lstStyle/>
          <a:p>
            <a:pPr algn="l"/>
            <a:r>
              <a:rPr lang="en-US" sz="5400" b="1">
                <a:solidFill>
                  <a:srgbClr val="0090A8"/>
                </a:solidFill>
                <a:latin typeface="+mj-lt"/>
              </a:rPr>
              <a:t>Agenda</a:t>
            </a:r>
          </a:p>
        </p:txBody>
      </p:sp>
      <p:grpSp>
        <p:nvGrpSpPr>
          <p:cNvPr id="87" name="Group 86">
            <a:extLst>
              <a:ext uri="{FF2B5EF4-FFF2-40B4-BE49-F238E27FC236}">
                <a16:creationId xmlns:a16="http://schemas.microsoft.com/office/drawing/2014/main" id="{BFBAC349-3C49-7052-471D-B4179B5F42E5}"/>
              </a:ext>
            </a:extLst>
          </p:cNvPr>
          <p:cNvGrpSpPr/>
          <p:nvPr userDrawn="1"/>
        </p:nvGrpSpPr>
        <p:grpSpPr>
          <a:xfrm>
            <a:off x="4655192" y="3791316"/>
            <a:ext cx="875439" cy="693220"/>
            <a:chOff x="4542888" y="2973275"/>
            <a:chExt cx="1122682" cy="889000"/>
          </a:xfrm>
        </p:grpSpPr>
        <p:sp>
          <p:nvSpPr>
            <p:cNvPr id="89" name="Oval 88">
              <a:extLst>
                <a:ext uri="{FF2B5EF4-FFF2-40B4-BE49-F238E27FC236}">
                  <a16:creationId xmlns:a16="http://schemas.microsoft.com/office/drawing/2014/main" id="{4FA8D70B-7D7D-CBAB-81D5-170BDE9AB1B5}"/>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rgbClr val="0090A8"/>
                </a:solidFill>
                <a:effectLst/>
                <a:uLnTx/>
                <a:uFillTx/>
                <a:latin typeface="Calibri" panose="020F0502020204030204"/>
                <a:ea typeface="+mn-ea"/>
                <a:cs typeface="Segoe UI" pitchFamily="34" charset="0"/>
              </a:endParaRPr>
            </a:p>
          </p:txBody>
        </p:sp>
        <p:sp>
          <p:nvSpPr>
            <p:cNvPr id="90" name="TextBox 89">
              <a:extLst>
                <a:ext uri="{FF2B5EF4-FFF2-40B4-BE49-F238E27FC236}">
                  <a16:creationId xmlns:a16="http://schemas.microsoft.com/office/drawing/2014/main" id="{E8898D7D-F01D-5294-4D87-F3517D23372B}"/>
                </a:ext>
              </a:extLst>
            </p:cNvPr>
            <p:cNvSpPr txBox="1"/>
            <p:nvPr userDrawn="1"/>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90A8"/>
                  </a:solidFill>
                  <a:effectLst/>
                  <a:uLnTx/>
                  <a:uFillTx/>
                  <a:latin typeface="Segoe UI"/>
                  <a:ea typeface="+mn-ea"/>
                  <a:cs typeface="+mn-cs"/>
                </a:rPr>
                <a:t>3</a:t>
              </a:r>
            </a:p>
          </p:txBody>
        </p:sp>
      </p:grpSp>
      <p:grpSp>
        <p:nvGrpSpPr>
          <p:cNvPr id="97" name="Group 96">
            <a:extLst>
              <a:ext uri="{FF2B5EF4-FFF2-40B4-BE49-F238E27FC236}">
                <a16:creationId xmlns:a16="http://schemas.microsoft.com/office/drawing/2014/main" id="{DBA52503-C894-6277-EE31-EF57BB111575}"/>
              </a:ext>
            </a:extLst>
          </p:cNvPr>
          <p:cNvGrpSpPr/>
          <p:nvPr/>
        </p:nvGrpSpPr>
        <p:grpSpPr>
          <a:xfrm>
            <a:off x="4655194" y="5091403"/>
            <a:ext cx="875439" cy="693220"/>
            <a:chOff x="4542890" y="2973275"/>
            <a:chExt cx="1122682" cy="889000"/>
          </a:xfrm>
        </p:grpSpPr>
        <p:sp>
          <p:nvSpPr>
            <p:cNvPr id="99" name="Oval 98">
              <a:extLst>
                <a:ext uri="{FF2B5EF4-FFF2-40B4-BE49-F238E27FC236}">
                  <a16:creationId xmlns:a16="http://schemas.microsoft.com/office/drawing/2014/main" id="{CDA04284-D495-8C1F-0D82-E5D538A6315A}"/>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rgbClr val="0090A8"/>
                </a:solidFill>
                <a:effectLst/>
                <a:uLnTx/>
                <a:uFillTx/>
                <a:latin typeface="Calibri" panose="020F0502020204030204"/>
                <a:ea typeface="+mn-ea"/>
                <a:cs typeface="Segoe UI" pitchFamily="34" charset="0"/>
              </a:endParaRPr>
            </a:p>
          </p:txBody>
        </p:sp>
        <p:sp>
          <p:nvSpPr>
            <p:cNvPr id="100" name="TextBox 99">
              <a:extLst>
                <a:ext uri="{FF2B5EF4-FFF2-40B4-BE49-F238E27FC236}">
                  <a16:creationId xmlns:a16="http://schemas.microsoft.com/office/drawing/2014/main" id="{645464B5-B1A2-C821-0236-3B1982AB0DB1}"/>
                </a:ext>
              </a:extLst>
            </p:cNvPr>
            <p:cNvSpPr txBox="1"/>
            <p:nvPr/>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90A8"/>
                  </a:solidFill>
                  <a:effectLst/>
                  <a:uLnTx/>
                  <a:uFillTx/>
                  <a:latin typeface="Segoe UI"/>
                  <a:ea typeface="+mn-ea"/>
                  <a:cs typeface="+mn-cs"/>
                </a:rPr>
                <a:t>4</a:t>
              </a:r>
            </a:p>
          </p:txBody>
        </p:sp>
      </p:grpSp>
      <p:sp>
        <p:nvSpPr>
          <p:cNvPr id="101" name="Text Placeholder 2">
            <a:extLst>
              <a:ext uri="{FF2B5EF4-FFF2-40B4-BE49-F238E27FC236}">
                <a16:creationId xmlns:a16="http://schemas.microsoft.com/office/drawing/2014/main" id="{E8EC1362-0CB6-2ADF-991C-4E36B45C0928}"/>
              </a:ext>
            </a:extLst>
          </p:cNvPr>
          <p:cNvSpPr>
            <a:spLocks noGrp="1"/>
          </p:cNvSpPr>
          <p:nvPr>
            <p:ph type="body" sz="quarter" idx="10"/>
          </p:nvPr>
        </p:nvSpPr>
        <p:spPr>
          <a:xfrm>
            <a:off x="5656602" y="1399251"/>
            <a:ext cx="6070600" cy="276999"/>
          </a:xfrm>
        </p:spPr>
        <p:txBody>
          <a:bodyPr/>
          <a:lstStyle>
            <a:lvl1pPr marL="0" indent="0">
              <a:buNone/>
              <a:defRPr sz="1800">
                <a:solidFill>
                  <a:srgbClr val="0090A8"/>
                </a:solidFill>
                <a:latin typeface="+mj-lt"/>
              </a:defRPr>
            </a:lvl1pPr>
          </a:lstStyle>
          <a:p>
            <a:pPr lvl="0"/>
            <a:r>
              <a:rPr lang="en-US"/>
              <a:t>Click to edit Master text styles</a:t>
            </a:r>
          </a:p>
        </p:txBody>
      </p:sp>
      <p:sp>
        <p:nvSpPr>
          <p:cNvPr id="102" name="Text Placeholder 2">
            <a:extLst>
              <a:ext uri="{FF2B5EF4-FFF2-40B4-BE49-F238E27FC236}">
                <a16:creationId xmlns:a16="http://schemas.microsoft.com/office/drawing/2014/main" id="{DB300B4E-15B0-3EC4-2E0C-DB32B767F4E3}"/>
              </a:ext>
            </a:extLst>
          </p:cNvPr>
          <p:cNvSpPr>
            <a:spLocks noGrp="1"/>
          </p:cNvSpPr>
          <p:nvPr>
            <p:ph type="body" sz="quarter" idx="11"/>
          </p:nvPr>
        </p:nvSpPr>
        <p:spPr>
          <a:xfrm>
            <a:off x="5656602" y="2689079"/>
            <a:ext cx="6070600" cy="307777"/>
          </a:xfrm>
        </p:spPr>
        <p:txBody>
          <a:bodyPr/>
          <a:lstStyle>
            <a:lvl1pPr marL="0" indent="0">
              <a:buNone/>
              <a:defRPr sz="2000">
                <a:solidFill>
                  <a:srgbClr val="0090A8"/>
                </a:solidFill>
                <a:latin typeface="+mj-lt"/>
              </a:defRPr>
            </a:lvl1pPr>
          </a:lstStyle>
          <a:p>
            <a:pPr lvl="0"/>
            <a:r>
              <a:rPr lang="en-US"/>
              <a:t>Click to edit Master text styles</a:t>
            </a:r>
          </a:p>
        </p:txBody>
      </p:sp>
      <p:sp>
        <p:nvSpPr>
          <p:cNvPr id="103" name="Text Placeholder 2">
            <a:extLst>
              <a:ext uri="{FF2B5EF4-FFF2-40B4-BE49-F238E27FC236}">
                <a16:creationId xmlns:a16="http://schemas.microsoft.com/office/drawing/2014/main" id="{AD6785CC-4508-96E8-DD76-F2BEDCFF29E3}"/>
              </a:ext>
            </a:extLst>
          </p:cNvPr>
          <p:cNvSpPr>
            <a:spLocks noGrp="1"/>
          </p:cNvSpPr>
          <p:nvPr>
            <p:ph type="body" sz="quarter" idx="12"/>
          </p:nvPr>
        </p:nvSpPr>
        <p:spPr>
          <a:xfrm>
            <a:off x="5656602" y="4009685"/>
            <a:ext cx="6070600" cy="276999"/>
          </a:xfrm>
        </p:spPr>
        <p:txBody>
          <a:bodyPr/>
          <a:lstStyle>
            <a:lvl1pPr marL="0" indent="0">
              <a:buNone/>
              <a:defRPr sz="1800">
                <a:solidFill>
                  <a:srgbClr val="0090A8"/>
                </a:solidFill>
                <a:latin typeface="+mj-lt"/>
              </a:defRPr>
            </a:lvl1pPr>
          </a:lstStyle>
          <a:p>
            <a:pPr lvl="0"/>
            <a:r>
              <a:rPr lang="en-US"/>
              <a:t>Click to edit Master text styles</a:t>
            </a:r>
          </a:p>
        </p:txBody>
      </p:sp>
      <p:sp>
        <p:nvSpPr>
          <p:cNvPr id="104" name="Text Placeholder 2">
            <a:extLst>
              <a:ext uri="{FF2B5EF4-FFF2-40B4-BE49-F238E27FC236}">
                <a16:creationId xmlns:a16="http://schemas.microsoft.com/office/drawing/2014/main" id="{D3E17AB8-A8BA-A7E1-7A4F-836B74379087}"/>
              </a:ext>
            </a:extLst>
          </p:cNvPr>
          <p:cNvSpPr>
            <a:spLocks noGrp="1"/>
          </p:cNvSpPr>
          <p:nvPr>
            <p:ph type="body" sz="quarter" idx="13"/>
          </p:nvPr>
        </p:nvSpPr>
        <p:spPr>
          <a:xfrm>
            <a:off x="5656602" y="5299514"/>
            <a:ext cx="6070600" cy="276999"/>
          </a:xfrm>
        </p:spPr>
        <p:txBody>
          <a:bodyPr/>
          <a:lstStyle>
            <a:lvl1pPr marL="0" indent="0">
              <a:buNone/>
              <a:defRPr sz="1800">
                <a:solidFill>
                  <a:srgbClr val="0090A8"/>
                </a:solidFill>
                <a:latin typeface="+mj-lt"/>
              </a:defRPr>
            </a:lvl1pPr>
          </a:lstStyle>
          <a:p>
            <a:pPr lvl="0"/>
            <a:r>
              <a:rPr lang="en-US"/>
              <a:t>Click to edit Master text styles</a:t>
            </a:r>
          </a:p>
        </p:txBody>
      </p:sp>
    </p:spTree>
    <p:extLst>
      <p:ext uri="{BB962C8B-B14F-4D97-AF65-F5344CB8AC3E}">
        <p14:creationId xmlns:p14="http://schemas.microsoft.com/office/powerpoint/2010/main" val="23406665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5">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537"/>
          <a:stretch>
            <a:fillRect/>
          </a:stretch>
        </p:blipFill>
        <p:spPr>
          <a:xfrm>
            <a:off x="5488599" y="-1"/>
            <a:ext cx="6721295" cy="6704117"/>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8291BFD-F619-0250-71BD-ED5F5475E9F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06013483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Speaker Guidanc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ED924C7-0356-6225-E12D-52F6C07AEA4F}"/>
              </a:ext>
            </a:extLst>
          </p:cNvPr>
          <p:cNvSpPr/>
          <p:nvPr userDrawn="1"/>
        </p:nvSpPr>
        <p:spPr bwMode="auto">
          <a:xfrm flipH="1">
            <a:off x="2524538" y="1152524"/>
            <a:ext cx="9081674" cy="511430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82C25624-FD92-7EF6-BDD3-64F1782E1E0B}"/>
              </a:ext>
            </a:extLst>
          </p:cNvPr>
          <p:cNvSpPr/>
          <p:nvPr userDrawn="1"/>
        </p:nvSpPr>
        <p:spPr bwMode="auto">
          <a:xfrm>
            <a:off x="0" y="6266834"/>
            <a:ext cx="12192000" cy="59116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p:txBody>
          <a:bodyPr/>
          <a:lstStyle>
            <a:lvl1pPr>
              <a:defRPr/>
            </a:lvl1pPr>
          </a:lstStyle>
          <a:p>
            <a:r>
              <a:rPr lang="en-US"/>
              <a:t>Add Title here</a:t>
            </a:r>
          </a:p>
        </p:txBody>
      </p:sp>
      <p:sp>
        <p:nvSpPr>
          <p:cNvPr id="9" name="Text Placeholder 8">
            <a:extLst>
              <a:ext uri="{FF2B5EF4-FFF2-40B4-BE49-F238E27FC236}">
                <a16:creationId xmlns:a16="http://schemas.microsoft.com/office/drawing/2014/main" id="{3901E923-3221-A6AC-2035-31F63A3575E7}"/>
              </a:ext>
            </a:extLst>
          </p:cNvPr>
          <p:cNvSpPr>
            <a:spLocks noGrp="1"/>
          </p:cNvSpPr>
          <p:nvPr>
            <p:ph type="body" sz="quarter" idx="11" hasCustomPrompt="1"/>
          </p:nvPr>
        </p:nvSpPr>
        <p:spPr>
          <a:xfrm>
            <a:off x="588264" y="6423918"/>
            <a:ext cx="8689086" cy="276999"/>
          </a:xfrm>
        </p:spPr>
        <p:txBody>
          <a:bodyPr wrap="square" anchor="ctr">
            <a:spAutoFit/>
          </a:bodyPr>
          <a:lstStyle>
            <a:lvl1pPr marL="0" indent="0">
              <a:buNone/>
              <a:defRPr sz="18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a:t>
            </a:r>
          </a:p>
        </p:txBody>
      </p:sp>
      <p:sp>
        <p:nvSpPr>
          <p:cNvPr id="22" name="Text Placeholder 21">
            <a:extLst>
              <a:ext uri="{FF2B5EF4-FFF2-40B4-BE49-F238E27FC236}">
                <a16:creationId xmlns:a16="http://schemas.microsoft.com/office/drawing/2014/main" id="{60E9E77E-79B3-A576-631E-D8ABBC211A8F}"/>
              </a:ext>
            </a:extLst>
          </p:cNvPr>
          <p:cNvSpPr>
            <a:spLocks noGrp="1"/>
          </p:cNvSpPr>
          <p:nvPr>
            <p:ph type="body" sz="quarter" idx="12" hasCustomPrompt="1"/>
          </p:nvPr>
        </p:nvSpPr>
        <p:spPr>
          <a:xfrm>
            <a:off x="9448800" y="6408529"/>
            <a:ext cx="2160588" cy="307777"/>
          </a:xfrm>
        </p:spPr>
        <p:txBody>
          <a:bodyPr anchor="ctr"/>
          <a:lstStyle>
            <a:lvl1pPr marL="0" indent="0" algn="r">
              <a:buNone/>
              <a:defRPr sz="2000"/>
            </a:lvl1pPr>
            <a:lvl2pPr marL="228600" indent="0" algn="r">
              <a:buNone/>
              <a:defRPr/>
            </a:lvl2pPr>
            <a:lvl3pPr marL="457200" indent="0" algn="r">
              <a:buNone/>
              <a:defRPr/>
            </a:lvl3pPr>
            <a:lvl4pPr marL="661988" indent="0" algn="r">
              <a:buNone/>
              <a:defRPr/>
            </a:lvl4pPr>
            <a:lvl5pPr marL="855663" indent="0" algn="r">
              <a:buNone/>
              <a:defRPr/>
            </a:lvl5pPr>
          </a:lstStyle>
          <a:p>
            <a:pPr lvl="0"/>
            <a:r>
              <a:rPr lang="en-GB"/>
              <a:t>LOREM IPSUM</a:t>
            </a:r>
            <a:endParaRPr lang="en-US"/>
          </a:p>
        </p:txBody>
      </p:sp>
      <p:sp>
        <p:nvSpPr>
          <p:cNvPr id="15" name="Text Placeholder 5">
            <a:extLst>
              <a:ext uri="{FF2B5EF4-FFF2-40B4-BE49-F238E27FC236}">
                <a16:creationId xmlns:a16="http://schemas.microsoft.com/office/drawing/2014/main" id="{D205E7A8-1881-A585-87DB-A2BD273F9506}"/>
              </a:ext>
            </a:extLst>
          </p:cNvPr>
          <p:cNvSpPr>
            <a:spLocks noGrp="1"/>
          </p:cNvSpPr>
          <p:nvPr>
            <p:ph type="body" sz="quarter" idx="20" hasCustomPrompt="1"/>
          </p:nvPr>
        </p:nvSpPr>
        <p:spPr>
          <a:xfrm>
            <a:off x="2603500" y="115252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6" name="Text Placeholder 5">
            <a:extLst>
              <a:ext uri="{FF2B5EF4-FFF2-40B4-BE49-F238E27FC236}">
                <a16:creationId xmlns:a16="http://schemas.microsoft.com/office/drawing/2014/main" id="{AE27D661-5D7F-C05F-4F97-7818CB1C50E0}"/>
              </a:ext>
            </a:extLst>
          </p:cNvPr>
          <p:cNvSpPr>
            <a:spLocks noGrp="1"/>
          </p:cNvSpPr>
          <p:nvPr>
            <p:ph type="body" sz="quarter" idx="21" hasCustomPrompt="1"/>
          </p:nvPr>
        </p:nvSpPr>
        <p:spPr>
          <a:xfrm>
            <a:off x="2603500" y="1890977"/>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7" name="Text Placeholder 5">
            <a:extLst>
              <a:ext uri="{FF2B5EF4-FFF2-40B4-BE49-F238E27FC236}">
                <a16:creationId xmlns:a16="http://schemas.microsoft.com/office/drawing/2014/main" id="{94DD9AD2-18DF-C76D-C40C-3BC3856BC6F0}"/>
              </a:ext>
            </a:extLst>
          </p:cNvPr>
          <p:cNvSpPr>
            <a:spLocks noGrp="1"/>
          </p:cNvSpPr>
          <p:nvPr>
            <p:ph type="body" sz="quarter" idx="22" hasCustomPrompt="1"/>
          </p:nvPr>
        </p:nvSpPr>
        <p:spPr>
          <a:xfrm>
            <a:off x="2603500" y="2629429"/>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8" name="Text Placeholder 5">
            <a:extLst>
              <a:ext uri="{FF2B5EF4-FFF2-40B4-BE49-F238E27FC236}">
                <a16:creationId xmlns:a16="http://schemas.microsoft.com/office/drawing/2014/main" id="{B3E59AB2-BBBB-24AE-6D25-42A2F78E7CBA}"/>
              </a:ext>
            </a:extLst>
          </p:cNvPr>
          <p:cNvSpPr>
            <a:spLocks noGrp="1"/>
          </p:cNvSpPr>
          <p:nvPr>
            <p:ph type="body" sz="quarter" idx="23" hasCustomPrompt="1"/>
          </p:nvPr>
        </p:nvSpPr>
        <p:spPr>
          <a:xfrm>
            <a:off x="2603500" y="3367881"/>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9" name="Text Placeholder 5">
            <a:extLst>
              <a:ext uri="{FF2B5EF4-FFF2-40B4-BE49-F238E27FC236}">
                <a16:creationId xmlns:a16="http://schemas.microsoft.com/office/drawing/2014/main" id="{030D4C9A-59E0-BD9C-F67D-75EB7DD853A3}"/>
              </a:ext>
            </a:extLst>
          </p:cNvPr>
          <p:cNvSpPr>
            <a:spLocks noGrp="1"/>
          </p:cNvSpPr>
          <p:nvPr>
            <p:ph type="body" sz="quarter" idx="24" hasCustomPrompt="1"/>
          </p:nvPr>
        </p:nvSpPr>
        <p:spPr>
          <a:xfrm>
            <a:off x="2603500" y="4106333"/>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20" name="Text Placeholder 5">
            <a:extLst>
              <a:ext uri="{FF2B5EF4-FFF2-40B4-BE49-F238E27FC236}">
                <a16:creationId xmlns:a16="http://schemas.microsoft.com/office/drawing/2014/main" id="{53FFF5E9-EB90-274A-4F32-79223FFCBE75}"/>
              </a:ext>
            </a:extLst>
          </p:cNvPr>
          <p:cNvSpPr>
            <a:spLocks noGrp="1"/>
          </p:cNvSpPr>
          <p:nvPr>
            <p:ph type="body" sz="quarter" idx="25" hasCustomPrompt="1"/>
          </p:nvPr>
        </p:nvSpPr>
        <p:spPr>
          <a:xfrm>
            <a:off x="2603500" y="484478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21" name="Text Placeholder 5">
            <a:extLst>
              <a:ext uri="{FF2B5EF4-FFF2-40B4-BE49-F238E27FC236}">
                <a16:creationId xmlns:a16="http://schemas.microsoft.com/office/drawing/2014/main" id="{092C99D8-DBE4-4260-924F-35D46E0B0A84}"/>
              </a:ext>
            </a:extLst>
          </p:cNvPr>
          <p:cNvSpPr>
            <a:spLocks noGrp="1"/>
          </p:cNvSpPr>
          <p:nvPr>
            <p:ph type="body" sz="quarter" idx="26" hasCustomPrompt="1"/>
          </p:nvPr>
        </p:nvSpPr>
        <p:spPr>
          <a:xfrm>
            <a:off x="2603500" y="558323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cxnSp>
        <p:nvCxnSpPr>
          <p:cNvPr id="25" name="Straight Connector 24">
            <a:extLst>
              <a:ext uri="{FF2B5EF4-FFF2-40B4-BE49-F238E27FC236}">
                <a16:creationId xmlns:a16="http://schemas.microsoft.com/office/drawing/2014/main" id="{B7C3725F-901C-C01F-E141-69E4374DC60C}"/>
              </a:ext>
            </a:extLst>
          </p:cNvPr>
          <p:cNvCxnSpPr>
            <a:cxnSpLocks/>
          </p:cNvCxnSpPr>
          <p:nvPr userDrawn="1"/>
        </p:nvCxnSpPr>
        <p:spPr>
          <a:xfrm>
            <a:off x="2603499" y="1864651"/>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CCF5029-E2DC-F2CF-6F92-B65540D53548}"/>
              </a:ext>
            </a:extLst>
          </p:cNvPr>
          <p:cNvCxnSpPr>
            <a:cxnSpLocks/>
          </p:cNvCxnSpPr>
          <p:nvPr userDrawn="1"/>
        </p:nvCxnSpPr>
        <p:spPr>
          <a:xfrm>
            <a:off x="2603499" y="2603103"/>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075192-50B7-3FC8-2E43-9002B60CDB09}"/>
              </a:ext>
            </a:extLst>
          </p:cNvPr>
          <p:cNvCxnSpPr>
            <a:cxnSpLocks/>
          </p:cNvCxnSpPr>
          <p:nvPr userDrawn="1"/>
        </p:nvCxnSpPr>
        <p:spPr>
          <a:xfrm>
            <a:off x="2603499" y="3341555"/>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253E800-D778-A32C-B978-EBD31A8823CD}"/>
              </a:ext>
            </a:extLst>
          </p:cNvPr>
          <p:cNvCxnSpPr>
            <a:cxnSpLocks/>
          </p:cNvCxnSpPr>
          <p:nvPr userDrawn="1"/>
        </p:nvCxnSpPr>
        <p:spPr>
          <a:xfrm>
            <a:off x="2603499" y="4080007"/>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E0AFDF1-6406-00A6-9E52-3B64F6CEAA6B}"/>
              </a:ext>
            </a:extLst>
          </p:cNvPr>
          <p:cNvCxnSpPr>
            <a:cxnSpLocks/>
          </p:cNvCxnSpPr>
          <p:nvPr userDrawn="1"/>
        </p:nvCxnSpPr>
        <p:spPr>
          <a:xfrm>
            <a:off x="2603499" y="4818459"/>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62580B5-E917-7977-84AB-B816900A32BA}"/>
              </a:ext>
            </a:extLst>
          </p:cNvPr>
          <p:cNvCxnSpPr>
            <a:cxnSpLocks/>
          </p:cNvCxnSpPr>
          <p:nvPr userDrawn="1"/>
        </p:nvCxnSpPr>
        <p:spPr>
          <a:xfrm>
            <a:off x="2603499" y="5556911"/>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B204E465-9A88-A57C-E10C-26DBF15524EE}"/>
              </a:ext>
            </a:extLst>
          </p:cNvPr>
          <p:cNvSpPr>
            <a:spLocks noGrp="1"/>
          </p:cNvSpPr>
          <p:nvPr>
            <p:ph type="body" sz="quarter" idx="13" hasCustomPrompt="1"/>
          </p:nvPr>
        </p:nvSpPr>
        <p:spPr>
          <a:xfrm>
            <a:off x="-1" y="115252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endParaRPr lang="en-US"/>
          </a:p>
        </p:txBody>
      </p:sp>
      <p:sp>
        <p:nvSpPr>
          <p:cNvPr id="7" name="Text Placeholder 5">
            <a:extLst>
              <a:ext uri="{FF2B5EF4-FFF2-40B4-BE49-F238E27FC236}">
                <a16:creationId xmlns:a16="http://schemas.microsoft.com/office/drawing/2014/main" id="{CED3A873-AF8D-D678-59D4-767C43AE3572}"/>
              </a:ext>
            </a:extLst>
          </p:cNvPr>
          <p:cNvSpPr>
            <a:spLocks noGrp="1"/>
          </p:cNvSpPr>
          <p:nvPr>
            <p:ph type="body" sz="quarter" idx="14" hasCustomPrompt="1"/>
          </p:nvPr>
        </p:nvSpPr>
        <p:spPr>
          <a:xfrm>
            <a:off x="-1" y="1890977"/>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8" name="Text Placeholder 5">
            <a:extLst>
              <a:ext uri="{FF2B5EF4-FFF2-40B4-BE49-F238E27FC236}">
                <a16:creationId xmlns:a16="http://schemas.microsoft.com/office/drawing/2014/main" id="{3C4C1BAE-D67A-56B0-565E-BB8DD62A1F04}"/>
              </a:ext>
            </a:extLst>
          </p:cNvPr>
          <p:cNvSpPr>
            <a:spLocks noGrp="1"/>
          </p:cNvSpPr>
          <p:nvPr>
            <p:ph type="body" sz="quarter" idx="15" hasCustomPrompt="1"/>
          </p:nvPr>
        </p:nvSpPr>
        <p:spPr>
          <a:xfrm>
            <a:off x="-1" y="2629429"/>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0" name="Text Placeholder 5">
            <a:extLst>
              <a:ext uri="{FF2B5EF4-FFF2-40B4-BE49-F238E27FC236}">
                <a16:creationId xmlns:a16="http://schemas.microsoft.com/office/drawing/2014/main" id="{EBDC8AD4-C927-CCDC-B645-AAC76C2FD939}"/>
              </a:ext>
            </a:extLst>
          </p:cNvPr>
          <p:cNvSpPr>
            <a:spLocks noGrp="1"/>
          </p:cNvSpPr>
          <p:nvPr>
            <p:ph type="body" sz="quarter" idx="16" hasCustomPrompt="1"/>
          </p:nvPr>
        </p:nvSpPr>
        <p:spPr>
          <a:xfrm>
            <a:off x="-1" y="3367881"/>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2" name="Text Placeholder 5">
            <a:extLst>
              <a:ext uri="{FF2B5EF4-FFF2-40B4-BE49-F238E27FC236}">
                <a16:creationId xmlns:a16="http://schemas.microsoft.com/office/drawing/2014/main" id="{79EB4475-9CBB-9290-75FD-627A825D8BBE}"/>
              </a:ext>
            </a:extLst>
          </p:cNvPr>
          <p:cNvSpPr>
            <a:spLocks noGrp="1"/>
          </p:cNvSpPr>
          <p:nvPr>
            <p:ph type="body" sz="quarter" idx="17" hasCustomPrompt="1"/>
          </p:nvPr>
        </p:nvSpPr>
        <p:spPr>
          <a:xfrm>
            <a:off x="-1" y="4106333"/>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3" name="Text Placeholder 5">
            <a:extLst>
              <a:ext uri="{FF2B5EF4-FFF2-40B4-BE49-F238E27FC236}">
                <a16:creationId xmlns:a16="http://schemas.microsoft.com/office/drawing/2014/main" id="{026C1969-4182-635E-8417-0C5A9050140D}"/>
              </a:ext>
            </a:extLst>
          </p:cNvPr>
          <p:cNvSpPr>
            <a:spLocks noGrp="1"/>
          </p:cNvSpPr>
          <p:nvPr>
            <p:ph type="body" sz="quarter" idx="18" hasCustomPrompt="1"/>
          </p:nvPr>
        </p:nvSpPr>
        <p:spPr>
          <a:xfrm>
            <a:off x="-1" y="484478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4" name="Text Placeholder 5">
            <a:extLst>
              <a:ext uri="{FF2B5EF4-FFF2-40B4-BE49-F238E27FC236}">
                <a16:creationId xmlns:a16="http://schemas.microsoft.com/office/drawing/2014/main" id="{251F96A7-E684-A125-B0E2-0DEA00C8442A}"/>
              </a:ext>
            </a:extLst>
          </p:cNvPr>
          <p:cNvSpPr>
            <a:spLocks noGrp="1"/>
          </p:cNvSpPr>
          <p:nvPr>
            <p:ph type="body" sz="quarter" idx="19" hasCustomPrompt="1"/>
          </p:nvPr>
        </p:nvSpPr>
        <p:spPr>
          <a:xfrm>
            <a:off x="-1" y="558323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Tree>
    <p:extLst>
      <p:ext uri="{BB962C8B-B14F-4D97-AF65-F5344CB8AC3E}">
        <p14:creationId xmlns:p14="http://schemas.microsoft.com/office/powerpoint/2010/main" val="287780999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Left title with 6 placeholders">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74CF950-AF17-A39C-0166-183265ABBE71}"/>
              </a:ext>
            </a:extLst>
          </p:cNvPr>
          <p:cNvSpPr>
            <a:spLocks noGrp="1"/>
          </p:cNvSpPr>
          <p:nvPr>
            <p:ph type="title"/>
          </p:nvPr>
        </p:nvSpPr>
        <p:spPr>
          <a:xfrm>
            <a:off x="588263" y="2596028"/>
            <a:ext cx="3809565" cy="1107996"/>
          </a:xfrm>
        </p:spPr>
        <p:txBody>
          <a:bodyPr>
            <a:spAutoFit/>
          </a:bodyPr>
          <a:lstStyle/>
          <a:p>
            <a:r>
              <a:rPr lang="en-US"/>
              <a:t>Click to edit Master title style</a:t>
            </a:r>
            <a:endParaRPr lang="en-IN"/>
          </a:p>
        </p:txBody>
      </p:sp>
      <p:sp>
        <p:nvSpPr>
          <p:cNvPr id="4" name="Text Placeholder 60">
            <a:extLst>
              <a:ext uri="{FF2B5EF4-FFF2-40B4-BE49-F238E27FC236}">
                <a16:creationId xmlns:a16="http://schemas.microsoft.com/office/drawing/2014/main" id="{65EB12EF-8B17-707D-E853-6A10E60364A9}"/>
              </a:ext>
            </a:extLst>
          </p:cNvPr>
          <p:cNvSpPr>
            <a:spLocks noGrp="1"/>
          </p:cNvSpPr>
          <p:nvPr>
            <p:ph type="body" sz="quarter" idx="11"/>
          </p:nvPr>
        </p:nvSpPr>
        <p:spPr>
          <a:xfrm>
            <a:off x="5003800" y="292100"/>
            <a:ext cx="6883400" cy="6273800"/>
          </a:xfrm>
          <a:prstGeom prst="roundRect">
            <a:avLst>
              <a:gd name="adj" fmla="val 26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n-lt"/>
              </a:defRPr>
            </a:lvl1pPr>
          </a:lstStyle>
          <a:p>
            <a:pPr marL="0" lvl="0" indent="0" defTabSz="932472" fontAlgn="base">
              <a:lnSpc>
                <a:spcPct val="110000"/>
              </a:lnSpc>
              <a:spcBef>
                <a:spcPct val="0"/>
              </a:spcBef>
              <a:spcAft>
                <a:spcPct val="0"/>
              </a:spcAft>
              <a:buSzTx/>
              <a:buFontTx/>
              <a:buNone/>
            </a:pPr>
            <a:endParaRPr lang="en-IN"/>
          </a:p>
        </p:txBody>
      </p:sp>
      <p:sp>
        <p:nvSpPr>
          <p:cNvPr id="6" name="Text Placeholder 62">
            <a:extLst>
              <a:ext uri="{FF2B5EF4-FFF2-40B4-BE49-F238E27FC236}">
                <a16:creationId xmlns:a16="http://schemas.microsoft.com/office/drawing/2014/main" id="{53883624-94A0-C44D-F820-FAD11F3E3E53}"/>
              </a:ext>
            </a:extLst>
          </p:cNvPr>
          <p:cNvSpPr>
            <a:spLocks noGrp="1"/>
          </p:cNvSpPr>
          <p:nvPr>
            <p:ph type="body" sz="quarter" idx="12"/>
          </p:nvPr>
        </p:nvSpPr>
        <p:spPr>
          <a:xfrm>
            <a:off x="5276193" y="831044"/>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7" name="Text Placeholder 62">
            <a:extLst>
              <a:ext uri="{FF2B5EF4-FFF2-40B4-BE49-F238E27FC236}">
                <a16:creationId xmlns:a16="http://schemas.microsoft.com/office/drawing/2014/main" id="{7CD3F75B-4595-F87C-A369-149DEA49E81F}"/>
              </a:ext>
            </a:extLst>
          </p:cNvPr>
          <p:cNvSpPr>
            <a:spLocks noGrp="1"/>
          </p:cNvSpPr>
          <p:nvPr>
            <p:ph type="body" sz="quarter" idx="15"/>
          </p:nvPr>
        </p:nvSpPr>
        <p:spPr>
          <a:xfrm>
            <a:off x="5276193" y="3782393"/>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8" name="Text Placeholder 62">
            <a:extLst>
              <a:ext uri="{FF2B5EF4-FFF2-40B4-BE49-F238E27FC236}">
                <a16:creationId xmlns:a16="http://schemas.microsoft.com/office/drawing/2014/main" id="{665FECA9-D7B1-9A46-9AFD-0A3FE50FF753}"/>
              </a:ext>
            </a:extLst>
          </p:cNvPr>
          <p:cNvSpPr>
            <a:spLocks noGrp="1"/>
          </p:cNvSpPr>
          <p:nvPr>
            <p:ph type="body" sz="quarter" idx="16"/>
          </p:nvPr>
        </p:nvSpPr>
        <p:spPr>
          <a:xfrm>
            <a:off x="5276193" y="4766176"/>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9" name="Text Placeholder 62">
            <a:extLst>
              <a:ext uri="{FF2B5EF4-FFF2-40B4-BE49-F238E27FC236}">
                <a16:creationId xmlns:a16="http://schemas.microsoft.com/office/drawing/2014/main" id="{1EC58318-A7CC-D2FA-2146-519695B2B57B}"/>
              </a:ext>
            </a:extLst>
          </p:cNvPr>
          <p:cNvSpPr>
            <a:spLocks noGrp="1"/>
          </p:cNvSpPr>
          <p:nvPr>
            <p:ph type="body" sz="quarter" idx="17"/>
          </p:nvPr>
        </p:nvSpPr>
        <p:spPr>
          <a:xfrm>
            <a:off x="5276193" y="5749959"/>
            <a:ext cx="6356281" cy="261958"/>
          </a:xfrm>
        </p:spPr>
        <p:txBody>
          <a:bodyPr/>
          <a:lstStyle>
            <a:lvl1pPr marL="0" indent="0">
              <a:buFont typeface="Arial" panose="020B0604020202020204" pitchFamily="34" charset="0"/>
              <a:buNone/>
              <a:defRPr sz="1800">
                <a:latin typeface="+mj-lt"/>
              </a:defRPr>
            </a:lvl1pPr>
          </a:lstStyle>
          <a:p>
            <a:pPr lvl="0"/>
            <a:endParaRPr lang="en-IN"/>
          </a:p>
        </p:txBody>
      </p:sp>
      <p:cxnSp>
        <p:nvCxnSpPr>
          <p:cNvPr id="10" name="Straight Connector 9">
            <a:extLst>
              <a:ext uri="{FF2B5EF4-FFF2-40B4-BE49-F238E27FC236}">
                <a16:creationId xmlns:a16="http://schemas.microsoft.com/office/drawing/2014/main" id="{415C5D64-115E-CCF2-7EEF-642E523B6363}"/>
              </a:ext>
            </a:extLst>
          </p:cNvPr>
          <p:cNvCxnSpPr>
            <a:cxnSpLocks/>
          </p:cNvCxnSpPr>
          <p:nvPr userDrawn="1"/>
        </p:nvCxnSpPr>
        <p:spPr>
          <a:xfrm>
            <a:off x="5276193" y="1461434"/>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38BFB4D-6769-3EC5-7ADB-33DEA61D0429}"/>
              </a:ext>
            </a:extLst>
          </p:cNvPr>
          <p:cNvCxnSpPr>
            <a:cxnSpLocks/>
          </p:cNvCxnSpPr>
          <p:nvPr userDrawn="1"/>
        </p:nvCxnSpPr>
        <p:spPr>
          <a:xfrm>
            <a:off x="5276193" y="2445217"/>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CC1AE44-0CD1-8EEA-B143-920CD978D409}"/>
              </a:ext>
            </a:extLst>
          </p:cNvPr>
          <p:cNvCxnSpPr>
            <a:cxnSpLocks/>
          </p:cNvCxnSpPr>
          <p:nvPr userDrawn="1"/>
        </p:nvCxnSpPr>
        <p:spPr>
          <a:xfrm>
            <a:off x="5276193" y="5396566"/>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6F84F38-4477-6DCA-3536-C7E2B4E81840}"/>
              </a:ext>
            </a:extLst>
          </p:cNvPr>
          <p:cNvCxnSpPr>
            <a:cxnSpLocks/>
          </p:cNvCxnSpPr>
          <p:nvPr userDrawn="1"/>
        </p:nvCxnSpPr>
        <p:spPr>
          <a:xfrm>
            <a:off x="5276193" y="3429000"/>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C69AD57-3FD5-237B-654A-389A8740DB6B}"/>
              </a:ext>
            </a:extLst>
          </p:cNvPr>
          <p:cNvCxnSpPr>
            <a:cxnSpLocks/>
          </p:cNvCxnSpPr>
          <p:nvPr userDrawn="1"/>
        </p:nvCxnSpPr>
        <p:spPr>
          <a:xfrm>
            <a:off x="5276193" y="4412783"/>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62">
            <a:extLst>
              <a:ext uri="{FF2B5EF4-FFF2-40B4-BE49-F238E27FC236}">
                <a16:creationId xmlns:a16="http://schemas.microsoft.com/office/drawing/2014/main" id="{7F1386AF-CD76-C4A8-0139-44716A1B87A4}"/>
              </a:ext>
            </a:extLst>
          </p:cNvPr>
          <p:cNvSpPr>
            <a:spLocks noGrp="1"/>
          </p:cNvSpPr>
          <p:nvPr>
            <p:ph type="body" sz="quarter" idx="14"/>
          </p:nvPr>
        </p:nvSpPr>
        <p:spPr>
          <a:xfrm>
            <a:off x="5276193" y="2798610"/>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16" name="Text Placeholder 62">
            <a:extLst>
              <a:ext uri="{FF2B5EF4-FFF2-40B4-BE49-F238E27FC236}">
                <a16:creationId xmlns:a16="http://schemas.microsoft.com/office/drawing/2014/main" id="{31357997-D280-E046-0565-10FB548D13B3}"/>
              </a:ext>
            </a:extLst>
          </p:cNvPr>
          <p:cNvSpPr>
            <a:spLocks noGrp="1"/>
          </p:cNvSpPr>
          <p:nvPr>
            <p:ph type="body" sz="quarter" idx="13"/>
          </p:nvPr>
        </p:nvSpPr>
        <p:spPr>
          <a:xfrm>
            <a:off x="5276193" y="1814827"/>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29" name="Text Placeholder 77">
            <a:extLst>
              <a:ext uri="{FF2B5EF4-FFF2-40B4-BE49-F238E27FC236}">
                <a16:creationId xmlns:a16="http://schemas.microsoft.com/office/drawing/2014/main" id="{0756E41F-5882-D06E-46FF-B59B86ADC728}"/>
              </a:ext>
            </a:extLst>
          </p:cNvPr>
          <p:cNvSpPr>
            <a:spLocks noGrp="1"/>
          </p:cNvSpPr>
          <p:nvPr>
            <p:ph type="body" sz="quarter" idx="24"/>
          </p:nvPr>
        </p:nvSpPr>
        <p:spPr>
          <a:xfrm>
            <a:off x="584200" y="3957484"/>
            <a:ext cx="822960" cy="36576"/>
          </a:xfrm>
          <a:prstGeom prst="roundRect">
            <a:avLst>
              <a:gd name="adj" fmla="val 50000"/>
            </a:avLst>
          </a:prstGeom>
          <a:solidFill>
            <a:schemeClr val="bg2"/>
          </a:solidFill>
        </p:spPr>
        <p:txBody>
          <a:bodyPr>
            <a:noAutofit/>
          </a:bodyPr>
          <a:lstStyle>
            <a:lvl1pPr marL="0" indent="0">
              <a:buNone/>
              <a:defRPr sz="100"/>
            </a:lvl1pPr>
          </a:lstStyle>
          <a:p>
            <a:pPr lvl="0"/>
            <a:endParaRPr lang="en-IN"/>
          </a:p>
        </p:txBody>
      </p:sp>
    </p:spTree>
    <p:extLst>
      <p:ext uri="{BB962C8B-B14F-4D97-AF65-F5344CB8AC3E}">
        <p14:creationId xmlns:p14="http://schemas.microsoft.com/office/powerpoint/2010/main" val="21921046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Left title with 5 placeholders">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74CF950-AF17-A39C-0166-183265ABBE71}"/>
              </a:ext>
            </a:extLst>
          </p:cNvPr>
          <p:cNvSpPr>
            <a:spLocks noGrp="1"/>
          </p:cNvSpPr>
          <p:nvPr>
            <p:ph type="title"/>
          </p:nvPr>
        </p:nvSpPr>
        <p:spPr>
          <a:xfrm>
            <a:off x="588263" y="2596028"/>
            <a:ext cx="3809565" cy="1107996"/>
          </a:xfrm>
        </p:spPr>
        <p:txBody>
          <a:bodyPr>
            <a:spAutoFit/>
          </a:bodyPr>
          <a:lstStyle/>
          <a:p>
            <a:r>
              <a:rPr lang="en-US"/>
              <a:t>Click to edit Master title style</a:t>
            </a:r>
            <a:endParaRPr lang="en-IN"/>
          </a:p>
        </p:txBody>
      </p:sp>
      <p:sp>
        <p:nvSpPr>
          <p:cNvPr id="4" name="Text Placeholder 60">
            <a:extLst>
              <a:ext uri="{FF2B5EF4-FFF2-40B4-BE49-F238E27FC236}">
                <a16:creationId xmlns:a16="http://schemas.microsoft.com/office/drawing/2014/main" id="{65EB12EF-8B17-707D-E853-6A10E60364A9}"/>
              </a:ext>
            </a:extLst>
          </p:cNvPr>
          <p:cNvSpPr>
            <a:spLocks noGrp="1"/>
          </p:cNvSpPr>
          <p:nvPr>
            <p:ph type="body" sz="quarter" idx="11"/>
          </p:nvPr>
        </p:nvSpPr>
        <p:spPr>
          <a:xfrm>
            <a:off x="5003800" y="292100"/>
            <a:ext cx="6883400" cy="6273800"/>
          </a:xfrm>
          <a:prstGeom prst="roundRect">
            <a:avLst>
              <a:gd name="adj" fmla="val 26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n-lt"/>
              </a:defRPr>
            </a:lvl1pPr>
          </a:lstStyle>
          <a:p>
            <a:pPr marL="0" lvl="0" indent="0" defTabSz="932472" fontAlgn="base">
              <a:lnSpc>
                <a:spcPct val="110000"/>
              </a:lnSpc>
              <a:spcBef>
                <a:spcPct val="0"/>
              </a:spcBef>
              <a:spcAft>
                <a:spcPct val="0"/>
              </a:spcAft>
              <a:buSzTx/>
              <a:buFontTx/>
              <a:buNone/>
            </a:pPr>
            <a:endParaRPr lang="en-IN"/>
          </a:p>
        </p:txBody>
      </p:sp>
      <p:sp>
        <p:nvSpPr>
          <p:cNvPr id="6" name="Text Placeholder 62">
            <a:extLst>
              <a:ext uri="{FF2B5EF4-FFF2-40B4-BE49-F238E27FC236}">
                <a16:creationId xmlns:a16="http://schemas.microsoft.com/office/drawing/2014/main" id="{53883624-94A0-C44D-F820-FAD11F3E3E53}"/>
              </a:ext>
            </a:extLst>
          </p:cNvPr>
          <p:cNvSpPr>
            <a:spLocks noGrp="1"/>
          </p:cNvSpPr>
          <p:nvPr>
            <p:ph type="body" sz="quarter" idx="12"/>
          </p:nvPr>
        </p:nvSpPr>
        <p:spPr>
          <a:xfrm>
            <a:off x="5276193" y="831044"/>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7" name="Text Placeholder 62">
            <a:extLst>
              <a:ext uri="{FF2B5EF4-FFF2-40B4-BE49-F238E27FC236}">
                <a16:creationId xmlns:a16="http://schemas.microsoft.com/office/drawing/2014/main" id="{7CD3F75B-4595-F87C-A369-149DEA49E81F}"/>
              </a:ext>
            </a:extLst>
          </p:cNvPr>
          <p:cNvSpPr>
            <a:spLocks noGrp="1"/>
          </p:cNvSpPr>
          <p:nvPr>
            <p:ph type="body" sz="quarter" idx="15"/>
          </p:nvPr>
        </p:nvSpPr>
        <p:spPr>
          <a:xfrm>
            <a:off x="5276193" y="4483100"/>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8" name="Text Placeholder 62">
            <a:extLst>
              <a:ext uri="{FF2B5EF4-FFF2-40B4-BE49-F238E27FC236}">
                <a16:creationId xmlns:a16="http://schemas.microsoft.com/office/drawing/2014/main" id="{665FECA9-D7B1-9A46-9AFD-0A3FE50FF753}"/>
              </a:ext>
            </a:extLst>
          </p:cNvPr>
          <p:cNvSpPr>
            <a:spLocks noGrp="1"/>
          </p:cNvSpPr>
          <p:nvPr>
            <p:ph type="body" sz="quarter" idx="16"/>
          </p:nvPr>
        </p:nvSpPr>
        <p:spPr>
          <a:xfrm>
            <a:off x="5276193" y="5700454"/>
            <a:ext cx="6356281" cy="261958"/>
          </a:xfrm>
        </p:spPr>
        <p:txBody>
          <a:bodyPr/>
          <a:lstStyle>
            <a:lvl1pPr marL="0" indent="0">
              <a:buFont typeface="Arial" panose="020B0604020202020204" pitchFamily="34" charset="0"/>
              <a:buNone/>
              <a:defRPr sz="1800">
                <a:latin typeface="+mj-lt"/>
              </a:defRPr>
            </a:lvl1pPr>
          </a:lstStyle>
          <a:p>
            <a:pPr lvl="0"/>
            <a:endParaRPr lang="en-IN"/>
          </a:p>
        </p:txBody>
      </p:sp>
      <p:cxnSp>
        <p:nvCxnSpPr>
          <p:cNvPr id="10" name="Straight Connector 9">
            <a:extLst>
              <a:ext uri="{FF2B5EF4-FFF2-40B4-BE49-F238E27FC236}">
                <a16:creationId xmlns:a16="http://schemas.microsoft.com/office/drawing/2014/main" id="{415C5D64-115E-CCF2-7EEF-642E523B6363}"/>
              </a:ext>
            </a:extLst>
          </p:cNvPr>
          <p:cNvCxnSpPr>
            <a:cxnSpLocks/>
          </p:cNvCxnSpPr>
          <p:nvPr userDrawn="1"/>
        </p:nvCxnSpPr>
        <p:spPr>
          <a:xfrm>
            <a:off x="5276193" y="1570699"/>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38BFB4D-6769-3EC5-7ADB-33DEA61D0429}"/>
              </a:ext>
            </a:extLst>
          </p:cNvPr>
          <p:cNvCxnSpPr>
            <a:cxnSpLocks/>
          </p:cNvCxnSpPr>
          <p:nvPr userDrawn="1"/>
        </p:nvCxnSpPr>
        <p:spPr>
          <a:xfrm>
            <a:off x="5276193" y="2788051"/>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6F84F38-4477-6DCA-3536-C7E2B4E81840}"/>
              </a:ext>
            </a:extLst>
          </p:cNvPr>
          <p:cNvCxnSpPr>
            <a:cxnSpLocks/>
          </p:cNvCxnSpPr>
          <p:nvPr userDrawn="1"/>
        </p:nvCxnSpPr>
        <p:spPr>
          <a:xfrm>
            <a:off x="5276193" y="4005403"/>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C69AD57-3FD5-237B-654A-389A8740DB6B}"/>
              </a:ext>
            </a:extLst>
          </p:cNvPr>
          <p:cNvCxnSpPr>
            <a:cxnSpLocks/>
          </p:cNvCxnSpPr>
          <p:nvPr userDrawn="1"/>
        </p:nvCxnSpPr>
        <p:spPr>
          <a:xfrm>
            <a:off x="5276193" y="5222755"/>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62">
            <a:extLst>
              <a:ext uri="{FF2B5EF4-FFF2-40B4-BE49-F238E27FC236}">
                <a16:creationId xmlns:a16="http://schemas.microsoft.com/office/drawing/2014/main" id="{7F1386AF-CD76-C4A8-0139-44716A1B87A4}"/>
              </a:ext>
            </a:extLst>
          </p:cNvPr>
          <p:cNvSpPr>
            <a:spLocks noGrp="1"/>
          </p:cNvSpPr>
          <p:nvPr>
            <p:ph type="body" sz="quarter" idx="14"/>
          </p:nvPr>
        </p:nvSpPr>
        <p:spPr>
          <a:xfrm>
            <a:off x="5276193" y="3265748"/>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16" name="Text Placeholder 62">
            <a:extLst>
              <a:ext uri="{FF2B5EF4-FFF2-40B4-BE49-F238E27FC236}">
                <a16:creationId xmlns:a16="http://schemas.microsoft.com/office/drawing/2014/main" id="{31357997-D280-E046-0565-10FB548D13B3}"/>
              </a:ext>
            </a:extLst>
          </p:cNvPr>
          <p:cNvSpPr>
            <a:spLocks noGrp="1"/>
          </p:cNvSpPr>
          <p:nvPr>
            <p:ph type="body" sz="quarter" idx="13"/>
          </p:nvPr>
        </p:nvSpPr>
        <p:spPr>
          <a:xfrm>
            <a:off x="5276193" y="2048396"/>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29" name="Text Placeholder 77">
            <a:extLst>
              <a:ext uri="{FF2B5EF4-FFF2-40B4-BE49-F238E27FC236}">
                <a16:creationId xmlns:a16="http://schemas.microsoft.com/office/drawing/2014/main" id="{0756E41F-5882-D06E-46FF-B59B86ADC728}"/>
              </a:ext>
            </a:extLst>
          </p:cNvPr>
          <p:cNvSpPr>
            <a:spLocks noGrp="1"/>
          </p:cNvSpPr>
          <p:nvPr>
            <p:ph type="body" sz="quarter" idx="24"/>
          </p:nvPr>
        </p:nvSpPr>
        <p:spPr>
          <a:xfrm>
            <a:off x="584200" y="3957484"/>
            <a:ext cx="822960" cy="36576"/>
          </a:xfrm>
          <a:prstGeom prst="roundRect">
            <a:avLst>
              <a:gd name="adj" fmla="val 50000"/>
            </a:avLst>
          </a:prstGeom>
          <a:solidFill>
            <a:schemeClr val="bg2"/>
          </a:solidFill>
        </p:spPr>
        <p:txBody>
          <a:bodyPr>
            <a:noAutofit/>
          </a:bodyPr>
          <a:lstStyle>
            <a:lvl1pPr marL="0" indent="0">
              <a:buNone/>
              <a:defRPr sz="100"/>
            </a:lvl1pPr>
          </a:lstStyle>
          <a:p>
            <a:pPr lvl="0"/>
            <a:endParaRPr lang="en-IN"/>
          </a:p>
        </p:txBody>
      </p:sp>
    </p:spTree>
    <p:extLst>
      <p:ext uri="{BB962C8B-B14F-4D97-AF65-F5344CB8AC3E}">
        <p14:creationId xmlns:p14="http://schemas.microsoft.com/office/powerpoint/2010/main" val="263503422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Left title with 4 placeholders ">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1F3BB36-B799-D0E4-1F67-A94B91DA27E2}"/>
              </a:ext>
            </a:extLst>
          </p:cNvPr>
          <p:cNvSpPr>
            <a:spLocks noGrp="1"/>
          </p:cNvSpPr>
          <p:nvPr>
            <p:ph type="title"/>
          </p:nvPr>
        </p:nvSpPr>
        <p:spPr>
          <a:xfrm>
            <a:off x="588263" y="2596028"/>
            <a:ext cx="3809565" cy="1107996"/>
          </a:xfrm>
        </p:spPr>
        <p:txBody>
          <a:bodyPr>
            <a:spAutoFit/>
          </a:bodyPr>
          <a:lstStyle/>
          <a:p>
            <a:r>
              <a:rPr lang="en-US"/>
              <a:t>Click to edit Master title style</a:t>
            </a:r>
            <a:endParaRPr lang="en-IN"/>
          </a:p>
        </p:txBody>
      </p:sp>
      <p:sp>
        <p:nvSpPr>
          <p:cNvPr id="4" name="Text Placeholder 60">
            <a:extLst>
              <a:ext uri="{FF2B5EF4-FFF2-40B4-BE49-F238E27FC236}">
                <a16:creationId xmlns:a16="http://schemas.microsoft.com/office/drawing/2014/main" id="{83B5E54C-4C94-A256-E307-CF261FF9A226}"/>
              </a:ext>
            </a:extLst>
          </p:cNvPr>
          <p:cNvSpPr>
            <a:spLocks noGrp="1"/>
          </p:cNvSpPr>
          <p:nvPr>
            <p:ph type="body" sz="quarter" idx="11"/>
          </p:nvPr>
        </p:nvSpPr>
        <p:spPr>
          <a:xfrm>
            <a:off x="5003800" y="292100"/>
            <a:ext cx="6883400" cy="6273800"/>
          </a:xfrm>
          <a:prstGeom prst="roundRect">
            <a:avLst>
              <a:gd name="adj" fmla="val 26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n-lt"/>
              </a:defRPr>
            </a:lvl1pPr>
          </a:lstStyle>
          <a:p>
            <a:pPr marL="0" lvl="0" indent="0" defTabSz="932472" fontAlgn="base">
              <a:lnSpc>
                <a:spcPct val="110000"/>
              </a:lnSpc>
              <a:spcBef>
                <a:spcPct val="0"/>
              </a:spcBef>
              <a:spcAft>
                <a:spcPct val="0"/>
              </a:spcAft>
              <a:buSzTx/>
              <a:buFontTx/>
              <a:buNone/>
            </a:pPr>
            <a:endParaRPr lang="en-IN"/>
          </a:p>
        </p:txBody>
      </p:sp>
      <p:sp>
        <p:nvSpPr>
          <p:cNvPr id="6" name="Text Placeholder 62">
            <a:extLst>
              <a:ext uri="{FF2B5EF4-FFF2-40B4-BE49-F238E27FC236}">
                <a16:creationId xmlns:a16="http://schemas.microsoft.com/office/drawing/2014/main" id="{42FFC635-2357-6251-06CF-9C4DC8F4E6F7}"/>
              </a:ext>
            </a:extLst>
          </p:cNvPr>
          <p:cNvSpPr>
            <a:spLocks noGrp="1"/>
          </p:cNvSpPr>
          <p:nvPr>
            <p:ph type="body" sz="quarter" idx="15"/>
          </p:nvPr>
        </p:nvSpPr>
        <p:spPr>
          <a:xfrm>
            <a:off x="5276193" y="4010993"/>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7" name="Text Placeholder 62">
            <a:extLst>
              <a:ext uri="{FF2B5EF4-FFF2-40B4-BE49-F238E27FC236}">
                <a16:creationId xmlns:a16="http://schemas.microsoft.com/office/drawing/2014/main" id="{A06F00D4-D881-8FF3-53D9-C63CDB1089F3}"/>
              </a:ext>
            </a:extLst>
          </p:cNvPr>
          <p:cNvSpPr>
            <a:spLocks noGrp="1"/>
          </p:cNvSpPr>
          <p:nvPr>
            <p:ph type="body" sz="quarter" idx="16"/>
          </p:nvPr>
        </p:nvSpPr>
        <p:spPr>
          <a:xfrm>
            <a:off x="5276193" y="5391016"/>
            <a:ext cx="6356281" cy="261958"/>
          </a:xfrm>
        </p:spPr>
        <p:txBody>
          <a:bodyPr/>
          <a:lstStyle>
            <a:lvl1pPr marL="0" indent="0">
              <a:buFont typeface="Arial" panose="020B0604020202020204" pitchFamily="34" charset="0"/>
              <a:buNone/>
              <a:defRPr sz="1800">
                <a:latin typeface="+mj-lt"/>
              </a:defRPr>
            </a:lvl1pPr>
          </a:lstStyle>
          <a:p>
            <a:pPr lvl="0"/>
            <a:endParaRPr lang="en-IN"/>
          </a:p>
        </p:txBody>
      </p:sp>
      <p:cxnSp>
        <p:nvCxnSpPr>
          <p:cNvPr id="10" name="Straight Connector 9">
            <a:extLst>
              <a:ext uri="{FF2B5EF4-FFF2-40B4-BE49-F238E27FC236}">
                <a16:creationId xmlns:a16="http://schemas.microsoft.com/office/drawing/2014/main" id="{5A566CE1-0531-FDFE-1937-5845F84004AE}"/>
              </a:ext>
            </a:extLst>
          </p:cNvPr>
          <p:cNvCxnSpPr>
            <a:cxnSpLocks/>
          </p:cNvCxnSpPr>
          <p:nvPr userDrawn="1"/>
        </p:nvCxnSpPr>
        <p:spPr>
          <a:xfrm>
            <a:off x="5276193" y="2071937"/>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5AC5219-C092-1342-FEAA-ACEE742462DA}"/>
              </a:ext>
            </a:extLst>
          </p:cNvPr>
          <p:cNvCxnSpPr>
            <a:cxnSpLocks/>
          </p:cNvCxnSpPr>
          <p:nvPr userDrawn="1"/>
        </p:nvCxnSpPr>
        <p:spPr>
          <a:xfrm>
            <a:off x="5276193" y="3451960"/>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75F1B15-4563-AD43-B1B4-2C94196604F3}"/>
              </a:ext>
            </a:extLst>
          </p:cNvPr>
          <p:cNvCxnSpPr>
            <a:cxnSpLocks/>
          </p:cNvCxnSpPr>
          <p:nvPr userDrawn="1"/>
        </p:nvCxnSpPr>
        <p:spPr>
          <a:xfrm>
            <a:off x="5276193" y="4831984"/>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Text Placeholder 62">
            <a:extLst>
              <a:ext uri="{FF2B5EF4-FFF2-40B4-BE49-F238E27FC236}">
                <a16:creationId xmlns:a16="http://schemas.microsoft.com/office/drawing/2014/main" id="{099DA313-570B-EB18-4A15-1EC380C88EE7}"/>
              </a:ext>
            </a:extLst>
          </p:cNvPr>
          <p:cNvSpPr>
            <a:spLocks noGrp="1"/>
          </p:cNvSpPr>
          <p:nvPr>
            <p:ph type="body" sz="quarter" idx="14"/>
          </p:nvPr>
        </p:nvSpPr>
        <p:spPr>
          <a:xfrm>
            <a:off x="5276193" y="2630969"/>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15" name="Text Placeholder 62">
            <a:extLst>
              <a:ext uri="{FF2B5EF4-FFF2-40B4-BE49-F238E27FC236}">
                <a16:creationId xmlns:a16="http://schemas.microsoft.com/office/drawing/2014/main" id="{043658B6-0A21-34DF-5804-9E9406D835C5}"/>
              </a:ext>
            </a:extLst>
          </p:cNvPr>
          <p:cNvSpPr>
            <a:spLocks noGrp="1"/>
          </p:cNvSpPr>
          <p:nvPr>
            <p:ph type="body" sz="quarter" idx="13"/>
          </p:nvPr>
        </p:nvSpPr>
        <p:spPr>
          <a:xfrm>
            <a:off x="5276193" y="1250947"/>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16" name="Text Placeholder 77">
            <a:extLst>
              <a:ext uri="{FF2B5EF4-FFF2-40B4-BE49-F238E27FC236}">
                <a16:creationId xmlns:a16="http://schemas.microsoft.com/office/drawing/2014/main" id="{6786499D-7EDF-B039-F4FB-65451CBC597F}"/>
              </a:ext>
            </a:extLst>
          </p:cNvPr>
          <p:cNvSpPr>
            <a:spLocks noGrp="1"/>
          </p:cNvSpPr>
          <p:nvPr>
            <p:ph type="body" sz="quarter" idx="24"/>
          </p:nvPr>
        </p:nvSpPr>
        <p:spPr>
          <a:xfrm>
            <a:off x="584200" y="3957484"/>
            <a:ext cx="822960" cy="36576"/>
          </a:xfrm>
          <a:prstGeom prst="roundRect">
            <a:avLst>
              <a:gd name="adj" fmla="val 50000"/>
            </a:avLst>
          </a:prstGeom>
          <a:solidFill>
            <a:schemeClr val="bg2"/>
          </a:solidFill>
        </p:spPr>
        <p:txBody>
          <a:bodyPr>
            <a:noAutofit/>
          </a:bodyPr>
          <a:lstStyle>
            <a:lvl1pPr marL="0" indent="0">
              <a:buNone/>
              <a:defRPr sz="100"/>
            </a:lvl1pPr>
          </a:lstStyle>
          <a:p>
            <a:pPr lvl="0"/>
            <a:endParaRPr lang="en-IN"/>
          </a:p>
        </p:txBody>
      </p:sp>
    </p:spTree>
    <p:extLst>
      <p:ext uri="{BB962C8B-B14F-4D97-AF65-F5344CB8AC3E}">
        <p14:creationId xmlns:p14="http://schemas.microsoft.com/office/powerpoint/2010/main" val="387769283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eft title with 3 placeholders">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24E729F-772E-4F2A-BD8E-91B4A3193022}"/>
              </a:ext>
            </a:extLst>
          </p:cNvPr>
          <p:cNvSpPr>
            <a:spLocks noGrp="1"/>
          </p:cNvSpPr>
          <p:nvPr>
            <p:ph type="title"/>
          </p:nvPr>
        </p:nvSpPr>
        <p:spPr>
          <a:xfrm>
            <a:off x="588263" y="2596028"/>
            <a:ext cx="3809565" cy="1107996"/>
          </a:xfrm>
        </p:spPr>
        <p:txBody>
          <a:bodyPr>
            <a:spAutoFit/>
          </a:bodyPr>
          <a:lstStyle/>
          <a:p>
            <a:r>
              <a:rPr lang="en-US"/>
              <a:t>Click to edit Master title style</a:t>
            </a:r>
            <a:endParaRPr lang="en-IN"/>
          </a:p>
        </p:txBody>
      </p:sp>
      <p:sp>
        <p:nvSpPr>
          <p:cNvPr id="4" name="Text Placeholder 60">
            <a:extLst>
              <a:ext uri="{FF2B5EF4-FFF2-40B4-BE49-F238E27FC236}">
                <a16:creationId xmlns:a16="http://schemas.microsoft.com/office/drawing/2014/main" id="{F735A75B-889F-3161-5832-DED669272DD8}"/>
              </a:ext>
            </a:extLst>
          </p:cNvPr>
          <p:cNvSpPr>
            <a:spLocks noGrp="1"/>
          </p:cNvSpPr>
          <p:nvPr>
            <p:ph type="body" sz="quarter" idx="11"/>
          </p:nvPr>
        </p:nvSpPr>
        <p:spPr>
          <a:xfrm>
            <a:off x="5003800" y="292100"/>
            <a:ext cx="6883400" cy="6273800"/>
          </a:xfrm>
          <a:prstGeom prst="roundRect">
            <a:avLst>
              <a:gd name="adj" fmla="val 26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n-lt"/>
              </a:defRPr>
            </a:lvl1pPr>
          </a:lstStyle>
          <a:p>
            <a:pPr marL="0" lvl="0" indent="0" defTabSz="932472" fontAlgn="base">
              <a:lnSpc>
                <a:spcPct val="110000"/>
              </a:lnSpc>
              <a:spcBef>
                <a:spcPct val="0"/>
              </a:spcBef>
              <a:spcAft>
                <a:spcPct val="0"/>
              </a:spcAft>
              <a:buSzTx/>
              <a:buFontTx/>
              <a:buNone/>
            </a:pPr>
            <a:endParaRPr lang="en-IN"/>
          </a:p>
        </p:txBody>
      </p:sp>
      <p:sp>
        <p:nvSpPr>
          <p:cNvPr id="6" name="Text Placeholder 62">
            <a:extLst>
              <a:ext uri="{FF2B5EF4-FFF2-40B4-BE49-F238E27FC236}">
                <a16:creationId xmlns:a16="http://schemas.microsoft.com/office/drawing/2014/main" id="{56D9CC5F-9960-7FEA-DCC9-84C4C575C2EE}"/>
              </a:ext>
            </a:extLst>
          </p:cNvPr>
          <p:cNvSpPr>
            <a:spLocks noGrp="1"/>
          </p:cNvSpPr>
          <p:nvPr>
            <p:ph type="body" sz="quarter" idx="15"/>
          </p:nvPr>
        </p:nvSpPr>
        <p:spPr>
          <a:xfrm>
            <a:off x="5276193" y="4757753"/>
            <a:ext cx="6356281" cy="261958"/>
          </a:xfrm>
        </p:spPr>
        <p:txBody>
          <a:bodyPr/>
          <a:lstStyle>
            <a:lvl1pPr marL="0" indent="0">
              <a:buFont typeface="Arial" panose="020B0604020202020204" pitchFamily="34" charset="0"/>
              <a:buNone/>
              <a:defRPr sz="1800">
                <a:latin typeface="+mj-lt"/>
              </a:defRPr>
            </a:lvl1pPr>
          </a:lstStyle>
          <a:p>
            <a:pPr lvl="0"/>
            <a:endParaRPr lang="en-IN"/>
          </a:p>
        </p:txBody>
      </p:sp>
      <p:cxnSp>
        <p:nvCxnSpPr>
          <p:cNvPr id="10" name="Straight Connector 9">
            <a:extLst>
              <a:ext uri="{FF2B5EF4-FFF2-40B4-BE49-F238E27FC236}">
                <a16:creationId xmlns:a16="http://schemas.microsoft.com/office/drawing/2014/main" id="{35DF6063-3B87-5D37-D063-AD7EF00724A0}"/>
              </a:ext>
            </a:extLst>
          </p:cNvPr>
          <p:cNvCxnSpPr>
            <a:cxnSpLocks/>
          </p:cNvCxnSpPr>
          <p:nvPr userDrawn="1"/>
        </p:nvCxnSpPr>
        <p:spPr>
          <a:xfrm>
            <a:off x="5276193" y="2681538"/>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6B6EB97-9C60-30F9-7AC1-5689B3649DBA}"/>
              </a:ext>
            </a:extLst>
          </p:cNvPr>
          <p:cNvCxnSpPr>
            <a:cxnSpLocks/>
          </p:cNvCxnSpPr>
          <p:nvPr userDrawn="1"/>
        </p:nvCxnSpPr>
        <p:spPr>
          <a:xfrm>
            <a:off x="5276193" y="4153002"/>
            <a:ext cx="635628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Text Placeholder 62">
            <a:extLst>
              <a:ext uri="{FF2B5EF4-FFF2-40B4-BE49-F238E27FC236}">
                <a16:creationId xmlns:a16="http://schemas.microsoft.com/office/drawing/2014/main" id="{A20783E1-830C-92DF-5707-EC6F05166281}"/>
              </a:ext>
            </a:extLst>
          </p:cNvPr>
          <p:cNvSpPr>
            <a:spLocks noGrp="1"/>
          </p:cNvSpPr>
          <p:nvPr>
            <p:ph type="body" sz="quarter" idx="14"/>
          </p:nvPr>
        </p:nvSpPr>
        <p:spPr>
          <a:xfrm>
            <a:off x="5276193" y="3286291"/>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15" name="Text Placeholder 62">
            <a:extLst>
              <a:ext uri="{FF2B5EF4-FFF2-40B4-BE49-F238E27FC236}">
                <a16:creationId xmlns:a16="http://schemas.microsoft.com/office/drawing/2014/main" id="{B7F37C86-CE2D-DF0E-2743-FC8906030881}"/>
              </a:ext>
            </a:extLst>
          </p:cNvPr>
          <p:cNvSpPr>
            <a:spLocks noGrp="1"/>
          </p:cNvSpPr>
          <p:nvPr>
            <p:ph type="body" sz="quarter" idx="13"/>
          </p:nvPr>
        </p:nvSpPr>
        <p:spPr>
          <a:xfrm>
            <a:off x="5276193" y="1814827"/>
            <a:ext cx="6356281" cy="261958"/>
          </a:xfrm>
        </p:spPr>
        <p:txBody>
          <a:bodyPr/>
          <a:lstStyle>
            <a:lvl1pPr marL="0" indent="0">
              <a:buFont typeface="Arial" panose="020B0604020202020204" pitchFamily="34" charset="0"/>
              <a:buNone/>
              <a:defRPr sz="1800">
                <a:latin typeface="+mj-lt"/>
              </a:defRPr>
            </a:lvl1pPr>
          </a:lstStyle>
          <a:p>
            <a:pPr lvl="0"/>
            <a:endParaRPr lang="en-IN"/>
          </a:p>
        </p:txBody>
      </p:sp>
      <p:sp>
        <p:nvSpPr>
          <p:cNvPr id="16" name="Text Placeholder 77">
            <a:extLst>
              <a:ext uri="{FF2B5EF4-FFF2-40B4-BE49-F238E27FC236}">
                <a16:creationId xmlns:a16="http://schemas.microsoft.com/office/drawing/2014/main" id="{C0699646-C696-4911-19E5-9260DD1A1E35}"/>
              </a:ext>
            </a:extLst>
          </p:cNvPr>
          <p:cNvSpPr>
            <a:spLocks noGrp="1"/>
          </p:cNvSpPr>
          <p:nvPr>
            <p:ph type="body" sz="quarter" idx="24"/>
          </p:nvPr>
        </p:nvSpPr>
        <p:spPr>
          <a:xfrm>
            <a:off x="584200" y="3957484"/>
            <a:ext cx="822960" cy="36576"/>
          </a:xfrm>
          <a:prstGeom prst="roundRect">
            <a:avLst>
              <a:gd name="adj" fmla="val 50000"/>
            </a:avLst>
          </a:prstGeom>
          <a:solidFill>
            <a:schemeClr val="bg2"/>
          </a:solidFill>
        </p:spPr>
        <p:txBody>
          <a:bodyPr>
            <a:noAutofit/>
          </a:bodyPr>
          <a:lstStyle>
            <a:lvl1pPr marL="0" indent="0">
              <a:buNone/>
              <a:defRPr sz="100"/>
            </a:lvl1pPr>
          </a:lstStyle>
          <a:p>
            <a:pPr lvl="0"/>
            <a:endParaRPr lang="en-IN"/>
          </a:p>
        </p:txBody>
      </p:sp>
    </p:spTree>
    <p:extLst>
      <p:ext uri="{BB962C8B-B14F-4D97-AF65-F5344CB8AC3E}">
        <p14:creationId xmlns:p14="http://schemas.microsoft.com/office/powerpoint/2010/main" val="101529199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nalyst repor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46ECF8-54F8-D88C-D186-CE33E82FF93E}"/>
              </a:ext>
            </a:extLst>
          </p:cNvPr>
          <p:cNvSpPr/>
          <p:nvPr userDrawn="1"/>
        </p:nvSpPr>
        <p:spPr bwMode="auto">
          <a:xfrm rot="10800000" flipH="1">
            <a:off x="-13" y="734150"/>
            <a:ext cx="12192006" cy="1775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Freeform: Shape 3">
            <a:extLst>
              <a:ext uri="{FF2B5EF4-FFF2-40B4-BE49-F238E27FC236}">
                <a16:creationId xmlns:a16="http://schemas.microsoft.com/office/drawing/2014/main" id="{42AE4766-CBC1-79E6-3602-2A189753B2B0}"/>
              </a:ext>
            </a:extLst>
          </p:cNvPr>
          <p:cNvSpPr/>
          <p:nvPr userDrawn="1"/>
        </p:nvSpPr>
        <p:spPr bwMode="auto">
          <a:xfrm rot="10800000">
            <a:off x="5457824" y="911674"/>
            <a:ext cx="160569" cy="160569"/>
          </a:xfrm>
          <a:custGeom>
            <a:avLst/>
            <a:gdLst>
              <a:gd name="connsiteX0" fmla="*/ 160569 w 160569"/>
              <a:gd name="connsiteY0" fmla="*/ 160569 h 160569"/>
              <a:gd name="connsiteX1" fmla="*/ 0 w 160569"/>
              <a:gd name="connsiteY1" fmla="*/ 160569 h 160569"/>
              <a:gd name="connsiteX2" fmla="*/ 160569 w 160569"/>
              <a:gd name="connsiteY2" fmla="*/ 0 h 160569"/>
            </a:gdLst>
            <a:ahLst/>
            <a:cxnLst>
              <a:cxn ang="0">
                <a:pos x="connsiteX0" y="connsiteY0"/>
              </a:cxn>
              <a:cxn ang="0">
                <a:pos x="connsiteX1" y="connsiteY1"/>
              </a:cxn>
              <a:cxn ang="0">
                <a:pos x="connsiteX2" y="connsiteY2"/>
              </a:cxn>
            </a:cxnLst>
            <a:rect l="l" t="t" r="r" b="b"/>
            <a:pathLst>
              <a:path w="160569" h="160569">
                <a:moveTo>
                  <a:pt x="160569" y="160569"/>
                </a:moveTo>
                <a:lnTo>
                  <a:pt x="0" y="160569"/>
                </a:lnTo>
                <a:cubicBezTo>
                  <a:pt x="88680" y="160569"/>
                  <a:pt x="160569" y="88680"/>
                  <a:pt x="160569" y="0"/>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Rectangle: Single Corner Rounded 4">
            <a:extLst>
              <a:ext uri="{FF2B5EF4-FFF2-40B4-BE49-F238E27FC236}">
                <a16:creationId xmlns:a16="http://schemas.microsoft.com/office/drawing/2014/main" id="{9A43E5FD-106D-F8CF-883B-EF304F36EA33}"/>
              </a:ext>
            </a:extLst>
          </p:cNvPr>
          <p:cNvSpPr/>
          <p:nvPr userDrawn="1"/>
        </p:nvSpPr>
        <p:spPr bwMode="auto">
          <a:xfrm rot="10800000" flipH="1">
            <a:off x="-1" y="911673"/>
            <a:ext cx="5457825" cy="5746301"/>
          </a:xfrm>
          <a:prstGeom prst="round1Rect">
            <a:avLst>
              <a:gd name="adj" fmla="val 327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Arrow: Bent 5">
            <a:extLst>
              <a:ext uri="{FF2B5EF4-FFF2-40B4-BE49-F238E27FC236}">
                <a16:creationId xmlns:a16="http://schemas.microsoft.com/office/drawing/2014/main" id="{6400E7DB-E1C2-7255-A78A-9C334A5C6761}"/>
              </a:ext>
            </a:extLst>
          </p:cNvPr>
          <p:cNvSpPr/>
          <p:nvPr userDrawn="1"/>
        </p:nvSpPr>
        <p:spPr bwMode="auto">
          <a:xfrm rot="5400000" flipH="1">
            <a:off x="512440" y="1712591"/>
            <a:ext cx="4432937" cy="5457830"/>
          </a:xfrm>
          <a:prstGeom prst="bentArrow">
            <a:avLst>
              <a:gd name="adj1" fmla="val 25000"/>
              <a:gd name="adj2" fmla="val 0"/>
              <a:gd name="adj3" fmla="val 25000"/>
              <a:gd name="adj4" fmla="val 3807"/>
            </a:avLst>
          </a:prstGeom>
          <a:solidFill>
            <a:schemeClr val="accent1"/>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5663EAAE-CCF2-73F7-B126-C91CE928C9A0}"/>
              </a:ext>
            </a:extLst>
          </p:cNvPr>
          <p:cNvSpPr/>
          <p:nvPr userDrawn="1"/>
        </p:nvSpPr>
        <p:spPr bwMode="auto">
          <a:xfrm>
            <a:off x="-7" y="1"/>
            <a:ext cx="12192006" cy="812069"/>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8" name="Title 1">
            <a:extLst>
              <a:ext uri="{FF2B5EF4-FFF2-40B4-BE49-F238E27FC236}">
                <a16:creationId xmlns:a16="http://schemas.microsoft.com/office/drawing/2014/main" id="{27044FF9-F588-1686-7B39-FE7F05E990E5}"/>
              </a:ext>
            </a:extLst>
          </p:cNvPr>
          <p:cNvSpPr>
            <a:spLocks noGrp="1"/>
          </p:cNvSpPr>
          <p:nvPr>
            <p:ph type="title"/>
          </p:nvPr>
        </p:nvSpPr>
        <p:spPr>
          <a:xfrm>
            <a:off x="588263" y="348870"/>
            <a:ext cx="11018520" cy="369332"/>
          </a:xfrm>
        </p:spPr>
        <p:txBody>
          <a:bodyPr/>
          <a:lstStyle>
            <a:lvl1pPr>
              <a:defRPr sz="2400"/>
            </a:lvl1pPr>
          </a:lstStyle>
          <a:p>
            <a:r>
              <a:rPr lang="en-US"/>
              <a:t>Click to edit Master title style</a:t>
            </a:r>
          </a:p>
        </p:txBody>
      </p:sp>
      <p:sp>
        <p:nvSpPr>
          <p:cNvPr id="10" name="Arrow: Bent 9">
            <a:extLst>
              <a:ext uri="{FF2B5EF4-FFF2-40B4-BE49-F238E27FC236}">
                <a16:creationId xmlns:a16="http://schemas.microsoft.com/office/drawing/2014/main" id="{225DD3CD-BC72-C6B4-2042-0C31BD495560}"/>
              </a:ext>
            </a:extLst>
          </p:cNvPr>
          <p:cNvSpPr/>
          <p:nvPr userDrawn="1"/>
        </p:nvSpPr>
        <p:spPr bwMode="auto">
          <a:xfrm rot="16200000" flipH="1">
            <a:off x="7483794" y="-1114292"/>
            <a:ext cx="2682240" cy="6734181"/>
          </a:xfrm>
          <a:prstGeom prst="bentArrow">
            <a:avLst>
              <a:gd name="adj1" fmla="val 25000"/>
              <a:gd name="adj2" fmla="val 0"/>
              <a:gd name="adj3" fmla="val 25000"/>
              <a:gd name="adj4" fmla="val 5935"/>
            </a:avLst>
          </a:prstGeom>
          <a:solidFill>
            <a:schemeClr val="accent1"/>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83625779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ustomer story">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A745FF17-5C1B-1FAC-2B0B-F8AEED707486}"/>
              </a:ext>
            </a:extLst>
          </p:cNvPr>
          <p:cNvSpPr/>
          <p:nvPr userDrawn="1"/>
        </p:nvSpPr>
        <p:spPr bwMode="auto">
          <a:xfrm>
            <a:off x="613811" y="539253"/>
            <a:ext cx="5129764" cy="5642342"/>
          </a:xfrm>
          <a:prstGeom prst="roundRect">
            <a:avLst>
              <a:gd name="adj" fmla="val 2764"/>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4" name="Picture Placeholder 56">
            <a:extLst>
              <a:ext uri="{FF2B5EF4-FFF2-40B4-BE49-F238E27FC236}">
                <a16:creationId xmlns:a16="http://schemas.microsoft.com/office/drawing/2014/main" id="{E9A60C29-70E4-48A8-1AD6-664797F8A49D}"/>
              </a:ext>
            </a:extLst>
          </p:cNvPr>
          <p:cNvSpPr>
            <a:spLocks noGrp="1"/>
          </p:cNvSpPr>
          <p:nvPr>
            <p:ph type="pic" sz="quarter" idx="16" hasCustomPrompt="1"/>
          </p:nvPr>
        </p:nvSpPr>
        <p:spPr>
          <a:xfrm>
            <a:off x="884739" y="654733"/>
            <a:ext cx="1007561" cy="1007561"/>
          </a:xfrm>
          <a:prstGeom prst="rect">
            <a:avLst/>
          </a:prstGeom>
        </p:spPr>
        <p:txBody>
          <a:bodyPr anchor="ctr">
            <a:noAutofit/>
          </a:bodyPr>
          <a:lstStyle>
            <a:lvl1pPr marL="0" indent="0" algn="ctr">
              <a:buNone/>
              <a:defRPr sz="1200">
                <a:latin typeface="+mj-lt"/>
              </a:defRPr>
            </a:lvl1pPr>
          </a:lstStyle>
          <a:p>
            <a:r>
              <a:rPr lang="en-US"/>
              <a:t>Customer Logo</a:t>
            </a:r>
          </a:p>
        </p:txBody>
      </p:sp>
      <p:sp>
        <p:nvSpPr>
          <p:cNvPr id="5" name="Rectangle: Rounded Corners 4">
            <a:extLst>
              <a:ext uri="{FF2B5EF4-FFF2-40B4-BE49-F238E27FC236}">
                <a16:creationId xmlns:a16="http://schemas.microsoft.com/office/drawing/2014/main" id="{35893444-D178-4644-717D-109F0DD21C94}"/>
              </a:ext>
            </a:extLst>
          </p:cNvPr>
          <p:cNvSpPr/>
          <p:nvPr userDrawn="1"/>
        </p:nvSpPr>
        <p:spPr bwMode="auto">
          <a:xfrm>
            <a:off x="501662" y="425311"/>
            <a:ext cx="11101485" cy="5848489"/>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Text Placeholder 61">
            <a:extLst>
              <a:ext uri="{FF2B5EF4-FFF2-40B4-BE49-F238E27FC236}">
                <a16:creationId xmlns:a16="http://schemas.microsoft.com/office/drawing/2014/main" id="{4172B0E9-6FE9-0DD5-1E51-93E86ED7A90F}"/>
              </a:ext>
            </a:extLst>
          </p:cNvPr>
          <p:cNvSpPr>
            <a:spLocks noGrp="1"/>
          </p:cNvSpPr>
          <p:nvPr>
            <p:ph type="body" sz="quarter" idx="10" hasCustomPrompt="1"/>
          </p:nvPr>
        </p:nvSpPr>
        <p:spPr>
          <a:xfrm>
            <a:off x="6096000" y="620645"/>
            <a:ext cx="5303520" cy="1645398"/>
          </a:xfrm>
        </p:spPr>
        <p:txBody>
          <a:bodyPr anchor="ctr">
            <a:noAutofit/>
          </a:bodyPr>
          <a:lstStyle>
            <a:lvl1pPr marL="0" indent="0">
              <a:spcBef>
                <a:spcPts val="0"/>
              </a:spcBef>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7" name="Text Placeholder 61">
            <a:extLst>
              <a:ext uri="{FF2B5EF4-FFF2-40B4-BE49-F238E27FC236}">
                <a16:creationId xmlns:a16="http://schemas.microsoft.com/office/drawing/2014/main" id="{80FEEA81-F148-6156-7F23-495D80BE68C3}"/>
              </a:ext>
            </a:extLst>
          </p:cNvPr>
          <p:cNvSpPr>
            <a:spLocks noGrp="1"/>
          </p:cNvSpPr>
          <p:nvPr>
            <p:ph type="body" sz="quarter" idx="11" hasCustomPrompt="1"/>
          </p:nvPr>
        </p:nvSpPr>
        <p:spPr>
          <a:xfrm>
            <a:off x="6096000" y="2529273"/>
            <a:ext cx="5303520" cy="1645398"/>
          </a:xfrm>
        </p:spPr>
        <p:txBody>
          <a:bodyPr anchor="ctr">
            <a:noAutofit/>
          </a:bodyPr>
          <a:lstStyle>
            <a:lvl1pPr marL="0" indent="0">
              <a:spcBef>
                <a:spcPts val="0"/>
              </a:spcBef>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8" name="Text Placeholder 61">
            <a:extLst>
              <a:ext uri="{FF2B5EF4-FFF2-40B4-BE49-F238E27FC236}">
                <a16:creationId xmlns:a16="http://schemas.microsoft.com/office/drawing/2014/main" id="{58EE2FA4-084E-E229-BFBD-11AEC5673726}"/>
              </a:ext>
            </a:extLst>
          </p:cNvPr>
          <p:cNvSpPr>
            <a:spLocks noGrp="1"/>
          </p:cNvSpPr>
          <p:nvPr>
            <p:ph type="body" sz="quarter" idx="12" hasCustomPrompt="1"/>
          </p:nvPr>
        </p:nvSpPr>
        <p:spPr>
          <a:xfrm>
            <a:off x="6096000" y="4437903"/>
            <a:ext cx="5303520" cy="1645398"/>
          </a:xfrm>
        </p:spPr>
        <p:txBody>
          <a:bodyPr anchor="ctr">
            <a:noAutofit/>
          </a:bodyPr>
          <a:lstStyle>
            <a:lvl1pPr marL="0" indent="0">
              <a:spcBef>
                <a:spcPts val="0"/>
              </a:spcBef>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9" name="Text Placeholder 61">
            <a:extLst>
              <a:ext uri="{FF2B5EF4-FFF2-40B4-BE49-F238E27FC236}">
                <a16:creationId xmlns:a16="http://schemas.microsoft.com/office/drawing/2014/main" id="{1F924E61-E2BA-0B66-0881-3B025F2F1882}"/>
              </a:ext>
            </a:extLst>
          </p:cNvPr>
          <p:cNvSpPr>
            <a:spLocks noGrp="1"/>
          </p:cNvSpPr>
          <p:nvPr>
            <p:ph type="body" sz="quarter" idx="14" hasCustomPrompt="1"/>
          </p:nvPr>
        </p:nvSpPr>
        <p:spPr>
          <a:xfrm>
            <a:off x="884739" y="1905000"/>
            <a:ext cx="4616175" cy="4013200"/>
          </a:xfrm>
        </p:spPr>
        <p:txBody>
          <a:bodyPr anchor="t">
            <a:noAutofit/>
          </a:bodyPr>
          <a:lstStyle>
            <a:lvl1pPr marL="0" indent="0">
              <a:lnSpc>
                <a:spcPct val="100000"/>
              </a:lnSpc>
              <a:buNone/>
              <a:defRPr kumimoji="0" lang="en-US" sz="2400" b="0" i="0" u="none" strike="noStrike" kern="1200" cap="none" spc="0" normalizeH="0" baseline="0" dirty="0">
                <a:ln>
                  <a:noFill/>
                </a:ln>
                <a:solidFill>
                  <a:schemeClr val="tx1"/>
                </a:solidFill>
                <a:effectLst/>
                <a:uLnTx/>
                <a:uFillTx/>
                <a:latin typeface="Segoe UI Semibold"/>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a:t>Add description here</a:t>
            </a:r>
            <a:endParaRPr lang="en-US"/>
          </a:p>
        </p:txBody>
      </p:sp>
      <p:sp>
        <p:nvSpPr>
          <p:cNvPr id="10" name="Text Placeholder 23">
            <a:extLst>
              <a:ext uri="{FF2B5EF4-FFF2-40B4-BE49-F238E27FC236}">
                <a16:creationId xmlns:a16="http://schemas.microsoft.com/office/drawing/2014/main" id="{73231D4B-E7DA-ABEC-7C60-D50BEEB10623}"/>
              </a:ext>
            </a:extLst>
          </p:cNvPr>
          <p:cNvSpPr>
            <a:spLocks noGrp="1"/>
          </p:cNvSpPr>
          <p:nvPr>
            <p:ph type="body" sz="quarter" idx="23" hasCustomPrompt="1"/>
          </p:nvPr>
        </p:nvSpPr>
        <p:spPr>
          <a:xfrm>
            <a:off x="528240" y="6460362"/>
            <a:ext cx="8106728" cy="138499"/>
          </a:xfrm>
        </p:spPr>
        <p:txBody>
          <a:bodyPr wrap="square"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cxnSp>
        <p:nvCxnSpPr>
          <p:cNvPr id="11" name="Straight Connector 10">
            <a:extLst>
              <a:ext uri="{FF2B5EF4-FFF2-40B4-BE49-F238E27FC236}">
                <a16:creationId xmlns:a16="http://schemas.microsoft.com/office/drawing/2014/main" id="{46E5F2EA-15C9-BDAD-92EE-81CE16CA1A5A}"/>
              </a:ext>
            </a:extLst>
          </p:cNvPr>
          <p:cNvCxnSpPr>
            <a:cxnSpLocks/>
          </p:cNvCxnSpPr>
          <p:nvPr userDrawn="1"/>
        </p:nvCxnSpPr>
        <p:spPr>
          <a:xfrm>
            <a:off x="6096000" y="2397658"/>
            <a:ext cx="530352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FBC662B-9797-BF45-BD4E-D84EDDB7574C}"/>
              </a:ext>
            </a:extLst>
          </p:cNvPr>
          <p:cNvCxnSpPr>
            <a:cxnSpLocks/>
          </p:cNvCxnSpPr>
          <p:nvPr userDrawn="1"/>
        </p:nvCxnSpPr>
        <p:spPr>
          <a:xfrm>
            <a:off x="6096000" y="4306286"/>
            <a:ext cx="530352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657057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ustomer story - 5 ">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F8CA0A9E-D04E-E78D-3936-D2B21CA22EBD}"/>
              </a:ext>
              <a:ext uri="{C183D7F6-B498-43B3-948B-1728B52AA6E4}">
                <adec:decorative xmlns:adec="http://schemas.microsoft.com/office/drawing/2017/decorative" val="1"/>
              </a:ext>
            </a:extLst>
          </p:cNvPr>
          <p:cNvCxnSpPr>
            <a:cxnSpLocks/>
          </p:cNvCxnSpPr>
          <p:nvPr userDrawn="1"/>
        </p:nvCxnSpPr>
        <p:spPr>
          <a:xfrm>
            <a:off x="6096000" y="1624804"/>
            <a:ext cx="5275435"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60195189-4305-E6E0-DD07-AFAB98CA6F04}"/>
              </a:ext>
              <a:ext uri="{C183D7F6-B498-43B3-948B-1728B52AA6E4}">
                <adec:decorative xmlns:adec="http://schemas.microsoft.com/office/drawing/2017/decorative" val="1"/>
              </a:ext>
            </a:extLst>
          </p:cNvPr>
          <p:cNvCxnSpPr>
            <a:cxnSpLocks/>
          </p:cNvCxnSpPr>
          <p:nvPr userDrawn="1"/>
        </p:nvCxnSpPr>
        <p:spPr>
          <a:xfrm>
            <a:off x="6095999" y="2785070"/>
            <a:ext cx="5275435"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DA550D1-9EC7-B798-3D4A-89BA2D57AA27}"/>
              </a:ext>
              <a:ext uri="{C183D7F6-B498-43B3-948B-1728B52AA6E4}">
                <adec:decorative xmlns:adec="http://schemas.microsoft.com/office/drawing/2017/decorative" val="1"/>
              </a:ext>
            </a:extLst>
          </p:cNvPr>
          <p:cNvCxnSpPr>
            <a:cxnSpLocks/>
          </p:cNvCxnSpPr>
          <p:nvPr userDrawn="1"/>
        </p:nvCxnSpPr>
        <p:spPr>
          <a:xfrm>
            <a:off x="6095998" y="3945335"/>
            <a:ext cx="5275435"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0AFC14A-3E75-F76D-0B7A-C96653D62F33}"/>
              </a:ext>
              <a:ext uri="{C183D7F6-B498-43B3-948B-1728B52AA6E4}">
                <adec:decorative xmlns:adec="http://schemas.microsoft.com/office/drawing/2017/decorative" val="1"/>
              </a:ext>
            </a:extLst>
          </p:cNvPr>
          <p:cNvCxnSpPr>
            <a:cxnSpLocks/>
          </p:cNvCxnSpPr>
          <p:nvPr userDrawn="1"/>
        </p:nvCxnSpPr>
        <p:spPr>
          <a:xfrm>
            <a:off x="6095998" y="5105600"/>
            <a:ext cx="5275435"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E6CE3599-EC8A-AFA1-92AA-8C8AF057CBE3}"/>
              </a:ext>
            </a:extLst>
          </p:cNvPr>
          <p:cNvSpPr/>
          <p:nvPr userDrawn="1"/>
        </p:nvSpPr>
        <p:spPr bwMode="auto">
          <a:xfrm>
            <a:off x="613811" y="539253"/>
            <a:ext cx="5129764" cy="5642342"/>
          </a:xfrm>
          <a:prstGeom prst="roundRect">
            <a:avLst>
              <a:gd name="adj" fmla="val 2764"/>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8" name="Picture Placeholder 56">
            <a:extLst>
              <a:ext uri="{FF2B5EF4-FFF2-40B4-BE49-F238E27FC236}">
                <a16:creationId xmlns:a16="http://schemas.microsoft.com/office/drawing/2014/main" id="{234432EB-E892-EF33-18BC-472C67F64958}"/>
              </a:ext>
            </a:extLst>
          </p:cNvPr>
          <p:cNvSpPr>
            <a:spLocks noGrp="1"/>
          </p:cNvSpPr>
          <p:nvPr>
            <p:ph type="pic" sz="quarter" idx="16" hasCustomPrompt="1"/>
          </p:nvPr>
        </p:nvSpPr>
        <p:spPr>
          <a:xfrm>
            <a:off x="884739" y="654733"/>
            <a:ext cx="1007561" cy="1007561"/>
          </a:xfrm>
          <a:prstGeom prst="rect">
            <a:avLst/>
          </a:prstGeom>
        </p:spPr>
        <p:txBody>
          <a:bodyPr anchor="ctr">
            <a:noAutofit/>
          </a:bodyPr>
          <a:lstStyle>
            <a:lvl1pPr marL="0" indent="0" algn="ctr">
              <a:buNone/>
              <a:defRPr sz="1200">
                <a:latin typeface="+mj-lt"/>
              </a:defRPr>
            </a:lvl1pPr>
          </a:lstStyle>
          <a:p>
            <a:r>
              <a:rPr lang="en-US"/>
              <a:t>Customer Logo</a:t>
            </a:r>
          </a:p>
        </p:txBody>
      </p:sp>
      <p:sp>
        <p:nvSpPr>
          <p:cNvPr id="9" name="Rectangle: Rounded Corners 8">
            <a:extLst>
              <a:ext uri="{FF2B5EF4-FFF2-40B4-BE49-F238E27FC236}">
                <a16:creationId xmlns:a16="http://schemas.microsoft.com/office/drawing/2014/main" id="{B9AC8824-5AEB-8959-8D3B-621F26627B7E}"/>
              </a:ext>
            </a:extLst>
          </p:cNvPr>
          <p:cNvSpPr/>
          <p:nvPr userDrawn="1"/>
        </p:nvSpPr>
        <p:spPr bwMode="auto">
          <a:xfrm>
            <a:off x="501662" y="425311"/>
            <a:ext cx="11101485" cy="5848489"/>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0" name="Text Placeholder 61">
            <a:extLst>
              <a:ext uri="{FF2B5EF4-FFF2-40B4-BE49-F238E27FC236}">
                <a16:creationId xmlns:a16="http://schemas.microsoft.com/office/drawing/2014/main" id="{8E4B6139-6467-872D-8F33-1A333E65FEFF}"/>
              </a:ext>
            </a:extLst>
          </p:cNvPr>
          <p:cNvSpPr>
            <a:spLocks noGrp="1"/>
          </p:cNvSpPr>
          <p:nvPr>
            <p:ph type="body" sz="quarter" idx="10" hasCustomPrompt="1"/>
          </p:nvPr>
        </p:nvSpPr>
        <p:spPr>
          <a:xfrm>
            <a:off x="6096000" y="620645"/>
            <a:ext cx="5303520" cy="848052"/>
          </a:xfrm>
        </p:spPr>
        <p:txBody>
          <a:bodyPr anchor="ctr">
            <a:noAutofit/>
          </a:bodyPr>
          <a:lstStyle>
            <a:lvl1pPr marL="0" indent="0">
              <a:spcBef>
                <a:spcPts val="0"/>
              </a:spcBef>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11" name="Text Placeholder 61">
            <a:extLst>
              <a:ext uri="{FF2B5EF4-FFF2-40B4-BE49-F238E27FC236}">
                <a16:creationId xmlns:a16="http://schemas.microsoft.com/office/drawing/2014/main" id="{82B001C5-E1D6-9A9E-EB23-429D24857AE1}"/>
              </a:ext>
            </a:extLst>
          </p:cNvPr>
          <p:cNvSpPr>
            <a:spLocks noGrp="1"/>
          </p:cNvSpPr>
          <p:nvPr>
            <p:ph type="body" sz="quarter" idx="11" hasCustomPrompt="1"/>
          </p:nvPr>
        </p:nvSpPr>
        <p:spPr>
          <a:xfrm>
            <a:off x="6096000" y="1780911"/>
            <a:ext cx="5303520" cy="848052"/>
          </a:xfrm>
        </p:spPr>
        <p:txBody>
          <a:bodyPr anchor="ctr">
            <a:noAutofit/>
          </a:bodyPr>
          <a:lstStyle>
            <a:lvl1pPr marL="0" indent="0">
              <a:spcBef>
                <a:spcPts val="0"/>
              </a:spcBef>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12" name="Text Placeholder 61">
            <a:extLst>
              <a:ext uri="{FF2B5EF4-FFF2-40B4-BE49-F238E27FC236}">
                <a16:creationId xmlns:a16="http://schemas.microsoft.com/office/drawing/2014/main" id="{8D650BC2-8AB4-58D3-780B-3E60C240D1F1}"/>
              </a:ext>
            </a:extLst>
          </p:cNvPr>
          <p:cNvSpPr>
            <a:spLocks noGrp="1"/>
          </p:cNvSpPr>
          <p:nvPr>
            <p:ph type="body" sz="quarter" idx="12" hasCustomPrompt="1"/>
          </p:nvPr>
        </p:nvSpPr>
        <p:spPr>
          <a:xfrm>
            <a:off x="6096000" y="2941177"/>
            <a:ext cx="5303520" cy="848051"/>
          </a:xfrm>
        </p:spPr>
        <p:txBody>
          <a:bodyPr anchor="ctr">
            <a:noAutofit/>
          </a:bodyPr>
          <a:lstStyle>
            <a:lvl1pPr marL="0" indent="0">
              <a:spcBef>
                <a:spcPts val="0"/>
              </a:spcBef>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13" name="Text Placeholder 61">
            <a:extLst>
              <a:ext uri="{FF2B5EF4-FFF2-40B4-BE49-F238E27FC236}">
                <a16:creationId xmlns:a16="http://schemas.microsoft.com/office/drawing/2014/main" id="{406D8B0D-9482-1175-E5E5-0E386C10C985}"/>
              </a:ext>
            </a:extLst>
          </p:cNvPr>
          <p:cNvSpPr>
            <a:spLocks noGrp="1"/>
          </p:cNvSpPr>
          <p:nvPr>
            <p:ph type="body" sz="quarter" idx="14" hasCustomPrompt="1"/>
          </p:nvPr>
        </p:nvSpPr>
        <p:spPr>
          <a:xfrm>
            <a:off x="884739" y="1905000"/>
            <a:ext cx="4616175" cy="4013200"/>
          </a:xfrm>
        </p:spPr>
        <p:txBody>
          <a:bodyPr anchor="t">
            <a:noAutofit/>
          </a:bodyPr>
          <a:lstStyle>
            <a:lvl1pPr marL="0" indent="0">
              <a:lnSpc>
                <a:spcPct val="100000"/>
              </a:lnSpc>
              <a:buNone/>
              <a:defRPr kumimoji="0" lang="en-US" sz="2400" b="0" i="0" u="none" strike="noStrike" kern="1200" cap="none" spc="0" normalizeH="0" baseline="0" dirty="0">
                <a:ln>
                  <a:noFill/>
                </a:ln>
                <a:solidFill>
                  <a:schemeClr val="tx1"/>
                </a:solidFill>
                <a:effectLst/>
                <a:uLnTx/>
                <a:uFillTx/>
                <a:latin typeface="Segoe UI Semibold"/>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a:t>Add description here</a:t>
            </a:r>
            <a:endParaRPr lang="en-US"/>
          </a:p>
        </p:txBody>
      </p:sp>
      <p:sp>
        <p:nvSpPr>
          <p:cNvPr id="14" name="Text Placeholder 23">
            <a:extLst>
              <a:ext uri="{FF2B5EF4-FFF2-40B4-BE49-F238E27FC236}">
                <a16:creationId xmlns:a16="http://schemas.microsoft.com/office/drawing/2014/main" id="{72F716FE-8A59-80ED-1368-E514AC668320}"/>
              </a:ext>
            </a:extLst>
          </p:cNvPr>
          <p:cNvSpPr>
            <a:spLocks noGrp="1"/>
          </p:cNvSpPr>
          <p:nvPr>
            <p:ph type="body" sz="quarter" idx="23" hasCustomPrompt="1"/>
          </p:nvPr>
        </p:nvSpPr>
        <p:spPr>
          <a:xfrm>
            <a:off x="528240" y="6460362"/>
            <a:ext cx="8106728" cy="138499"/>
          </a:xfrm>
        </p:spPr>
        <p:txBody>
          <a:bodyPr wrap="square"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sp>
        <p:nvSpPr>
          <p:cNvPr id="17" name="Text Placeholder 61">
            <a:extLst>
              <a:ext uri="{FF2B5EF4-FFF2-40B4-BE49-F238E27FC236}">
                <a16:creationId xmlns:a16="http://schemas.microsoft.com/office/drawing/2014/main" id="{6BB6AE42-F8EC-726D-04A8-C23A1E0F022C}"/>
              </a:ext>
            </a:extLst>
          </p:cNvPr>
          <p:cNvSpPr>
            <a:spLocks noGrp="1"/>
          </p:cNvSpPr>
          <p:nvPr>
            <p:ph type="body" sz="quarter" idx="24" hasCustomPrompt="1"/>
          </p:nvPr>
        </p:nvSpPr>
        <p:spPr>
          <a:xfrm>
            <a:off x="6096000" y="4101442"/>
            <a:ext cx="5303520" cy="848051"/>
          </a:xfrm>
        </p:spPr>
        <p:txBody>
          <a:bodyPr anchor="ctr">
            <a:noAutofit/>
          </a:bodyPr>
          <a:lstStyle>
            <a:lvl1pPr marL="0" indent="0">
              <a:spcBef>
                <a:spcPts val="0"/>
              </a:spcBef>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18" name="Text Placeholder 61">
            <a:extLst>
              <a:ext uri="{FF2B5EF4-FFF2-40B4-BE49-F238E27FC236}">
                <a16:creationId xmlns:a16="http://schemas.microsoft.com/office/drawing/2014/main" id="{8D650BC2-8AB4-58D3-780B-3E60C240D1F1}"/>
              </a:ext>
            </a:extLst>
          </p:cNvPr>
          <p:cNvSpPr>
            <a:spLocks noGrp="1"/>
          </p:cNvSpPr>
          <p:nvPr>
            <p:ph type="body" sz="quarter" idx="25" hasCustomPrompt="1"/>
          </p:nvPr>
        </p:nvSpPr>
        <p:spPr>
          <a:xfrm>
            <a:off x="6096000" y="5261704"/>
            <a:ext cx="5303520" cy="848051"/>
          </a:xfrm>
        </p:spPr>
        <p:txBody>
          <a:bodyPr anchor="ctr">
            <a:noAutofit/>
          </a:bodyPr>
          <a:lstStyle>
            <a:lvl1pPr marL="0" indent="0">
              <a:spcBef>
                <a:spcPts val="0"/>
              </a:spcBef>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Tree>
    <p:extLst>
      <p:ext uri="{BB962C8B-B14F-4D97-AF65-F5344CB8AC3E}">
        <p14:creationId xmlns:p14="http://schemas.microsoft.com/office/powerpoint/2010/main" val="8317636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3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45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nodeType="withEffect">
                                  <p:stCondLst>
                                    <p:cond delay="6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ustomer story - media">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4FB4F104-4F56-1C72-6B4B-6003D87CCAA1}"/>
              </a:ext>
            </a:extLst>
          </p:cNvPr>
          <p:cNvSpPr/>
          <p:nvPr userDrawn="1"/>
        </p:nvSpPr>
        <p:spPr bwMode="auto">
          <a:xfrm>
            <a:off x="613811" y="539253"/>
            <a:ext cx="5129764" cy="5642342"/>
          </a:xfrm>
          <a:prstGeom prst="roundRect">
            <a:avLst>
              <a:gd name="adj" fmla="val 2764"/>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4" name="Picture Placeholder 56">
            <a:extLst>
              <a:ext uri="{FF2B5EF4-FFF2-40B4-BE49-F238E27FC236}">
                <a16:creationId xmlns:a16="http://schemas.microsoft.com/office/drawing/2014/main" id="{27C0FE8D-305C-E013-B424-6281F312CC67}"/>
              </a:ext>
            </a:extLst>
          </p:cNvPr>
          <p:cNvSpPr>
            <a:spLocks noGrp="1"/>
          </p:cNvSpPr>
          <p:nvPr>
            <p:ph type="pic" sz="quarter" idx="16" hasCustomPrompt="1"/>
          </p:nvPr>
        </p:nvSpPr>
        <p:spPr>
          <a:xfrm>
            <a:off x="884739" y="654733"/>
            <a:ext cx="1007561" cy="1007561"/>
          </a:xfrm>
          <a:prstGeom prst="rect">
            <a:avLst/>
          </a:prstGeom>
        </p:spPr>
        <p:txBody>
          <a:bodyPr anchor="ctr">
            <a:noAutofit/>
          </a:bodyPr>
          <a:lstStyle>
            <a:lvl1pPr marL="0" indent="0" algn="ctr">
              <a:buNone/>
              <a:defRPr sz="1200">
                <a:latin typeface="+mj-lt"/>
              </a:defRPr>
            </a:lvl1pPr>
          </a:lstStyle>
          <a:p>
            <a:r>
              <a:rPr lang="en-US"/>
              <a:t>Customer Logo</a:t>
            </a:r>
          </a:p>
        </p:txBody>
      </p:sp>
      <p:sp>
        <p:nvSpPr>
          <p:cNvPr id="5" name="Rectangle: Rounded Corners 4">
            <a:extLst>
              <a:ext uri="{FF2B5EF4-FFF2-40B4-BE49-F238E27FC236}">
                <a16:creationId xmlns:a16="http://schemas.microsoft.com/office/drawing/2014/main" id="{3C24262A-4B23-F365-A6E1-DFDEF065BC16}"/>
              </a:ext>
            </a:extLst>
          </p:cNvPr>
          <p:cNvSpPr/>
          <p:nvPr userDrawn="1"/>
        </p:nvSpPr>
        <p:spPr bwMode="auto">
          <a:xfrm>
            <a:off x="501662" y="425311"/>
            <a:ext cx="11101485" cy="5848489"/>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9" name="Text Placeholder 61">
            <a:extLst>
              <a:ext uri="{FF2B5EF4-FFF2-40B4-BE49-F238E27FC236}">
                <a16:creationId xmlns:a16="http://schemas.microsoft.com/office/drawing/2014/main" id="{7BA21467-C364-F7C8-78AF-BFCDD4CE7082}"/>
              </a:ext>
            </a:extLst>
          </p:cNvPr>
          <p:cNvSpPr>
            <a:spLocks noGrp="1"/>
          </p:cNvSpPr>
          <p:nvPr>
            <p:ph type="body" sz="quarter" idx="14" hasCustomPrompt="1"/>
          </p:nvPr>
        </p:nvSpPr>
        <p:spPr>
          <a:xfrm>
            <a:off x="884739" y="1905000"/>
            <a:ext cx="4616175" cy="4013200"/>
          </a:xfrm>
        </p:spPr>
        <p:txBody>
          <a:bodyPr anchor="t">
            <a:noAutofit/>
          </a:bodyPr>
          <a:lstStyle>
            <a:lvl1pPr marL="0" indent="0">
              <a:lnSpc>
                <a:spcPct val="100000"/>
              </a:lnSpc>
              <a:buNone/>
              <a:defRPr kumimoji="0" lang="en-US" sz="2400" b="0" i="0" u="none" strike="noStrike" kern="1200" cap="none" spc="0" normalizeH="0" baseline="0" dirty="0">
                <a:ln>
                  <a:noFill/>
                </a:ln>
                <a:solidFill>
                  <a:schemeClr val="tx1"/>
                </a:solidFill>
                <a:effectLst/>
                <a:uLnTx/>
                <a:uFillTx/>
                <a:latin typeface="Segoe UI Semibold"/>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a:t>Add description here</a:t>
            </a:r>
            <a:endParaRPr lang="en-US"/>
          </a:p>
        </p:txBody>
      </p:sp>
      <p:sp>
        <p:nvSpPr>
          <p:cNvPr id="10" name="Text Placeholder 23">
            <a:extLst>
              <a:ext uri="{FF2B5EF4-FFF2-40B4-BE49-F238E27FC236}">
                <a16:creationId xmlns:a16="http://schemas.microsoft.com/office/drawing/2014/main" id="{66B985D3-2063-EA15-71E7-16F224B2FA50}"/>
              </a:ext>
            </a:extLst>
          </p:cNvPr>
          <p:cNvSpPr>
            <a:spLocks noGrp="1"/>
          </p:cNvSpPr>
          <p:nvPr>
            <p:ph type="body" sz="quarter" idx="23" hasCustomPrompt="1"/>
          </p:nvPr>
        </p:nvSpPr>
        <p:spPr>
          <a:xfrm>
            <a:off x="528240" y="6460362"/>
            <a:ext cx="8106728" cy="138499"/>
          </a:xfrm>
        </p:spPr>
        <p:txBody>
          <a:bodyPr wrap="square"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sp>
        <p:nvSpPr>
          <p:cNvPr id="16" name="Picture Placeholder 15">
            <a:extLst>
              <a:ext uri="{FF2B5EF4-FFF2-40B4-BE49-F238E27FC236}">
                <a16:creationId xmlns:a16="http://schemas.microsoft.com/office/drawing/2014/main" id="{305E87A4-AEBE-DC11-8E82-1732D10A4090}"/>
              </a:ext>
            </a:extLst>
          </p:cNvPr>
          <p:cNvSpPr>
            <a:spLocks noGrp="1"/>
          </p:cNvSpPr>
          <p:nvPr>
            <p:ph type="pic" sz="quarter" idx="24" hasCustomPrompt="1"/>
          </p:nvPr>
        </p:nvSpPr>
        <p:spPr>
          <a:xfrm>
            <a:off x="6201861" y="812804"/>
            <a:ext cx="4953000" cy="5059676"/>
          </a:xfrm>
        </p:spPr>
        <p:txBody>
          <a:bodyPr/>
          <a:lstStyle>
            <a:lvl1pPr marL="0" indent="0">
              <a:buNone/>
              <a:defRPr/>
            </a:lvl1pPr>
          </a:lstStyle>
          <a:p>
            <a:r>
              <a:rPr lang="en-US"/>
              <a:t>Insert media</a:t>
            </a:r>
          </a:p>
        </p:txBody>
      </p:sp>
    </p:spTree>
    <p:extLst>
      <p:ext uri="{BB962C8B-B14F-4D97-AF65-F5344CB8AC3E}">
        <p14:creationId xmlns:p14="http://schemas.microsoft.com/office/powerpoint/2010/main" val="341440655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ustomer story - quote only">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CEB94B67-E65E-F724-99D9-516DD2596A81}"/>
              </a:ext>
            </a:extLst>
          </p:cNvPr>
          <p:cNvSpPr/>
          <p:nvPr userDrawn="1"/>
        </p:nvSpPr>
        <p:spPr bwMode="auto">
          <a:xfrm>
            <a:off x="613810" y="539253"/>
            <a:ext cx="10877150" cy="5642342"/>
          </a:xfrm>
          <a:prstGeom prst="roundRect">
            <a:avLst>
              <a:gd name="adj" fmla="val 2764"/>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4" name="Picture Placeholder 56">
            <a:extLst>
              <a:ext uri="{FF2B5EF4-FFF2-40B4-BE49-F238E27FC236}">
                <a16:creationId xmlns:a16="http://schemas.microsoft.com/office/drawing/2014/main" id="{33289C13-F335-E281-CD97-2DDCA84A1076}"/>
              </a:ext>
            </a:extLst>
          </p:cNvPr>
          <p:cNvSpPr>
            <a:spLocks noGrp="1"/>
          </p:cNvSpPr>
          <p:nvPr>
            <p:ph type="pic" sz="quarter" idx="16" hasCustomPrompt="1"/>
          </p:nvPr>
        </p:nvSpPr>
        <p:spPr>
          <a:xfrm>
            <a:off x="5379290" y="1006115"/>
            <a:ext cx="1433420" cy="1433420"/>
          </a:xfrm>
          <a:prstGeom prst="rect">
            <a:avLst/>
          </a:prstGeom>
        </p:spPr>
        <p:txBody>
          <a:bodyPr anchor="ctr">
            <a:noAutofit/>
          </a:bodyPr>
          <a:lstStyle>
            <a:lvl1pPr marL="0" indent="0" algn="ctr">
              <a:buNone/>
              <a:defRPr sz="1200">
                <a:latin typeface="+mj-lt"/>
              </a:defRPr>
            </a:lvl1pPr>
          </a:lstStyle>
          <a:p>
            <a:r>
              <a:rPr lang="en-US"/>
              <a:t>Customer Logo</a:t>
            </a:r>
          </a:p>
        </p:txBody>
      </p:sp>
      <p:sp>
        <p:nvSpPr>
          <p:cNvPr id="5" name="Rectangle: Rounded Corners 4">
            <a:extLst>
              <a:ext uri="{FF2B5EF4-FFF2-40B4-BE49-F238E27FC236}">
                <a16:creationId xmlns:a16="http://schemas.microsoft.com/office/drawing/2014/main" id="{94A0E8B8-6C61-DAE2-E578-FC09246C5E8A}"/>
              </a:ext>
            </a:extLst>
          </p:cNvPr>
          <p:cNvSpPr/>
          <p:nvPr userDrawn="1"/>
        </p:nvSpPr>
        <p:spPr bwMode="auto">
          <a:xfrm>
            <a:off x="501662" y="425311"/>
            <a:ext cx="11101485" cy="5848489"/>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Text Placeholder 61">
            <a:extLst>
              <a:ext uri="{FF2B5EF4-FFF2-40B4-BE49-F238E27FC236}">
                <a16:creationId xmlns:a16="http://schemas.microsoft.com/office/drawing/2014/main" id="{4BCA81E3-27B3-973D-770F-38FDD26E804D}"/>
              </a:ext>
            </a:extLst>
          </p:cNvPr>
          <p:cNvSpPr>
            <a:spLocks noGrp="1"/>
          </p:cNvSpPr>
          <p:nvPr>
            <p:ph type="body" sz="quarter" idx="14" hasCustomPrompt="1"/>
          </p:nvPr>
        </p:nvSpPr>
        <p:spPr>
          <a:xfrm>
            <a:off x="2220886" y="3017520"/>
            <a:ext cx="7750229" cy="2900680"/>
          </a:xfrm>
        </p:spPr>
        <p:txBody>
          <a:bodyPr anchor="t">
            <a:noAutofit/>
          </a:bodyPr>
          <a:lstStyle>
            <a:lvl1pPr marL="0" indent="0" algn="ctr">
              <a:lnSpc>
                <a:spcPct val="100000"/>
              </a:lnSpc>
              <a:buNone/>
              <a:defRPr kumimoji="0" lang="en-US" sz="2400" b="0" i="0" u="none" strike="noStrike" kern="1200" cap="none" spc="0" normalizeH="0" baseline="0" dirty="0">
                <a:ln>
                  <a:noFill/>
                </a:ln>
                <a:solidFill>
                  <a:schemeClr val="tx1"/>
                </a:solidFill>
                <a:effectLst/>
                <a:uLnTx/>
                <a:uFillTx/>
                <a:latin typeface="Segoe UI Semibold"/>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a:t>Add description here</a:t>
            </a:r>
            <a:endParaRPr lang="en-US"/>
          </a:p>
        </p:txBody>
      </p:sp>
      <p:sp>
        <p:nvSpPr>
          <p:cNvPr id="7" name="Text Placeholder 23">
            <a:extLst>
              <a:ext uri="{FF2B5EF4-FFF2-40B4-BE49-F238E27FC236}">
                <a16:creationId xmlns:a16="http://schemas.microsoft.com/office/drawing/2014/main" id="{6E1FA416-D0B1-57D8-3551-18AFDD30E1DF}"/>
              </a:ext>
            </a:extLst>
          </p:cNvPr>
          <p:cNvSpPr>
            <a:spLocks noGrp="1"/>
          </p:cNvSpPr>
          <p:nvPr>
            <p:ph type="body" sz="quarter" idx="23" hasCustomPrompt="1"/>
          </p:nvPr>
        </p:nvSpPr>
        <p:spPr>
          <a:xfrm>
            <a:off x="528240" y="6460362"/>
            <a:ext cx="8106728" cy="138499"/>
          </a:xfrm>
        </p:spPr>
        <p:txBody>
          <a:bodyPr wrap="square"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spTree>
    <p:extLst>
      <p:ext uri="{BB962C8B-B14F-4D97-AF65-F5344CB8AC3E}">
        <p14:creationId xmlns:p14="http://schemas.microsoft.com/office/powerpoint/2010/main" val="296491969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3.svg"/><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75.xml"/><Relationship Id="rId21" Type="http://schemas.openxmlformats.org/officeDocument/2006/relationships/slideLayout" Target="../slideLayouts/slideLayout70.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63" Type="http://schemas.openxmlformats.org/officeDocument/2006/relationships/slideLayout" Target="../slideLayouts/slideLayout112.xml"/><Relationship Id="rId68" Type="http://schemas.openxmlformats.org/officeDocument/2006/relationships/slideLayout" Target="../slideLayouts/slideLayout117.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9" Type="http://schemas.openxmlformats.org/officeDocument/2006/relationships/slideLayout" Target="../slideLayouts/slideLayout78.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3" Type="http://schemas.openxmlformats.org/officeDocument/2006/relationships/slideLayout" Target="../slideLayouts/slideLayout102.xml"/><Relationship Id="rId58" Type="http://schemas.openxmlformats.org/officeDocument/2006/relationships/slideLayout" Target="../slideLayouts/slideLayout107.xml"/><Relationship Id="rId66" Type="http://schemas.openxmlformats.org/officeDocument/2006/relationships/slideLayout" Target="../slideLayouts/slideLayout115.xml"/><Relationship Id="rId5" Type="http://schemas.openxmlformats.org/officeDocument/2006/relationships/slideLayout" Target="../slideLayouts/slideLayout54.xml"/><Relationship Id="rId61" Type="http://schemas.openxmlformats.org/officeDocument/2006/relationships/slideLayout" Target="../slideLayouts/slideLayout110.xml"/><Relationship Id="rId19" Type="http://schemas.openxmlformats.org/officeDocument/2006/relationships/slideLayout" Target="../slideLayouts/slideLayout6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56" Type="http://schemas.openxmlformats.org/officeDocument/2006/relationships/slideLayout" Target="../slideLayouts/slideLayout105.xml"/><Relationship Id="rId64" Type="http://schemas.openxmlformats.org/officeDocument/2006/relationships/slideLayout" Target="../slideLayouts/slideLayout113.xml"/><Relationship Id="rId69" Type="http://schemas.openxmlformats.org/officeDocument/2006/relationships/slideLayout" Target="../slideLayouts/slideLayout118.xml"/><Relationship Id="rId8" Type="http://schemas.openxmlformats.org/officeDocument/2006/relationships/slideLayout" Target="../slideLayouts/slideLayout57.xml"/><Relationship Id="rId51" Type="http://schemas.openxmlformats.org/officeDocument/2006/relationships/slideLayout" Target="../slideLayouts/slideLayout100.xml"/><Relationship Id="rId72" Type="http://schemas.openxmlformats.org/officeDocument/2006/relationships/slideLayout" Target="../slideLayouts/slideLayout121.xml"/><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59" Type="http://schemas.openxmlformats.org/officeDocument/2006/relationships/slideLayout" Target="../slideLayouts/slideLayout108.xml"/><Relationship Id="rId67" Type="http://schemas.openxmlformats.org/officeDocument/2006/relationships/slideLayout" Target="../slideLayouts/slideLayout116.xml"/><Relationship Id="rId20" Type="http://schemas.openxmlformats.org/officeDocument/2006/relationships/slideLayout" Target="../slideLayouts/slideLayout69.xml"/><Relationship Id="rId41" Type="http://schemas.openxmlformats.org/officeDocument/2006/relationships/slideLayout" Target="../slideLayouts/slideLayout90.xml"/><Relationship Id="rId54" Type="http://schemas.openxmlformats.org/officeDocument/2006/relationships/slideLayout" Target="../slideLayouts/slideLayout103.xml"/><Relationship Id="rId62" Type="http://schemas.openxmlformats.org/officeDocument/2006/relationships/slideLayout" Target="../slideLayouts/slideLayout111.xml"/><Relationship Id="rId70" Type="http://schemas.openxmlformats.org/officeDocument/2006/relationships/slideLayout" Target="../slideLayouts/slideLayout11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slideLayout" Target="../slideLayouts/slideLayout98.xml"/><Relationship Id="rId57" Type="http://schemas.openxmlformats.org/officeDocument/2006/relationships/slideLayout" Target="../slideLayouts/slideLayout106.xml"/><Relationship Id="rId10" Type="http://schemas.openxmlformats.org/officeDocument/2006/relationships/slideLayout" Target="../slideLayouts/slideLayout59.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52" Type="http://schemas.openxmlformats.org/officeDocument/2006/relationships/slideLayout" Target="../slideLayouts/slideLayout101.xml"/><Relationship Id="rId60" Type="http://schemas.openxmlformats.org/officeDocument/2006/relationships/slideLayout" Target="../slideLayouts/slideLayout109.xml"/><Relationship Id="rId65" Type="http://schemas.openxmlformats.org/officeDocument/2006/relationships/slideLayout" Target="../slideLayouts/slideLayout114.xml"/><Relationship Id="rId73" Type="http://schemas.openxmlformats.org/officeDocument/2006/relationships/theme" Target="../theme/theme2.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9" Type="http://schemas.openxmlformats.org/officeDocument/2006/relationships/slideLayout" Target="../slideLayouts/slideLayout88.xml"/><Relationship Id="rId34" Type="http://schemas.openxmlformats.org/officeDocument/2006/relationships/slideLayout" Target="../slideLayouts/slideLayout83.xml"/><Relationship Id="rId50" Type="http://schemas.openxmlformats.org/officeDocument/2006/relationships/slideLayout" Target="../slideLayouts/slideLayout99.xml"/><Relationship Id="rId55" Type="http://schemas.openxmlformats.org/officeDocument/2006/relationships/slideLayout" Target="../slideLayouts/slideLayout104.xml"/><Relationship Id="rId7" Type="http://schemas.openxmlformats.org/officeDocument/2006/relationships/slideLayout" Target="../slideLayouts/slideLayout56.xml"/><Relationship Id="rId71" Type="http://schemas.openxmlformats.org/officeDocument/2006/relationships/slideLayout" Target="../slideLayouts/slideLayout120.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47.xml"/><Relationship Id="rId21" Type="http://schemas.openxmlformats.org/officeDocument/2006/relationships/slideLayout" Target="../slideLayouts/slideLayout142.xml"/><Relationship Id="rId42" Type="http://schemas.openxmlformats.org/officeDocument/2006/relationships/slideLayout" Target="../slideLayouts/slideLayout163.xml"/><Relationship Id="rId47" Type="http://schemas.openxmlformats.org/officeDocument/2006/relationships/slideLayout" Target="../slideLayouts/slideLayout168.xml"/><Relationship Id="rId63" Type="http://schemas.openxmlformats.org/officeDocument/2006/relationships/slideLayout" Target="../slideLayouts/slideLayout184.xml"/><Relationship Id="rId68" Type="http://schemas.openxmlformats.org/officeDocument/2006/relationships/slideLayout" Target="../slideLayouts/slideLayout189.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9" Type="http://schemas.openxmlformats.org/officeDocument/2006/relationships/slideLayout" Target="../slideLayouts/slideLayout150.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slideLayout" Target="../slideLayouts/slideLayout153.xml"/><Relationship Id="rId37" Type="http://schemas.openxmlformats.org/officeDocument/2006/relationships/slideLayout" Target="../slideLayouts/slideLayout158.xml"/><Relationship Id="rId40" Type="http://schemas.openxmlformats.org/officeDocument/2006/relationships/slideLayout" Target="../slideLayouts/slideLayout161.xml"/><Relationship Id="rId45" Type="http://schemas.openxmlformats.org/officeDocument/2006/relationships/slideLayout" Target="../slideLayouts/slideLayout166.xml"/><Relationship Id="rId53" Type="http://schemas.openxmlformats.org/officeDocument/2006/relationships/slideLayout" Target="../slideLayouts/slideLayout174.xml"/><Relationship Id="rId58" Type="http://schemas.openxmlformats.org/officeDocument/2006/relationships/slideLayout" Target="../slideLayouts/slideLayout179.xml"/><Relationship Id="rId66" Type="http://schemas.openxmlformats.org/officeDocument/2006/relationships/slideLayout" Target="../slideLayouts/slideLayout187.xml"/><Relationship Id="rId74" Type="http://schemas.openxmlformats.org/officeDocument/2006/relationships/image" Target="../media/image2.png"/><Relationship Id="rId5" Type="http://schemas.openxmlformats.org/officeDocument/2006/relationships/slideLayout" Target="../slideLayouts/slideLayout126.xml"/><Relationship Id="rId61" Type="http://schemas.openxmlformats.org/officeDocument/2006/relationships/slideLayout" Target="../slideLayouts/slideLayout182.xml"/><Relationship Id="rId19" Type="http://schemas.openxmlformats.org/officeDocument/2006/relationships/slideLayout" Target="../slideLayouts/slideLayout14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slideLayout" Target="../slideLayouts/slideLayout148.xml"/><Relationship Id="rId30" Type="http://schemas.openxmlformats.org/officeDocument/2006/relationships/slideLayout" Target="../slideLayouts/slideLayout151.xml"/><Relationship Id="rId35" Type="http://schemas.openxmlformats.org/officeDocument/2006/relationships/slideLayout" Target="../slideLayouts/slideLayout156.xml"/><Relationship Id="rId43" Type="http://schemas.openxmlformats.org/officeDocument/2006/relationships/slideLayout" Target="../slideLayouts/slideLayout164.xml"/><Relationship Id="rId48" Type="http://schemas.openxmlformats.org/officeDocument/2006/relationships/slideLayout" Target="../slideLayouts/slideLayout169.xml"/><Relationship Id="rId56" Type="http://schemas.openxmlformats.org/officeDocument/2006/relationships/slideLayout" Target="../slideLayouts/slideLayout177.xml"/><Relationship Id="rId64" Type="http://schemas.openxmlformats.org/officeDocument/2006/relationships/slideLayout" Target="../slideLayouts/slideLayout185.xml"/><Relationship Id="rId69" Type="http://schemas.openxmlformats.org/officeDocument/2006/relationships/slideLayout" Target="../slideLayouts/slideLayout190.xml"/><Relationship Id="rId8" Type="http://schemas.openxmlformats.org/officeDocument/2006/relationships/slideLayout" Target="../slideLayouts/slideLayout129.xml"/><Relationship Id="rId51" Type="http://schemas.openxmlformats.org/officeDocument/2006/relationships/slideLayout" Target="../slideLayouts/slideLayout172.xml"/><Relationship Id="rId72" Type="http://schemas.openxmlformats.org/officeDocument/2006/relationships/slideLayout" Target="../slideLayouts/slideLayout193.xml"/><Relationship Id="rId3" Type="http://schemas.openxmlformats.org/officeDocument/2006/relationships/slideLayout" Target="../slideLayouts/slideLayout124.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slideLayout" Target="../slideLayouts/slideLayout146.xml"/><Relationship Id="rId33" Type="http://schemas.openxmlformats.org/officeDocument/2006/relationships/slideLayout" Target="../slideLayouts/slideLayout154.xml"/><Relationship Id="rId38" Type="http://schemas.openxmlformats.org/officeDocument/2006/relationships/slideLayout" Target="../slideLayouts/slideLayout159.xml"/><Relationship Id="rId46" Type="http://schemas.openxmlformats.org/officeDocument/2006/relationships/slideLayout" Target="../slideLayouts/slideLayout167.xml"/><Relationship Id="rId59" Type="http://schemas.openxmlformats.org/officeDocument/2006/relationships/slideLayout" Target="../slideLayouts/slideLayout180.xml"/><Relationship Id="rId67" Type="http://schemas.openxmlformats.org/officeDocument/2006/relationships/slideLayout" Target="../slideLayouts/slideLayout188.xml"/><Relationship Id="rId20" Type="http://schemas.openxmlformats.org/officeDocument/2006/relationships/slideLayout" Target="../slideLayouts/slideLayout141.xml"/><Relationship Id="rId41" Type="http://schemas.openxmlformats.org/officeDocument/2006/relationships/slideLayout" Target="../slideLayouts/slideLayout162.xml"/><Relationship Id="rId54" Type="http://schemas.openxmlformats.org/officeDocument/2006/relationships/slideLayout" Target="../slideLayouts/slideLayout175.xml"/><Relationship Id="rId62" Type="http://schemas.openxmlformats.org/officeDocument/2006/relationships/slideLayout" Target="../slideLayouts/slideLayout183.xml"/><Relationship Id="rId70" Type="http://schemas.openxmlformats.org/officeDocument/2006/relationships/slideLayout" Target="../slideLayouts/slideLayout191.xml"/><Relationship Id="rId75" Type="http://schemas.openxmlformats.org/officeDocument/2006/relationships/image" Target="../media/image3.svg"/><Relationship Id="rId1" Type="http://schemas.openxmlformats.org/officeDocument/2006/relationships/slideLayout" Target="../slideLayouts/slideLayout122.xml"/><Relationship Id="rId6" Type="http://schemas.openxmlformats.org/officeDocument/2006/relationships/slideLayout" Target="../slideLayouts/slideLayout127.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slideLayout" Target="../slideLayouts/slideLayout149.xml"/><Relationship Id="rId36" Type="http://schemas.openxmlformats.org/officeDocument/2006/relationships/slideLayout" Target="../slideLayouts/slideLayout157.xml"/><Relationship Id="rId49" Type="http://schemas.openxmlformats.org/officeDocument/2006/relationships/slideLayout" Target="../slideLayouts/slideLayout170.xml"/><Relationship Id="rId57" Type="http://schemas.openxmlformats.org/officeDocument/2006/relationships/slideLayout" Target="../slideLayouts/slideLayout178.xml"/><Relationship Id="rId10" Type="http://schemas.openxmlformats.org/officeDocument/2006/relationships/slideLayout" Target="../slideLayouts/slideLayout131.xml"/><Relationship Id="rId31" Type="http://schemas.openxmlformats.org/officeDocument/2006/relationships/slideLayout" Target="../slideLayouts/slideLayout152.xml"/><Relationship Id="rId44" Type="http://schemas.openxmlformats.org/officeDocument/2006/relationships/slideLayout" Target="../slideLayouts/slideLayout165.xml"/><Relationship Id="rId52" Type="http://schemas.openxmlformats.org/officeDocument/2006/relationships/slideLayout" Target="../slideLayouts/slideLayout173.xml"/><Relationship Id="rId60" Type="http://schemas.openxmlformats.org/officeDocument/2006/relationships/slideLayout" Target="../slideLayouts/slideLayout181.xml"/><Relationship Id="rId65" Type="http://schemas.openxmlformats.org/officeDocument/2006/relationships/slideLayout" Target="../slideLayouts/slideLayout186.xml"/><Relationship Id="rId73" Type="http://schemas.openxmlformats.org/officeDocument/2006/relationships/theme" Target="../theme/theme3.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9" Type="http://schemas.openxmlformats.org/officeDocument/2006/relationships/slideLayout" Target="../slideLayouts/slideLayout160.xml"/><Relationship Id="rId34" Type="http://schemas.openxmlformats.org/officeDocument/2006/relationships/slideLayout" Target="../slideLayouts/slideLayout155.xml"/><Relationship Id="rId50" Type="http://schemas.openxmlformats.org/officeDocument/2006/relationships/slideLayout" Target="../slideLayouts/slideLayout171.xml"/><Relationship Id="rId55" Type="http://schemas.openxmlformats.org/officeDocument/2006/relationships/slideLayout" Target="../slideLayouts/slideLayout176.xml"/><Relationship Id="rId7" Type="http://schemas.openxmlformats.org/officeDocument/2006/relationships/slideLayout" Target="../slideLayouts/slideLayout128.xml"/><Relationship Id="rId71" Type="http://schemas.openxmlformats.org/officeDocument/2006/relationships/slideLayout" Target="../slideLayouts/slideLayout192.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19.xml"/><Relationship Id="rId21" Type="http://schemas.openxmlformats.org/officeDocument/2006/relationships/slideLayout" Target="../slideLayouts/slideLayout214.xml"/><Relationship Id="rId42" Type="http://schemas.openxmlformats.org/officeDocument/2006/relationships/slideLayout" Target="../slideLayouts/slideLayout235.xml"/><Relationship Id="rId47" Type="http://schemas.openxmlformats.org/officeDocument/2006/relationships/slideLayout" Target="../slideLayouts/slideLayout240.xml"/><Relationship Id="rId63" Type="http://schemas.openxmlformats.org/officeDocument/2006/relationships/slideLayout" Target="../slideLayouts/slideLayout256.xml"/><Relationship Id="rId68" Type="http://schemas.openxmlformats.org/officeDocument/2006/relationships/slideLayout" Target="../slideLayouts/slideLayout261.xml"/><Relationship Id="rId16" Type="http://schemas.openxmlformats.org/officeDocument/2006/relationships/slideLayout" Target="../slideLayouts/slideLayout209.xml"/><Relationship Id="rId11" Type="http://schemas.openxmlformats.org/officeDocument/2006/relationships/slideLayout" Target="../slideLayouts/slideLayout204.xml"/><Relationship Id="rId24" Type="http://schemas.openxmlformats.org/officeDocument/2006/relationships/slideLayout" Target="../slideLayouts/slideLayout217.xml"/><Relationship Id="rId32" Type="http://schemas.openxmlformats.org/officeDocument/2006/relationships/slideLayout" Target="../slideLayouts/slideLayout225.xml"/><Relationship Id="rId37" Type="http://schemas.openxmlformats.org/officeDocument/2006/relationships/slideLayout" Target="../slideLayouts/slideLayout230.xml"/><Relationship Id="rId40" Type="http://schemas.openxmlformats.org/officeDocument/2006/relationships/slideLayout" Target="../slideLayouts/slideLayout233.xml"/><Relationship Id="rId45" Type="http://schemas.openxmlformats.org/officeDocument/2006/relationships/slideLayout" Target="../slideLayouts/slideLayout238.xml"/><Relationship Id="rId53" Type="http://schemas.openxmlformats.org/officeDocument/2006/relationships/slideLayout" Target="../slideLayouts/slideLayout246.xml"/><Relationship Id="rId58" Type="http://schemas.openxmlformats.org/officeDocument/2006/relationships/slideLayout" Target="../slideLayouts/slideLayout251.xml"/><Relationship Id="rId66" Type="http://schemas.openxmlformats.org/officeDocument/2006/relationships/slideLayout" Target="../slideLayouts/slideLayout259.xml"/><Relationship Id="rId74" Type="http://schemas.openxmlformats.org/officeDocument/2006/relationships/theme" Target="../theme/theme4.xml"/><Relationship Id="rId79" Type="http://schemas.openxmlformats.org/officeDocument/2006/relationships/image" Target="../media/image3.svg"/><Relationship Id="rId5" Type="http://schemas.openxmlformats.org/officeDocument/2006/relationships/slideLayout" Target="../slideLayouts/slideLayout198.xml"/><Relationship Id="rId61" Type="http://schemas.openxmlformats.org/officeDocument/2006/relationships/slideLayout" Target="../slideLayouts/slideLayout254.xml"/><Relationship Id="rId19" Type="http://schemas.openxmlformats.org/officeDocument/2006/relationships/slideLayout" Target="../slideLayouts/slideLayout212.xml"/><Relationship Id="rId14" Type="http://schemas.openxmlformats.org/officeDocument/2006/relationships/slideLayout" Target="../slideLayouts/slideLayout207.xml"/><Relationship Id="rId22" Type="http://schemas.openxmlformats.org/officeDocument/2006/relationships/slideLayout" Target="../slideLayouts/slideLayout215.xml"/><Relationship Id="rId27" Type="http://schemas.openxmlformats.org/officeDocument/2006/relationships/slideLayout" Target="../slideLayouts/slideLayout220.xml"/><Relationship Id="rId30" Type="http://schemas.openxmlformats.org/officeDocument/2006/relationships/slideLayout" Target="../slideLayouts/slideLayout223.xml"/><Relationship Id="rId35" Type="http://schemas.openxmlformats.org/officeDocument/2006/relationships/slideLayout" Target="../slideLayouts/slideLayout228.xml"/><Relationship Id="rId43" Type="http://schemas.openxmlformats.org/officeDocument/2006/relationships/slideLayout" Target="../slideLayouts/slideLayout236.xml"/><Relationship Id="rId48" Type="http://schemas.openxmlformats.org/officeDocument/2006/relationships/slideLayout" Target="../slideLayouts/slideLayout241.xml"/><Relationship Id="rId56" Type="http://schemas.openxmlformats.org/officeDocument/2006/relationships/slideLayout" Target="../slideLayouts/slideLayout249.xml"/><Relationship Id="rId64" Type="http://schemas.openxmlformats.org/officeDocument/2006/relationships/slideLayout" Target="../slideLayouts/slideLayout257.xml"/><Relationship Id="rId69" Type="http://schemas.openxmlformats.org/officeDocument/2006/relationships/slideLayout" Target="../slideLayouts/slideLayout262.xml"/><Relationship Id="rId77" Type="http://schemas.openxmlformats.org/officeDocument/2006/relationships/image" Target="../media/image130.emf"/><Relationship Id="rId8" Type="http://schemas.openxmlformats.org/officeDocument/2006/relationships/slideLayout" Target="../slideLayouts/slideLayout201.xml"/><Relationship Id="rId51" Type="http://schemas.openxmlformats.org/officeDocument/2006/relationships/slideLayout" Target="../slideLayouts/slideLayout244.xml"/><Relationship Id="rId72" Type="http://schemas.openxmlformats.org/officeDocument/2006/relationships/slideLayout" Target="../slideLayouts/slideLayout265.xml"/><Relationship Id="rId3" Type="http://schemas.openxmlformats.org/officeDocument/2006/relationships/slideLayout" Target="../slideLayouts/slideLayout196.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slideLayout" Target="../slideLayouts/slideLayout218.xml"/><Relationship Id="rId33" Type="http://schemas.openxmlformats.org/officeDocument/2006/relationships/slideLayout" Target="../slideLayouts/slideLayout226.xml"/><Relationship Id="rId38" Type="http://schemas.openxmlformats.org/officeDocument/2006/relationships/slideLayout" Target="../slideLayouts/slideLayout231.xml"/><Relationship Id="rId46" Type="http://schemas.openxmlformats.org/officeDocument/2006/relationships/slideLayout" Target="../slideLayouts/slideLayout239.xml"/><Relationship Id="rId59" Type="http://schemas.openxmlformats.org/officeDocument/2006/relationships/slideLayout" Target="../slideLayouts/slideLayout252.xml"/><Relationship Id="rId67" Type="http://schemas.openxmlformats.org/officeDocument/2006/relationships/slideLayout" Target="../slideLayouts/slideLayout260.xml"/><Relationship Id="rId20" Type="http://schemas.openxmlformats.org/officeDocument/2006/relationships/slideLayout" Target="../slideLayouts/slideLayout213.xml"/><Relationship Id="rId41" Type="http://schemas.openxmlformats.org/officeDocument/2006/relationships/slideLayout" Target="../slideLayouts/slideLayout234.xml"/><Relationship Id="rId54" Type="http://schemas.openxmlformats.org/officeDocument/2006/relationships/slideLayout" Target="../slideLayouts/slideLayout247.xml"/><Relationship Id="rId62" Type="http://schemas.openxmlformats.org/officeDocument/2006/relationships/slideLayout" Target="../slideLayouts/slideLayout255.xml"/><Relationship Id="rId70" Type="http://schemas.openxmlformats.org/officeDocument/2006/relationships/slideLayout" Target="../slideLayouts/slideLayout263.xml"/><Relationship Id="rId75" Type="http://schemas.openxmlformats.org/officeDocument/2006/relationships/tags" Target="../tags/tag1.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5" Type="http://schemas.openxmlformats.org/officeDocument/2006/relationships/slideLayout" Target="../slideLayouts/slideLayout208.xml"/><Relationship Id="rId23" Type="http://schemas.openxmlformats.org/officeDocument/2006/relationships/slideLayout" Target="../slideLayouts/slideLayout216.xml"/><Relationship Id="rId28" Type="http://schemas.openxmlformats.org/officeDocument/2006/relationships/slideLayout" Target="../slideLayouts/slideLayout221.xml"/><Relationship Id="rId36" Type="http://schemas.openxmlformats.org/officeDocument/2006/relationships/slideLayout" Target="../slideLayouts/slideLayout229.xml"/><Relationship Id="rId49" Type="http://schemas.openxmlformats.org/officeDocument/2006/relationships/slideLayout" Target="../slideLayouts/slideLayout242.xml"/><Relationship Id="rId57" Type="http://schemas.openxmlformats.org/officeDocument/2006/relationships/slideLayout" Target="../slideLayouts/slideLayout250.xml"/><Relationship Id="rId10" Type="http://schemas.openxmlformats.org/officeDocument/2006/relationships/slideLayout" Target="../slideLayouts/slideLayout203.xml"/><Relationship Id="rId31" Type="http://schemas.openxmlformats.org/officeDocument/2006/relationships/slideLayout" Target="../slideLayouts/slideLayout224.xml"/><Relationship Id="rId44" Type="http://schemas.openxmlformats.org/officeDocument/2006/relationships/slideLayout" Target="../slideLayouts/slideLayout237.xml"/><Relationship Id="rId52" Type="http://schemas.openxmlformats.org/officeDocument/2006/relationships/slideLayout" Target="../slideLayouts/slideLayout245.xml"/><Relationship Id="rId60" Type="http://schemas.openxmlformats.org/officeDocument/2006/relationships/slideLayout" Target="../slideLayouts/slideLayout253.xml"/><Relationship Id="rId65" Type="http://schemas.openxmlformats.org/officeDocument/2006/relationships/slideLayout" Target="../slideLayouts/slideLayout258.xml"/><Relationship Id="rId73" Type="http://schemas.openxmlformats.org/officeDocument/2006/relationships/slideLayout" Target="../slideLayouts/slideLayout266.xml"/><Relationship Id="rId78" Type="http://schemas.openxmlformats.org/officeDocument/2006/relationships/image" Target="../media/image2.png"/><Relationship Id="rId4" Type="http://schemas.openxmlformats.org/officeDocument/2006/relationships/slideLayout" Target="../slideLayouts/slideLayout197.xml"/><Relationship Id="rId9" Type="http://schemas.openxmlformats.org/officeDocument/2006/relationships/slideLayout" Target="../slideLayouts/slideLayout202.xml"/><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39" Type="http://schemas.openxmlformats.org/officeDocument/2006/relationships/slideLayout" Target="../slideLayouts/slideLayout232.xml"/><Relationship Id="rId34" Type="http://schemas.openxmlformats.org/officeDocument/2006/relationships/slideLayout" Target="../slideLayouts/slideLayout227.xml"/><Relationship Id="rId50" Type="http://schemas.openxmlformats.org/officeDocument/2006/relationships/slideLayout" Target="../slideLayouts/slideLayout243.xml"/><Relationship Id="rId55" Type="http://schemas.openxmlformats.org/officeDocument/2006/relationships/slideLayout" Target="../slideLayouts/slideLayout248.xml"/><Relationship Id="rId76" Type="http://schemas.openxmlformats.org/officeDocument/2006/relationships/oleObject" Target="../embeddings/oleObject1.bin"/><Relationship Id="rId7" Type="http://schemas.openxmlformats.org/officeDocument/2006/relationships/slideLayout" Target="../slideLayouts/slideLayout200.xml"/><Relationship Id="rId71" Type="http://schemas.openxmlformats.org/officeDocument/2006/relationships/slideLayout" Target="../slideLayouts/slideLayout264.xml"/><Relationship Id="rId2" Type="http://schemas.openxmlformats.org/officeDocument/2006/relationships/slideLayout" Target="../slideLayouts/slideLayout195.xml"/><Relationship Id="rId29" Type="http://schemas.openxmlformats.org/officeDocument/2006/relationships/slideLayout" Target="../slideLayouts/slideLayout22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slideLayout" Target="../slideLayouts/slideLayout279.xml"/><Relationship Id="rId18" Type="http://schemas.openxmlformats.org/officeDocument/2006/relationships/slideLayout" Target="../slideLayouts/slideLayout284.xml"/><Relationship Id="rId26" Type="http://schemas.openxmlformats.org/officeDocument/2006/relationships/image" Target="../media/image3.svg"/><Relationship Id="rId3" Type="http://schemas.openxmlformats.org/officeDocument/2006/relationships/slideLayout" Target="../slideLayouts/slideLayout269.xml"/><Relationship Id="rId21" Type="http://schemas.openxmlformats.org/officeDocument/2006/relationships/slideLayout" Target="../slideLayouts/slideLayout287.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17" Type="http://schemas.openxmlformats.org/officeDocument/2006/relationships/slideLayout" Target="../slideLayouts/slideLayout283.xml"/><Relationship Id="rId25" Type="http://schemas.openxmlformats.org/officeDocument/2006/relationships/image" Target="../media/image2.png"/><Relationship Id="rId2" Type="http://schemas.openxmlformats.org/officeDocument/2006/relationships/slideLayout" Target="../slideLayouts/slideLayout268.xml"/><Relationship Id="rId16" Type="http://schemas.openxmlformats.org/officeDocument/2006/relationships/slideLayout" Target="../slideLayouts/slideLayout282.xml"/><Relationship Id="rId20" Type="http://schemas.openxmlformats.org/officeDocument/2006/relationships/slideLayout" Target="../slideLayouts/slideLayout286.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24" Type="http://schemas.openxmlformats.org/officeDocument/2006/relationships/theme" Target="../theme/theme5.xml"/><Relationship Id="rId5" Type="http://schemas.openxmlformats.org/officeDocument/2006/relationships/slideLayout" Target="../slideLayouts/slideLayout271.xml"/><Relationship Id="rId15" Type="http://schemas.openxmlformats.org/officeDocument/2006/relationships/slideLayout" Target="../slideLayouts/slideLayout281.xml"/><Relationship Id="rId23" Type="http://schemas.openxmlformats.org/officeDocument/2006/relationships/slideLayout" Target="../slideLayouts/slideLayout289.xml"/><Relationship Id="rId10" Type="http://schemas.openxmlformats.org/officeDocument/2006/relationships/slideLayout" Target="../slideLayouts/slideLayout276.xml"/><Relationship Id="rId19" Type="http://schemas.openxmlformats.org/officeDocument/2006/relationships/slideLayout" Target="../slideLayouts/slideLayout285.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 Id="rId22" Type="http://schemas.openxmlformats.org/officeDocument/2006/relationships/slideLayout" Target="../slideLayouts/slideLayout28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9" Type="http://schemas.openxmlformats.org/officeDocument/2006/relationships/slideLayout" Target="../slideLayouts/slideLayout328.xml"/><Relationship Id="rId21" Type="http://schemas.openxmlformats.org/officeDocument/2006/relationships/slideLayout" Target="../slideLayouts/slideLayout310.xml"/><Relationship Id="rId34" Type="http://schemas.openxmlformats.org/officeDocument/2006/relationships/slideLayout" Target="../slideLayouts/slideLayout323.xml"/><Relationship Id="rId42" Type="http://schemas.openxmlformats.org/officeDocument/2006/relationships/image" Target="../media/image1.emf"/><Relationship Id="rId7" Type="http://schemas.openxmlformats.org/officeDocument/2006/relationships/slideLayout" Target="../slideLayouts/slideLayout296.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41" Type="http://schemas.openxmlformats.org/officeDocument/2006/relationships/theme" Target="../theme/theme6.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slideLayout" Target="../slideLayouts/slideLayout321.xml"/><Relationship Id="rId37" Type="http://schemas.openxmlformats.org/officeDocument/2006/relationships/slideLayout" Target="../slideLayouts/slideLayout326.xml"/><Relationship Id="rId40" Type="http://schemas.openxmlformats.org/officeDocument/2006/relationships/slideLayout" Target="../slideLayouts/slideLayout329.xml"/><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36" Type="http://schemas.openxmlformats.org/officeDocument/2006/relationships/slideLayout" Target="../slideLayouts/slideLayout32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4" Type="http://schemas.openxmlformats.org/officeDocument/2006/relationships/image" Target="../media/image3.svg"/><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35" Type="http://schemas.openxmlformats.org/officeDocument/2006/relationships/slideLayout" Target="../slideLayouts/slideLayout324.xml"/><Relationship Id="rId43" Type="http://schemas.openxmlformats.org/officeDocument/2006/relationships/image" Target="../media/image2.png"/><Relationship Id="rId8" Type="http://schemas.openxmlformats.org/officeDocument/2006/relationships/slideLayout" Target="../slideLayouts/slideLayout297.xml"/><Relationship Id="rId3" Type="http://schemas.openxmlformats.org/officeDocument/2006/relationships/slideLayout" Target="../slideLayouts/slideLayout292.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slideLayout" Target="../slideLayouts/slideLayout322.xml"/><Relationship Id="rId38" Type="http://schemas.openxmlformats.org/officeDocument/2006/relationships/slideLayout" Target="../slideLayouts/slideLayout3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6B07C2E4-0DFA-F8B9-B096-ECFDEA07D54A}"/>
              </a:ext>
              <a:ext uri="{C183D7F6-B498-43B3-948B-1728B52AA6E4}">
                <adec:decorative xmlns:adec="http://schemas.microsoft.com/office/drawing/2017/decorative" val="1"/>
              </a:ext>
            </a:extLst>
          </p:cNvPr>
          <p:cNvPicPr>
            <a:picLocks noChangeAspect="1"/>
          </p:cNvPicPr>
          <p:nvPr userDrawn="1"/>
        </p:nvPicPr>
        <p:blipFill rotWithShape="1">
          <a:blip r:embed="rId51"/>
          <a:srcRect l="370" t="1" r="531" b="29523"/>
          <a:stretch>
            <a:fillRect/>
          </a:stretch>
        </p:blipFill>
        <p:spPr>
          <a:xfrm rot="10800000" flipV="1">
            <a:off x="-9333" y="6675119"/>
            <a:ext cx="12201331" cy="182880"/>
          </a:xfrm>
          <a:prstGeom prst="rect">
            <a:avLst/>
          </a:prstGeom>
          <a:ln>
            <a:noFill/>
          </a:ln>
          <a:effectLst/>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2">
            <a:extLst>
              <a:ext uri="{96DAC541-7B7A-43D3-8B79-37D633B846F1}">
                <asvg:svgBlip xmlns:asvg="http://schemas.microsoft.com/office/drawing/2016/SVG/main" r:embed="rId5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418689686"/>
      </p:ext>
    </p:extLst>
  </p:cSld>
  <p:clrMap bg1="lt1" tx1="dk1" bg2="lt2" tx2="dk2" accent1="accent1" accent2="accent2" accent3="accent3" accent4="accent4" accent5="accent5" accent6="accent6" hlink="hlink" folHlink="folHlink"/>
  <p:sldLayoutIdLst>
    <p:sldLayoutId id="2147485808" r:id="rId1"/>
    <p:sldLayoutId id="2147485809" r:id="rId2"/>
    <p:sldLayoutId id="2147485810" r:id="rId3"/>
    <p:sldLayoutId id="2147485811" r:id="rId4"/>
    <p:sldLayoutId id="2147485824" r:id="rId5"/>
    <p:sldLayoutId id="2147485524" r:id="rId6"/>
    <p:sldLayoutId id="2147485827" r:id="rId7"/>
    <p:sldLayoutId id="2147485821" r:id="rId8"/>
    <p:sldLayoutId id="2147485822" r:id="rId9"/>
    <p:sldLayoutId id="2147485823" r:id="rId10"/>
    <p:sldLayoutId id="2147485829" r:id="rId11"/>
    <p:sldLayoutId id="2147485830" r:id="rId12"/>
    <p:sldLayoutId id="2147485828" r:id="rId13"/>
    <p:sldLayoutId id="2147485814" r:id="rId14"/>
    <p:sldLayoutId id="2147485815" r:id="rId15"/>
    <p:sldLayoutId id="2147485816" r:id="rId16"/>
    <p:sldLayoutId id="2147485817" r:id="rId17"/>
    <p:sldLayoutId id="2147485818" r:id="rId18"/>
    <p:sldLayoutId id="2147485819" r:id="rId19"/>
    <p:sldLayoutId id="2147485838" r:id="rId20"/>
    <p:sldLayoutId id="2147485839" r:id="rId21"/>
    <p:sldLayoutId id="2147485840" r:id="rId22"/>
    <p:sldLayoutId id="2147485732" r:id="rId23"/>
    <p:sldLayoutId id="2147485813" r:id="rId24"/>
    <p:sldLayoutId id="2147485820" r:id="rId25"/>
    <p:sldLayoutId id="2147485837" r:id="rId26"/>
    <p:sldLayoutId id="2147485826" r:id="rId27"/>
    <p:sldLayoutId id="2147485832" r:id="rId28"/>
    <p:sldLayoutId id="2147485833" r:id="rId29"/>
    <p:sldLayoutId id="2147485472" r:id="rId30"/>
    <p:sldLayoutId id="2147485473" r:id="rId31"/>
    <p:sldLayoutId id="2147485836" r:id="rId32"/>
    <p:sldLayoutId id="2147485831" r:id="rId33"/>
    <p:sldLayoutId id="2147485812" r:id="rId34"/>
    <p:sldLayoutId id="2147485462" r:id="rId35"/>
    <p:sldLayoutId id="2147485455" r:id="rId36"/>
    <p:sldLayoutId id="2147485459" r:id="rId37"/>
    <p:sldLayoutId id="2147485834" r:id="rId38"/>
    <p:sldLayoutId id="2147485835" r:id="rId39"/>
    <p:sldLayoutId id="2147485482" r:id="rId40"/>
    <p:sldLayoutId id="2147485841" r:id="rId41"/>
    <p:sldLayoutId id="2147485842" r:id="rId42"/>
    <p:sldLayoutId id="2147485843" r:id="rId43"/>
    <p:sldLayoutId id="2147485845" r:id="rId44"/>
    <p:sldLayoutId id="2147485846" r:id="rId45"/>
    <p:sldLayoutId id="2147485847" r:id="rId46"/>
    <p:sldLayoutId id="2147485848" r:id="rId47"/>
    <p:sldLayoutId id="2147485849" r:id="rId48"/>
    <p:sldLayoutId id="2147486094" r:id="rId4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Tx/>
        <a:buNone/>
        <a:tabLst/>
        <a:defRPr sz="2800" kern="1200" spc="0" baseline="0">
          <a:solidFill>
            <a:srgbClr val="091F2C"/>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userDrawn="1">
          <p15:clr>
            <a:srgbClr val="C35EA4"/>
          </p15:clr>
        </p15:guide>
        <p15:guide id="17" pos="7320" userDrawn="1">
          <p15:clr>
            <a:srgbClr val="C35EA4"/>
          </p15:clr>
        </p15:guide>
        <p15:guide id="25" orient="horz" pos="369">
          <p15:clr>
            <a:srgbClr val="C35EA4"/>
          </p15:clr>
        </p15:guide>
        <p15:guide id="26" orient="horz" pos="3949">
          <p15:clr>
            <a:srgbClr val="C35EA4"/>
          </p15:clr>
        </p15:guide>
        <p15:guide id="28" pos="192" userDrawn="1">
          <p15:clr>
            <a:srgbClr val="A4A3A4"/>
          </p15:clr>
        </p15:guide>
        <p15:guide id="29" orient="horz" pos="4135">
          <p15:clr>
            <a:srgbClr val="A4A3A4"/>
          </p15:clr>
        </p15:guide>
        <p15:guide id="30" pos="7488" userDrawn="1">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63E1FEEE-112B-02EA-2A33-B4B71AD51CD0}"/>
              </a:ext>
            </a:extLst>
          </p:cNvPr>
          <p:cNvSpPr/>
          <p:nvPr userDrawn="1"/>
        </p:nvSpPr>
        <p:spPr bwMode="auto">
          <a:xfrm>
            <a:off x="12410482" y="2"/>
            <a:ext cx="530159" cy="72286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ea typeface="Segoe UI" pitchFamily="34" charset="0"/>
              <a:cs typeface="Segoe UI" pitchFamily="34" charset="0"/>
            </a:endParaRPr>
          </a:p>
        </p:txBody>
      </p:sp>
      <p:sp>
        <p:nvSpPr>
          <p:cNvPr id="50" name="Rectangle: Single Corner Snipped 49">
            <a:extLst>
              <a:ext uri="{FF2B5EF4-FFF2-40B4-BE49-F238E27FC236}">
                <a16:creationId xmlns:a16="http://schemas.microsoft.com/office/drawing/2014/main" id="{E60A3D03-6048-C4DE-5E7A-26BA8E566B48}"/>
              </a:ext>
            </a:extLst>
          </p:cNvPr>
          <p:cNvSpPr/>
          <p:nvPr userDrawn="1"/>
        </p:nvSpPr>
        <p:spPr bwMode="auto">
          <a:xfrm flipV="1">
            <a:off x="12994851" y="2"/>
            <a:ext cx="530160" cy="722860"/>
          </a:xfrm>
          <a:prstGeom prst="snip1Rect">
            <a:avLst>
              <a:gd name="adj" fmla="val 41626"/>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58673699-9081-FA96-B0BB-C69FAC84C74F}"/>
              </a:ext>
            </a:extLst>
          </p:cNvPr>
          <p:cNvSpPr/>
          <p:nvPr userDrawn="1"/>
        </p:nvSpPr>
        <p:spPr bwMode="auto">
          <a:xfrm>
            <a:off x="12410482" y="1537243"/>
            <a:ext cx="530159" cy="722860"/>
          </a:xfrm>
          <a:prstGeom prst="rect">
            <a:avLst/>
          </a:prstGeom>
          <a:solidFill>
            <a:srgbClr val="3746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2" name="Rectangle: Single Corner Snipped 51">
            <a:extLst>
              <a:ext uri="{FF2B5EF4-FFF2-40B4-BE49-F238E27FC236}">
                <a16:creationId xmlns:a16="http://schemas.microsoft.com/office/drawing/2014/main" id="{E7D36249-54DA-4D92-3FAE-CADB419C311E}"/>
              </a:ext>
            </a:extLst>
          </p:cNvPr>
          <p:cNvSpPr/>
          <p:nvPr userDrawn="1"/>
        </p:nvSpPr>
        <p:spPr bwMode="auto">
          <a:xfrm flipV="1">
            <a:off x="12994851" y="1537242"/>
            <a:ext cx="530160" cy="722860"/>
          </a:xfrm>
          <a:prstGeom prst="snip1Rect">
            <a:avLst>
              <a:gd name="adj" fmla="val 39234"/>
            </a:avLst>
          </a:prstGeom>
          <a:solidFill>
            <a:srgbClr val="A7B9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C12DE7B7-6D48-157C-B67E-80676A5D1796}"/>
              </a:ext>
            </a:extLst>
          </p:cNvPr>
          <p:cNvSpPr/>
          <p:nvPr userDrawn="1"/>
        </p:nvSpPr>
        <p:spPr bwMode="auto">
          <a:xfrm>
            <a:off x="12410604" y="2305863"/>
            <a:ext cx="530159" cy="720557"/>
          </a:xfrm>
          <a:prstGeom prst="rect">
            <a:avLst/>
          </a:prstGeom>
          <a:solidFill>
            <a:srgbClr val="6A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solidFill>
                  <a:schemeClr val="bg1"/>
                </a:solidFill>
              </a:rPr>
              <a:t>Power Bi Dark</a:t>
            </a:r>
          </a:p>
        </p:txBody>
      </p:sp>
      <p:sp>
        <p:nvSpPr>
          <p:cNvPr id="59" name="Rectangle: Single Corner Snipped 58">
            <a:extLst>
              <a:ext uri="{FF2B5EF4-FFF2-40B4-BE49-F238E27FC236}">
                <a16:creationId xmlns:a16="http://schemas.microsoft.com/office/drawing/2014/main" id="{04704ADC-5A71-A7AC-08FB-98476ACD606B}"/>
              </a:ext>
            </a:extLst>
          </p:cNvPr>
          <p:cNvSpPr/>
          <p:nvPr userDrawn="1"/>
        </p:nvSpPr>
        <p:spPr bwMode="auto">
          <a:xfrm flipV="1">
            <a:off x="12995340" y="2305862"/>
            <a:ext cx="530160" cy="720557"/>
          </a:xfrm>
          <a:prstGeom prst="snip1Rect">
            <a:avLst>
              <a:gd name="adj" fmla="val 38037"/>
            </a:avLst>
          </a:prstGeom>
          <a:solidFill>
            <a:srgbClr val="F2CE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 Bi Light</a:t>
            </a:r>
          </a:p>
        </p:txBody>
      </p:sp>
      <p:sp>
        <p:nvSpPr>
          <p:cNvPr id="62" name="Rectangle 61">
            <a:extLst>
              <a:ext uri="{FF2B5EF4-FFF2-40B4-BE49-F238E27FC236}">
                <a16:creationId xmlns:a16="http://schemas.microsoft.com/office/drawing/2014/main" id="{56110A8D-D937-33BE-87D5-7E552688D3F2}"/>
              </a:ext>
            </a:extLst>
          </p:cNvPr>
          <p:cNvSpPr/>
          <p:nvPr userDrawn="1"/>
        </p:nvSpPr>
        <p:spPr bwMode="auto">
          <a:xfrm>
            <a:off x="12410727" y="3072180"/>
            <a:ext cx="530159" cy="720557"/>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solidFill>
                  <a:schemeClr val="bg1"/>
                </a:solidFill>
              </a:rPr>
              <a:t>Power</a:t>
            </a:r>
            <a:br>
              <a:rPr lang="en-US" sz="800" b="1">
                <a:solidFill>
                  <a:schemeClr val="bg1"/>
                </a:solidFill>
              </a:rPr>
            </a:br>
            <a:r>
              <a:rPr lang="en-US" sz="800" b="1">
                <a:solidFill>
                  <a:schemeClr val="bg1"/>
                </a:solidFill>
              </a:rPr>
              <a:t>Automate Dark</a:t>
            </a:r>
          </a:p>
        </p:txBody>
      </p:sp>
      <p:sp>
        <p:nvSpPr>
          <p:cNvPr id="63" name="Rectangle: Single Corner Snipped 62">
            <a:extLst>
              <a:ext uri="{FF2B5EF4-FFF2-40B4-BE49-F238E27FC236}">
                <a16:creationId xmlns:a16="http://schemas.microsoft.com/office/drawing/2014/main" id="{4F3699C4-A871-BEAC-0F44-134D67BDA5B2}"/>
              </a:ext>
            </a:extLst>
          </p:cNvPr>
          <p:cNvSpPr/>
          <p:nvPr userDrawn="1"/>
        </p:nvSpPr>
        <p:spPr bwMode="auto">
          <a:xfrm flipV="1">
            <a:off x="12995340" y="3072179"/>
            <a:ext cx="530160" cy="720557"/>
          </a:xfrm>
          <a:prstGeom prst="snip1Rect">
            <a:avLst>
              <a:gd name="adj" fmla="val 38037"/>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a:t>
            </a:r>
            <a:br>
              <a:rPr lang="en-US" sz="800" b="1">
                <a:solidFill>
                  <a:schemeClr val="tx1"/>
                </a:solidFill>
              </a:rPr>
            </a:br>
            <a:r>
              <a:rPr lang="en-US" sz="800" b="1">
                <a:solidFill>
                  <a:schemeClr val="tx1"/>
                </a:solidFill>
              </a:rPr>
              <a:t>Automate Light</a:t>
            </a:r>
          </a:p>
        </p:txBody>
      </p:sp>
      <p:sp>
        <p:nvSpPr>
          <p:cNvPr id="66" name="Rectangle 65">
            <a:extLst>
              <a:ext uri="{FF2B5EF4-FFF2-40B4-BE49-F238E27FC236}">
                <a16:creationId xmlns:a16="http://schemas.microsoft.com/office/drawing/2014/main" id="{4F6C4DB2-FFDC-E46B-7EB6-A1AD0A18E2AA}"/>
              </a:ext>
            </a:extLst>
          </p:cNvPr>
          <p:cNvSpPr/>
          <p:nvPr userDrawn="1"/>
        </p:nvSpPr>
        <p:spPr bwMode="auto">
          <a:xfrm>
            <a:off x="12410849" y="3838497"/>
            <a:ext cx="530159" cy="720557"/>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t>Power</a:t>
            </a:r>
            <a:br>
              <a:rPr lang="en-US" sz="800" b="1"/>
            </a:br>
            <a:r>
              <a:rPr lang="en-US" sz="800" b="1"/>
              <a:t>Apps</a:t>
            </a:r>
            <a:br>
              <a:rPr lang="en-US" sz="800" b="1"/>
            </a:br>
            <a:r>
              <a:rPr lang="en-US" sz="800" b="1"/>
              <a:t>Dark</a:t>
            </a:r>
          </a:p>
        </p:txBody>
      </p:sp>
      <p:sp>
        <p:nvSpPr>
          <p:cNvPr id="67" name="Rectangle: Single Corner Snipped 66">
            <a:extLst>
              <a:ext uri="{FF2B5EF4-FFF2-40B4-BE49-F238E27FC236}">
                <a16:creationId xmlns:a16="http://schemas.microsoft.com/office/drawing/2014/main" id="{05CDE5CD-D913-F954-8055-783E465DF50F}"/>
              </a:ext>
            </a:extLst>
          </p:cNvPr>
          <p:cNvSpPr/>
          <p:nvPr userDrawn="1"/>
        </p:nvSpPr>
        <p:spPr bwMode="auto">
          <a:xfrm flipV="1">
            <a:off x="12995340" y="3838496"/>
            <a:ext cx="530160" cy="720557"/>
          </a:xfrm>
          <a:prstGeom prst="snip1Rect">
            <a:avLst>
              <a:gd name="adj" fmla="val 30859"/>
            </a:avLst>
          </a:prstGeom>
          <a:solidFill>
            <a:srgbClr val="D59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a:t>
            </a:r>
            <a:br>
              <a:rPr lang="en-US" sz="800" b="1">
                <a:solidFill>
                  <a:schemeClr val="tx1"/>
                </a:solidFill>
              </a:rPr>
            </a:br>
            <a:r>
              <a:rPr lang="en-US" sz="800" b="1">
                <a:solidFill>
                  <a:schemeClr val="tx1"/>
                </a:solidFill>
              </a:rPr>
              <a:t>Apps</a:t>
            </a:r>
            <a:br>
              <a:rPr lang="en-US" sz="800" b="1">
                <a:solidFill>
                  <a:schemeClr val="tx1"/>
                </a:solidFill>
              </a:rPr>
            </a:br>
            <a:r>
              <a:rPr lang="en-US" sz="800" b="1">
                <a:solidFill>
                  <a:schemeClr val="tx1"/>
                </a:solidFill>
              </a:rPr>
              <a:t>Light</a:t>
            </a:r>
          </a:p>
        </p:txBody>
      </p:sp>
      <p:sp>
        <p:nvSpPr>
          <p:cNvPr id="68" name="Rectangle 67">
            <a:extLst>
              <a:ext uri="{FF2B5EF4-FFF2-40B4-BE49-F238E27FC236}">
                <a16:creationId xmlns:a16="http://schemas.microsoft.com/office/drawing/2014/main" id="{F966EBCE-C013-9EED-E9EB-BA17AA3E5C8F}"/>
              </a:ext>
            </a:extLst>
          </p:cNvPr>
          <p:cNvSpPr/>
          <p:nvPr userDrawn="1"/>
        </p:nvSpPr>
        <p:spPr bwMode="auto">
          <a:xfrm>
            <a:off x="12410970" y="4604814"/>
            <a:ext cx="530159" cy="72055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t>Power Virtual</a:t>
            </a:r>
            <a:br>
              <a:rPr lang="en-US" sz="800" b="1"/>
            </a:br>
            <a:r>
              <a:rPr lang="en-US" sz="800" b="1"/>
              <a:t>Agents Dark</a:t>
            </a:r>
          </a:p>
        </p:txBody>
      </p:sp>
      <p:sp>
        <p:nvSpPr>
          <p:cNvPr id="69" name="Rectangle: Single Corner Snipped 68">
            <a:extLst>
              <a:ext uri="{FF2B5EF4-FFF2-40B4-BE49-F238E27FC236}">
                <a16:creationId xmlns:a16="http://schemas.microsoft.com/office/drawing/2014/main" id="{13187A80-1B29-1AA7-E72E-CC324C7731B3}"/>
              </a:ext>
            </a:extLst>
          </p:cNvPr>
          <p:cNvSpPr/>
          <p:nvPr userDrawn="1"/>
        </p:nvSpPr>
        <p:spPr bwMode="auto">
          <a:xfrm flipV="1">
            <a:off x="12995340" y="4604813"/>
            <a:ext cx="530160" cy="720557"/>
          </a:xfrm>
          <a:prstGeom prst="snip1Rect">
            <a:avLst>
              <a:gd name="adj" fmla="val 21276"/>
            </a:avLst>
          </a:prstGeom>
          <a:solidFill>
            <a:srgbClr val="4CCB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27432" rIns="91440" bIns="27432" numCol="1" spcCol="0" rtlCol="0" fromWordArt="0" anchor="ctr" anchorCtr="0" forceAA="0" compatLnSpc="1">
            <a:prstTxWarp prst="textNoShape">
              <a:avLst/>
            </a:prstTxWarp>
            <a:noAutofit/>
          </a:bodyPr>
          <a:lstStyle/>
          <a:p>
            <a:pPr lvl="0" algn="ctr"/>
            <a:r>
              <a:rPr lang="en-US" sz="800" b="1">
                <a:solidFill>
                  <a:schemeClr val="tx1"/>
                </a:solidFill>
              </a:rPr>
              <a:t>Power Virtual</a:t>
            </a:r>
            <a:br>
              <a:rPr lang="en-US" sz="800" b="1">
                <a:solidFill>
                  <a:schemeClr val="tx1"/>
                </a:solidFill>
              </a:rPr>
            </a:br>
            <a:r>
              <a:rPr lang="en-US" sz="800" b="1">
                <a:solidFill>
                  <a:schemeClr val="tx1"/>
                </a:solidFill>
              </a:rPr>
              <a:t>Agents Light</a:t>
            </a:r>
          </a:p>
        </p:txBody>
      </p:sp>
      <p:sp>
        <p:nvSpPr>
          <p:cNvPr id="73" name="Rectangle 72">
            <a:extLst>
              <a:ext uri="{FF2B5EF4-FFF2-40B4-BE49-F238E27FC236}">
                <a16:creationId xmlns:a16="http://schemas.microsoft.com/office/drawing/2014/main" id="{68D432F4-C1DA-83AF-FC96-0CDD7996560C}"/>
              </a:ext>
            </a:extLst>
          </p:cNvPr>
          <p:cNvSpPr/>
          <p:nvPr userDrawn="1"/>
        </p:nvSpPr>
        <p:spPr bwMode="auto">
          <a:xfrm>
            <a:off x="12410849" y="5371131"/>
            <a:ext cx="530159" cy="720557"/>
          </a:xfrm>
          <a:prstGeom prst="rect">
            <a:avLst/>
          </a:prstGeom>
          <a:solidFill>
            <a:srgbClr val="2220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r>
              <a:rPr lang="en-US" sz="800" b="1"/>
              <a:t>Power</a:t>
            </a:r>
            <a:br>
              <a:rPr lang="en-US" sz="800" b="1"/>
            </a:br>
            <a:r>
              <a:rPr lang="en-US" sz="800" b="1"/>
              <a:t>Pages</a:t>
            </a:r>
            <a:r>
              <a:rPr lang="en-US" sz="800" b="1" kern="1200">
                <a:solidFill>
                  <a:schemeClr val="bg1"/>
                </a:solidFill>
                <a:latin typeface="+mn-lt"/>
                <a:ea typeface="+mn-ea"/>
                <a:cs typeface="+mn-cs"/>
              </a:rPr>
              <a:t> Dark</a:t>
            </a:r>
            <a:endParaRPr lang="en-US" sz="800" b="1"/>
          </a:p>
        </p:txBody>
      </p:sp>
      <p:sp>
        <p:nvSpPr>
          <p:cNvPr id="74" name="Rectangle: Single Corner Snipped 73">
            <a:extLst>
              <a:ext uri="{FF2B5EF4-FFF2-40B4-BE49-F238E27FC236}">
                <a16:creationId xmlns:a16="http://schemas.microsoft.com/office/drawing/2014/main" id="{5E28FDC9-01D2-1FE1-7F07-0906701CCACF}"/>
              </a:ext>
            </a:extLst>
          </p:cNvPr>
          <p:cNvSpPr/>
          <p:nvPr userDrawn="1"/>
        </p:nvSpPr>
        <p:spPr bwMode="auto">
          <a:xfrm flipV="1">
            <a:off x="12995340" y="5371130"/>
            <a:ext cx="530160" cy="720557"/>
          </a:xfrm>
          <a:prstGeom prst="snip1Rect">
            <a:avLst>
              <a:gd name="adj" fmla="val 33252"/>
            </a:avLst>
          </a:prstGeom>
          <a:solidFill>
            <a:srgbClr val="4B44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r>
              <a:rPr lang="en-US" sz="800" b="1">
                <a:solidFill>
                  <a:schemeClr val="bg1"/>
                </a:solidFill>
              </a:rPr>
              <a:t>Power</a:t>
            </a:r>
            <a:br>
              <a:rPr lang="en-US" sz="800" b="1">
                <a:solidFill>
                  <a:schemeClr val="bg1"/>
                </a:solidFill>
              </a:rPr>
            </a:br>
            <a:r>
              <a:rPr lang="en-US" sz="800" b="1">
                <a:solidFill>
                  <a:schemeClr val="bg1"/>
                </a:solidFill>
              </a:rPr>
              <a:t>Pages</a:t>
            </a:r>
            <a:r>
              <a:rPr lang="en-US" sz="800" b="1" kern="1200">
                <a:solidFill>
                  <a:schemeClr val="bg1"/>
                </a:solidFill>
                <a:latin typeface="+mn-lt"/>
                <a:ea typeface="+mn-ea"/>
                <a:cs typeface="+mn-cs"/>
              </a:rPr>
              <a:t> Light</a:t>
            </a:r>
            <a:endParaRPr lang="en-US" sz="800" b="1">
              <a:solidFill>
                <a:schemeClr val="bg1"/>
              </a:solidFill>
            </a:endParaRPr>
          </a:p>
        </p:txBody>
      </p:sp>
      <p:sp>
        <p:nvSpPr>
          <p:cNvPr id="91" name="Rectangle 90">
            <a:extLst>
              <a:ext uri="{FF2B5EF4-FFF2-40B4-BE49-F238E27FC236}">
                <a16:creationId xmlns:a16="http://schemas.microsoft.com/office/drawing/2014/main" id="{52B15FA5-6C54-48D2-5AF5-5F911096FD9C}"/>
              </a:ext>
            </a:extLst>
          </p:cNvPr>
          <p:cNvSpPr/>
          <p:nvPr userDrawn="1"/>
        </p:nvSpPr>
        <p:spPr bwMode="auto">
          <a:xfrm>
            <a:off x="12410970" y="6137444"/>
            <a:ext cx="530159" cy="720557"/>
          </a:xfrm>
          <a:prstGeom prst="rect">
            <a:avLst/>
          </a:prstGeom>
          <a:solidFill>
            <a:srgbClr val="1493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r>
              <a:rPr lang="en-US" sz="800" b="1"/>
              <a:t>Power</a:t>
            </a:r>
            <a:br>
              <a:rPr lang="en-US" sz="800" b="1"/>
            </a:br>
            <a:r>
              <a:rPr lang="en-US" sz="800" b="1"/>
              <a:t>Platform</a:t>
            </a:r>
            <a:r>
              <a:rPr lang="en-US" sz="800" b="1" kern="1200">
                <a:solidFill>
                  <a:schemeClr val="bg1"/>
                </a:solidFill>
                <a:latin typeface="+mn-lt"/>
                <a:ea typeface="+mn-ea"/>
                <a:cs typeface="+mn-cs"/>
              </a:rPr>
              <a:t> Dark</a:t>
            </a:r>
            <a:endParaRPr lang="en-US" sz="800" b="1"/>
          </a:p>
        </p:txBody>
      </p:sp>
      <p:sp>
        <p:nvSpPr>
          <p:cNvPr id="92" name="Rectangle: Single Corner Snipped 91">
            <a:extLst>
              <a:ext uri="{FF2B5EF4-FFF2-40B4-BE49-F238E27FC236}">
                <a16:creationId xmlns:a16="http://schemas.microsoft.com/office/drawing/2014/main" id="{FECDD228-E02E-C86F-8EE2-87C6C84F8F3E}"/>
              </a:ext>
            </a:extLst>
          </p:cNvPr>
          <p:cNvSpPr/>
          <p:nvPr userDrawn="1"/>
        </p:nvSpPr>
        <p:spPr bwMode="auto">
          <a:xfrm flipV="1">
            <a:off x="12995340" y="6137444"/>
            <a:ext cx="530160" cy="720557"/>
          </a:xfrm>
          <a:prstGeom prst="snip1Rect">
            <a:avLst>
              <a:gd name="adj" fmla="val 24878"/>
            </a:avLst>
          </a:prstGeom>
          <a:solidFill>
            <a:srgbClr val="4BC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r>
              <a:rPr lang="en-US" sz="800" b="1">
                <a:solidFill>
                  <a:schemeClr val="bg1"/>
                </a:solidFill>
              </a:rPr>
              <a:t>Power</a:t>
            </a:r>
            <a:br>
              <a:rPr lang="en-US" sz="800" b="1">
                <a:solidFill>
                  <a:schemeClr val="bg1"/>
                </a:solidFill>
              </a:rPr>
            </a:br>
            <a:r>
              <a:rPr lang="en-US" sz="800" b="1">
                <a:solidFill>
                  <a:schemeClr val="bg1"/>
                </a:solidFill>
              </a:rPr>
              <a:t>Platform</a:t>
            </a:r>
            <a:r>
              <a:rPr lang="en-US" sz="800" b="1" kern="1200">
                <a:solidFill>
                  <a:schemeClr val="bg1"/>
                </a:solidFill>
                <a:latin typeface="+mn-lt"/>
                <a:ea typeface="+mn-ea"/>
                <a:cs typeface="+mn-cs"/>
              </a:rPr>
              <a:t> Light</a:t>
            </a:r>
            <a:endParaRPr lang="en-US" sz="800" b="1">
              <a:solidFill>
                <a:schemeClr val="bg1"/>
              </a:solidFill>
            </a:endParaRPr>
          </a:p>
        </p:txBody>
      </p:sp>
      <p:sp>
        <p:nvSpPr>
          <p:cNvPr id="111" name="Rectangle 110">
            <a:extLst>
              <a:ext uri="{FF2B5EF4-FFF2-40B4-BE49-F238E27FC236}">
                <a16:creationId xmlns:a16="http://schemas.microsoft.com/office/drawing/2014/main" id="{BE7E2E2D-C6B1-5EA4-7349-83FF5DE2DBB6}"/>
              </a:ext>
            </a:extLst>
          </p:cNvPr>
          <p:cNvSpPr/>
          <p:nvPr userDrawn="1"/>
        </p:nvSpPr>
        <p:spPr bwMode="auto">
          <a:xfrm>
            <a:off x="12410482" y="768622"/>
            <a:ext cx="530159" cy="72286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ea typeface="Segoe UI" pitchFamily="34" charset="0"/>
              <a:cs typeface="Segoe UI" pitchFamily="34" charset="0"/>
            </a:endParaRPr>
          </a:p>
        </p:txBody>
      </p:sp>
      <p:sp>
        <p:nvSpPr>
          <p:cNvPr id="112" name="Rectangle: Single Corner Snipped 111">
            <a:extLst>
              <a:ext uri="{FF2B5EF4-FFF2-40B4-BE49-F238E27FC236}">
                <a16:creationId xmlns:a16="http://schemas.microsoft.com/office/drawing/2014/main" id="{7109F77D-50EF-7CD4-C093-4F6451C99DB6}"/>
              </a:ext>
            </a:extLst>
          </p:cNvPr>
          <p:cNvSpPr/>
          <p:nvPr userDrawn="1"/>
        </p:nvSpPr>
        <p:spPr bwMode="auto">
          <a:xfrm flipV="1">
            <a:off x="12994851" y="768622"/>
            <a:ext cx="530160" cy="722860"/>
          </a:xfrm>
          <a:prstGeom prst="snip1Rect">
            <a:avLst>
              <a:gd name="adj" fmla="val 41626"/>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115" name="Rectangle 114">
            <a:extLst>
              <a:ext uri="{FF2B5EF4-FFF2-40B4-BE49-F238E27FC236}">
                <a16:creationId xmlns:a16="http://schemas.microsoft.com/office/drawing/2014/main" id="{29425B8F-DEAE-2553-A34D-A142F1FCE2F5}"/>
              </a:ext>
            </a:extLst>
          </p:cNvPr>
          <p:cNvSpPr/>
          <p:nvPr userDrawn="1"/>
        </p:nvSpPr>
        <p:spPr bwMode="auto">
          <a:xfrm>
            <a:off x="13608553" y="0"/>
            <a:ext cx="134938" cy="2203733"/>
          </a:xfrm>
          <a:custGeom>
            <a:avLst/>
            <a:gdLst>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0 w 200025"/>
              <a:gd name="connsiteY4" fmla="*/ 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91440 w 200025"/>
              <a:gd name="connsiteY4" fmla="*/ 9144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Lst>
            <a:ahLst/>
            <a:cxnLst>
              <a:cxn ang="0">
                <a:pos x="connsiteX0" y="connsiteY0"/>
              </a:cxn>
              <a:cxn ang="0">
                <a:pos x="connsiteX1" y="connsiteY1"/>
              </a:cxn>
              <a:cxn ang="0">
                <a:pos x="connsiteX2" y="connsiteY2"/>
              </a:cxn>
              <a:cxn ang="0">
                <a:pos x="connsiteX3" y="connsiteY3"/>
              </a:cxn>
            </a:cxnLst>
            <a:rect l="l" t="t" r="r" b="b"/>
            <a:pathLst>
              <a:path w="200025" h="2203733">
                <a:moveTo>
                  <a:pt x="0" y="0"/>
                </a:moveTo>
                <a:lnTo>
                  <a:pt x="200025" y="0"/>
                </a:lnTo>
                <a:lnTo>
                  <a:pt x="200025" y="2203733"/>
                </a:lnTo>
                <a:lnTo>
                  <a:pt x="0" y="2203733"/>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7" name="TextBox 116">
            <a:extLst>
              <a:ext uri="{FF2B5EF4-FFF2-40B4-BE49-F238E27FC236}">
                <a16:creationId xmlns:a16="http://schemas.microsoft.com/office/drawing/2014/main" id="{D0EA6001-AA7F-ADE7-1D3C-E21D2ED694F6}"/>
              </a:ext>
            </a:extLst>
          </p:cNvPr>
          <p:cNvSpPr txBox="1"/>
          <p:nvPr userDrawn="1"/>
        </p:nvSpPr>
        <p:spPr>
          <a:xfrm rot="5400000">
            <a:off x="13119148" y="971060"/>
            <a:ext cx="1263926" cy="261610"/>
          </a:xfrm>
          <a:prstGeom prst="rect">
            <a:avLst/>
          </a:prstGeom>
          <a:solidFill>
            <a:srgbClr val="ECECEC"/>
          </a:solidFill>
        </p:spPr>
        <p:txBody>
          <a:bodyPr wrap="square">
            <a:spAutoFit/>
          </a:bodyPr>
          <a:lstStyle/>
          <a:p>
            <a:pPr marL="0" algn="ctr" defTabSz="914400" rtl="0" eaLnBrk="1" latinLnBrk="0" hangingPunct="1"/>
            <a:r>
              <a:rPr lang="en-US" sz="1100" b="1" kern="1200">
                <a:solidFill>
                  <a:schemeClr val="tx1"/>
                </a:solidFill>
                <a:latin typeface="+mn-lt"/>
                <a:ea typeface="+mn-ea"/>
                <a:cs typeface="+mn-cs"/>
              </a:rPr>
              <a:t>Universal Colors</a:t>
            </a:r>
          </a:p>
        </p:txBody>
      </p:sp>
      <p:sp>
        <p:nvSpPr>
          <p:cNvPr id="118" name="Rectangle 114">
            <a:extLst>
              <a:ext uri="{FF2B5EF4-FFF2-40B4-BE49-F238E27FC236}">
                <a16:creationId xmlns:a16="http://schemas.microsoft.com/office/drawing/2014/main" id="{BDC581B7-C25C-BC19-F5F3-9B5342F25487}"/>
              </a:ext>
            </a:extLst>
          </p:cNvPr>
          <p:cNvSpPr/>
          <p:nvPr userDrawn="1"/>
        </p:nvSpPr>
        <p:spPr bwMode="auto">
          <a:xfrm>
            <a:off x="13609637" y="2303703"/>
            <a:ext cx="134938" cy="4554297"/>
          </a:xfrm>
          <a:custGeom>
            <a:avLst/>
            <a:gdLst>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0 w 200025"/>
              <a:gd name="connsiteY4" fmla="*/ 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91440 w 200025"/>
              <a:gd name="connsiteY4" fmla="*/ 9144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Lst>
            <a:ahLst/>
            <a:cxnLst>
              <a:cxn ang="0">
                <a:pos x="connsiteX0" y="connsiteY0"/>
              </a:cxn>
              <a:cxn ang="0">
                <a:pos x="connsiteX1" y="connsiteY1"/>
              </a:cxn>
              <a:cxn ang="0">
                <a:pos x="connsiteX2" y="connsiteY2"/>
              </a:cxn>
              <a:cxn ang="0">
                <a:pos x="connsiteX3" y="connsiteY3"/>
              </a:cxn>
            </a:cxnLst>
            <a:rect l="l" t="t" r="r" b="b"/>
            <a:pathLst>
              <a:path w="200025" h="2203733">
                <a:moveTo>
                  <a:pt x="0" y="0"/>
                </a:moveTo>
                <a:lnTo>
                  <a:pt x="200025" y="0"/>
                </a:lnTo>
                <a:lnTo>
                  <a:pt x="200025" y="2203733"/>
                </a:lnTo>
                <a:lnTo>
                  <a:pt x="0" y="2203733"/>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9" name="TextBox 118">
            <a:extLst>
              <a:ext uri="{FF2B5EF4-FFF2-40B4-BE49-F238E27FC236}">
                <a16:creationId xmlns:a16="http://schemas.microsoft.com/office/drawing/2014/main" id="{26C18FCC-458B-3C39-F881-A647D9187BB2}"/>
              </a:ext>
            </a:extLst>
          </p:cNvPr>
          <p:cNvSpPr txBox="1"/>
          <p:nvPr userDrawn="1"/>
        </p:nvSpPr>
        <p:spPr>
          <a:xfrm rot="5400000">
            <a:off x="13162466" y="4258315"/>
            <a:ext cx="1177290" cy="261610"/>
          </a:xfrm>
          <a:prstGeom prst="rect">
            <a:avLst/>
          </a:prstGeom>
          <a:solidFill>
            <a:srgbClr val="ECECEC"/>
          </a:solidFill>
        </p:spPr>
        <p:txBody>
          <a:bodyPr wrap="square">
            <a:spAutoFit/>
          </a:bodyPr>
          <a:lstStyle/>
          <a:p>
            <a:pPr marL="0" algn="ctr" defTabSz="914400" rtl="0" eaLnBrk="1" latinLnBrk="0" hangingPunct="1"/>
            <a:r>
              <a:rPr lang="en-US" sz="1100" b="1" kern="1200">
                <a:solidFill>
                  <a:schemeClr val="tx1"/>
                </a:solidFill>
                <a:latin typeface="+mn-lt"/>
                <a:ea typeface="+mn-ea"/>
                <a:cs typeface="+mn-cs"/>
              </a:rPr>
              <a:t>Product Colors</a:t>
            </a:r>
          </a:p>
        </p:txBody>
      </p:sp>
      <p:sp>
        <p:nvSpPr>
          <p:cNvPr id="160" name="Rectangle 159">
            <a:extLst>
              <a:ext uri="{FF2B5EF4-FFF2-40B4-BE49-F238E27FC236}">
                <a16:creationId xmlns:a16="http://schemas.microsoft.com/office/drawing/2014/main" id="{0C48B22D-E877-46C2-C93F-2B0A8A391F90}"/>
              </a:ext>
            </a:extLst>
          </p:cNvPr>
          <p:cNvSpPr/>
          <p:nvPr userDrawn="1"/>
        </p:nvSpPr>
        <p:spPr bwMode="auto">
          <a:xfrm>
            <a:off x="13934970" y="0"/>
            <a:ext cx="530159" cy="72055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endParaRPr lang="en-US" sz="800" b="1"/>
          </a:p>
        </p:txBody>
      </p:sp>
      <p:sp>
        <p:nvSpPr>
          <p:cNvPr id="161" name="Rectangle: Single Corner Snipped 160">
            <a:extLst>
              <a:ext uri="{FF2B5EF4-FFF2-40B4-BE49-F238E27FC236}">
                <a16:creationId xmlns:a16="http://schemas.microsoft.com/office/drawing/2014/main" id="{13452B28-68E8-CE7E-FA9D-BD52B5D77B52}"/>
              </a:ext>
            </a:extLst>
          </p:cNvPr>
          <p:cNvSpPr/>
          <p:nvPr userDrawn="1"/>
        </p:nvSpPr>
        <p:spPr bwMode="auto">
          <a:xfrm flipV="1">
            <a:off x="14519340" y="0"/>
            <a:ext cx="530160" cy="720557"/>
          </a:xfrm>
          <a:prstGeom prst="snip1Rect">
            <a:avLst>
              <a:gd name="adj" fmla="val 24878"/>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endParaRPr lang="en-US" sz="800" b="1">
              <a:solidFill>
                <a:schemeClr val="bg1"/>
              </a:solidFill>
            </a:endParaRPr>
          </a:p>
        </p:txBody>
      </p:sp>
    </p:spTree>
    <p:extLst>
      <p:ext uri="{BB962C8B-B14F-4D97-AF65-F5344CB8AC3E}">
        <p14:creationId xmlns:p14="http://schemas.microsoft.com/office/powerpoint/2010/main" val="1200895194"/>
      </p:ext>
    </p:extLst>
  </p:cSld>
  <p:clrMap bg1="lt1" tx1="dk1" bg2="lt2" tx2="dk2" accent1="accent1" accent2="accent2" accent3="accent3" accent4="accent4" accent5="accent5" accent6="accent6" hlink="hlink" folHlink="folHlink"/>
  <p:sldLayoutIdLst>
    <p:sldLayoutId id="2147485851" r:id="rId1"/>
    <p:sldLayoutId id="2147485852" r:id="rId2"/>
    <p:sldLayoutId id="2147485853" r:id="rId3"/>
    <p:sldLayoutId id="2147485854" r:id="rId4"/>
    <p:sldLayoutId id="2147485855" r:id="rId5"/>
    <p:sldLayoutId id="2147485856" r:id="rId6"/>
    <p:sldLayoutId id="2147485857" r:id="rId7"/>
    <p:sldLayoutId id="2147485858" r:id="rId8"/>
    <p:sldLayoutId id="2147485859" r:id="rId9"/>
    <p:sldLayoutId id="2147485860" r:id="rId10"/>
    <p:sldLayoutId id="2147485861" r:id="rId11"/>
    <p:sldLayoutId id="2147485862" r:id="rId12"/>
    <p:sldLayoutId id="2147485863" r:id="rId13"/>
    <p:sldLayoutId id="2147485864" r:id="rId14"/>
    <p:sldLayoutId id="2147485865" r:id="rId15"/>
    <p:sldLayoutId id="2147485866" r:id="rId16"/>
    <p:sldLayoutId id="2147485867" r:id="rId17"/>
    <p:sldLayoutId id="2147485868" r:id="rId18"/>
    <p:sldLayoutId id="2147485869" r:id="rId19"/>
    <p:sldLayoutId id="2147485870" r:id="rId20"/>
    <p:sldLayoutId id="2147485871" r:id="rId21"/>
    <p:sldLayoutId id="2147485872" r:id="rId22"/>
    <p:sldLayoutId id="2147485873" r:id="rId23"/>
    <p:sldLayoutId id="2147485874" r:id="rId24"/>
    <p:sldLayoutId id="2147485875" r:id="rId25"/>
    <p:sldLayoutId id="2147485876" r:id="rId26"/>
    <p:sldLayoutId id="2147485877" r:id="rId27"/>
    <p:sldLayoutId id="2147485878" r:id="rId28"/>
    <p:sldLayoutId id="2147485879" r:id="rId29"/>
    <p:sldLayoutId id="2147485880" r:id="rId30"/>
    <p:sldLayoutId id="2147485881" r:id="rId31"/>
    <p:sldLayoutId id="2147485882" r:id="rId32"/>
    <p:sldLayoutId id="2147485883" r:id="rId33"/>
    <p:sldLayoutId id="2147485884" r:id="rId34"/>
    <p:sldLayoutId id="2147485885" r:id="rId35"/>
    <p:sldLayoutId id="2147485886" r:id="rId36"/>
    <p:sldLayoutId id="2147485887" r:id="rId37"/>
    <p:sldLayoutId id="2147485888" r:id="rId38"/>
    <p:sldLayoutId id="2147485889" r:id="rId39"/>
    <p:sldLayoutId id="2147485890" r:id="rId40"/>
    <p:sldLayoutId id="2147485891" r:id="rId41"/>
    <p:sldLayoutId id="2147485892" r:id="rId42"/>
    <p:sldLayoutId id="2147485893" r:id="rId43"/>
    <p:sldLayoutId id="2147485894" r:id="rId44"/>
    <p:sldLayoutId id="2147485895" r:id="rId45"/>
    <p:sldLayoutId id="2147485896" r:id="rId46"/>
    <p:sldLayoutId id="2147485897" r:id="rId47"/>
    <p:sldLayoutId id="2147485898" r:id="rId48"/>
    <p:sldLayoutId id="2147485899" r:id="rId49"/>
    <p:sldLayoutId id="2147485900" r:id="rId50"/>
    <p:sldLayoutId id="2147485901" r:id="rId51"/>
    <p:sldLayoutId id="2147485902" r:id="rId52"/>
    <p:sldLayoutId id="2147485903" r:id="rId53"/>
    <p:sldLayoutId id="2147485904" r:id="rId54"/>
    <p:sldLayoutId id="2147485905" r:id="rId55"/>
    <p:sldLayoutId id="2147485906" r:id="rId56"/>
    <p:sldLayoutId id="2147485907" r:id="rId57"/>
    <p:sldLayoutId id="2147485908" r:id="rId58"/>
    <p:sldLayoutId id="2147485909" r:id="rId59"/>
    <p:sldLayoutId id="2147485910" r:id="rId60"/>
    <p:sldLayoutId id="2147485911" r:id="rId61"/>
    <p:sldLayoutId id="2147485912" r:id="rId62"/>
    <p:sldLayoutId id="2147485913" r:id="rId63"/>
    <p:sldLayoutId id="2147485914" r:id="rId64"/>
    <p:sldLayoutId id="2147485915" r:id="rId65"/>
    <p:sldLayoutId id="2147485916" r:id="rId66"/>
    <p:sldLayoutId id="2147485917" r:id="rId67"/>
    <p:sldLayoutId id="2147485918" r:id="rId68"/>
    <p:sldLayoutId id="2147485919" r:id="rId69"/>
    <p:sldLayoutId id="2147485920" r:id="rId70"/>
    <p:sldLayoutId id="2147485921" r:id="rId71"/>
    <p:sldLayoutId id="2147485922"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52">
          <p15:clr>
            <a:srgbClr val="A4A3A4"/>
          </p15:clr>
        </p15:guide>
        <p15:guide id="30" pos="7488">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4">
            <a:extLst>
              <a:ext uri="{96DAC541-7B7A-43D3-8B79-37D633B846F1}">
                <asvg:svgBlip xmlns:asvg="http://schemas.microsoft.com/office/drawing/2016/SVG/main" r:embed="rId7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439756301"/>
      </p:ext>
    </p:extLst>
  </p:cSld>
  <p:clrMap bg1="lt1" tx1="dk1" bg2="lt2" tx2="dk2" accent1="accent1" accent2="accent2" accent3="accent3" accent4="accent4" accent5="accent5" accent6="accent6" hlink="hlink" folHlink="folHlink"/>
  <p:sldLayoutIdLst>
    <p:sldLayoutId id="2147485924" r:id="rId1"/>
    <p:sldLayoutId id="2147485925" r:id="rId2"/>
    <p:sldLayoutId id="2147485926" r:id="rId3"/>
    <p:sldLayoutId id="2147485927" r:id="rId4"/>
    <p:sldLayoutId id="2147485928" r:id="rId5"/>
    <p:sldLayoutId id="2147485929" r:id="rId6"/>
    <p:sldLayoutId id="2147485930" r:id="rId7"/>
    <p:sldLayoutId id="2147485931" r:id="rId8"/>
    <p:sldLayoutId id="2147485932" r:id="rId9"/>
    <p:sldLayoutId id="2147485933" r:id="rId10"/>
    <p:sldLayoutId id="2147485934" r:id="rId11"/>
    <p:sldLayoutId id="2147485935" r:id="rId12"/>
    <p:sldLayoutId id="2147485936" r:id="rId13"/>
    <p:sldLayoutId id="2147485937" r:id="rId14"/>
    <p:sldLayoutId id="2147485938" r:id="rId15"/>
    <p:sldLayoutId id="2147485939" r:id="rId16"/>
    <p:sldLayoutId id="2147485940" r:id="rId17"/>
    <p:sldLayoutId id="2147485941" r:id="rId18"/>
    <p:sldLayoutId id="2147485942" r:id="rId19"/>
    <p:sldLayoutId id="2147485943" r:id="rId20"/>
    <p:sldLayoutId id="2147485944" r:id="rId21"/>
    <p:sldLayoutId id="2147485945" r:id="rId22"/>
    <p:sldLayoutId id="2147485946" r:id="rId23"/>
    <p:sldLayoutId id="2147485947" r:id="rId24"/>
    <p:sldLayoutId id="2147485948" r:id="rId25"/>
    <p:sldLayoutId id="2147485949" r:id="rId26"/>
    <p:sldLayoutId id="2147485950" r:id="rId27"/>
    <p:sldLayoutId id="2147485951" r:id="rId28"/>
    <p:sldLayoutId id="2147485952" r:id="rId29"/>
    <p:sldLayoutId id="2147485953" r:id="rId30"/>
    <p:sldLayoutId id="2147485954" r:id="rId31"/>
    <p:sldLayoutId id="2147485955" r:id="rId32"/>
    <p:sldLayoutId id="2147485956" r:id="rId33"/>
    <p:sldLayoutId id="2147485957" r:id="rId34"/>
    <p:sldLayoutId id="2147485958" r:id="rId35"/>
    <p:sldLayoutId id="2147485959" r:id="rId36"/>
    <p:sldLayoutId id="2147485960" r:id="rId37"/>
    <p:sldLayoutId id="2147485961" r:id="rId38"/>
    <p:sldLayoutId id="2147485962" r:id="rId39"/>
    <p:sldLayoutId id="2147485963" r:id="rId40"/>
    <p:sldLayoutId id="2147485964" r:id="rId41"/>
    <p:sldLayoutId id="2147485965" r:id="rId42"/>
    <p:sldLayoutId id="2147485966" r:id="rId43"/>
    <p:sldLayoutId id="2147485967" r:id="rId44"/>
    <p:sldLayoutId id="2147485968" r:id="rId45"/>
    <p:sldLayoutId id="2147485969" r:id="rId46"/>
    <p:sldLayoutId id="2147485970" r:id="rId47"/>
    <p:sldLayoutId id="2147485971" r:id="rId48"/>
    <p:sldLayoutId id="2147485972" r:id="rId49"/>
    <p:sldLayoutId id="2147485973" r:id="rId50"/>
    <p:sldLayoutId id="2147485974" r:id="rId51"/>
    <p:sldLayoutId id="2147485975" r:id="rId52"/>
    <p:sldLayoutId id="2147485976" r:id="rId53"/>
    <p:sldLayoutId id="2147485977" r:id="rId54"/>
    <p:sldLayoutId id="2147485978" r:id="rId55"/>
    <p:sldLayoutId id="2147485979" r:id="rId56"/>
    <p:sldLayoutId id="2147485980" r:id="rId57"/>
    <p:sldLayoutId id="2147485981" r:id="rId58"/>
    <p:sldLayoutId id="2147485982" r:id="rId59"/>
    <p:sldLayoutId id="2147485983" r:id="rId60"/>
    <p:sldLayoutId id="2147485984" r:id="rId61"/>
    <p:sldLayoutId id="2147485985" r:id="rId62"/>
    <p:sldLayoutId id="2147485986" r:id="rId63"/>
    <p:sldLayoutId id="2147485987" r:id="rId64"/>
    <p:sldLayoutId id="2147485988" r:id="rId65"/>
    <p:sldLayoutId id="2147485989" r:id="rId66"/>
    <p:sldLayoutId id="2147485990" r:id="rId67"/>
    <p:sldLayoutId id="2147485991" r:id="rId68"/>
    <p:sldLayoutId id="2147485992" r:id="rId69"/>
    <p:sldLayoutId id="2147485993" r:id="rId70"/>
    <p:sldLayoutId id="2147485994" r:id="rId71"/>
    <p:sldLayoutId id="2147485995" r:id="rId7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23B2A0-7548-F3ED-CE7D-848EF15F132C}"/>
              </a:ext>
            </a:extLst>
          </p:cNvPr>
          <p:cNvGraphicFramePr>
            <a:graphicFrameLocks noChangeAspect="1"/>
          </p:cNvGraphicFramePr>
          <p:nvPr userDrawn="1">
            <p:custDataLst>
              <p:tags r:id="rId75"/>
            </p:custDataLst>
            <p:extLst>
              <p:ext uri="{D42A27DB-BD31-4B8C-83A1-F6EECF244321}">
                <p14:modId xmlns:p14="http://schemas.microsoft.com/office/powerpoint/2010/main" val="1780299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6" imgW="532" imgH="530" progId="TCLayout.ActiveDocument.1">
                  <p:embed/>
                </p:oleObj>
              </mc:Choice>
              <mc:Fallback>
                <p:oleObj name="think-cell Slide" r:id="rId76" imgW="532" imgH="530" progId="TCLayout.ActiveDocument.1">
                  <p:embed/>
                  <p:pic>
                    <p:nvPicPr>
                      <p:cNvPr id="6" name="think-cell data - do not delete" hidden="1">
                        <a:extLst>
                          <a:ext uri="{FF2B5EF4-FFF2-40B4-BE49-F238E27FC236}">
                            <a16:creationId xmlns:a16="http://schemas.microsoft.com/office/drawing/2014/main" id="{4823B2A0-7548-F3ED-CE7D-848EF15F132C}"/>
                          </a:ext>
                        </a:extLst>
                      </p:cNvPr>
                      <p:cNvPicPr/>
                      <p:nvPr/>
                    </p:nvPicPr>
                    <p:blipFill>
                      <a:blip r:embed="rId7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8">
            <a:extLst>
              <a:ext uri="{96DAC541-7B7A-43D3-8B79-37D633B846F1}">
                <asvg:svgBlip xmlns:asvg="http://schemas.microsoft.com/office/drawing/2016/SVG/main" r:embed="rId7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797193799"/>
      </p:ext>
    </p:extLst>
  </p:cSld>
  <p:clrMap bg1="lt1" tx1="dk1" bg2="lt2" tx2="dk2" accent1="accent1" accent2="accent2" accent3="accent3" accent4="accent4" accent5="accent5" accent6="accent6" hlink="hlink" folHlink="folHlink"/>
  <p:sldLayoutIdLst>
    <p:sldLayoutId id="2147485997" r:id="rId1"/>
    <p:sldLayoutId id="2147485998" r:id="rId2"/>
    <p:sldLayoutId id="2147485999" r:id="rId3"/>
    <p:sldLayoutId id="2147486000" r:id="rId4"/>
    <p:sldLayoutId id="2147486001" r:id="rId5"/>
    <p:sldLayoutId id="2147486002" r:id="rId6"/>
    <p:sldLayoutId id="2147486003" r:id="rId7"/>
    <p:sldLayoutId id="2147486004" r:id="rId8"/>
    <p:sldLayoutId id="2147486005" r:id="rId9"/>
    <p:sldLayoutId id="2147486006" r:id="rId10"/>
    <p:sldLayoutId id="2147486007" r:id="rId11"/>
    <p:sldLayoutId id="2147486008" r:id="rId12"/>
    <p:sldLayoutId id="2147486009" r:id="rId13"/>
    <p:sldLayoutId id="2147486010" r:id="rId14"/>
    <p:sldLayoutId id="2147486011" r:id="rId15"/>
    <p:sldLayoutId id="2147486012" r:id="rId16"/>
    <p:sldLayoutId id="2147486013" r:id="rId17"/>
    <p:sldLayoutId id="2147486014" r:id="rId18"/>
    <p:sldLayoutId id="2147486015" r:id="rId19"/>
    <p:sldLayoutId id="2147486016" r:id="rId20"/>
    <p:sldLayoutId id="2147486017" r:id="rId21"/>
    <p:sldLayoutId id="2147486018" r:id="rId22"/>
    <p:sldLayoutId id="2147486019" r:id="rId23"/>
    <p:sldLayoutId id="2147486020" r:id="rId24"/>
    <p:sldLayoutId id="2147486021" r:id="rId25"/>
    <p:sldLayoutId id="2147486022" r:id="rId26"/>
    <p:sldLayoutId id="2147486023" r:id="rId27"/>
    <p:sldLayoutId id="2147486024" r:id="rId28"/>
    <p:sldLayoutId id="2147486025" r:id="rId29"/>
    <p:sldLayoutId id="2147486026" r:id="rId30"/>
    <p:sldLayoutId id="2147486027" r:id="rId31"/>
    <p:sldLayoutId id="2147486028" r:id="rId32"/>
    <p:sldLayoutId id="2147486029" r:id="rId33"/>
    <p:sldLayoutId id="2147486030" r:id="rId34"/>
    <p:sldLayoutId id="2147486031" r:id="rId35"/>
    <p:sldLayoutId id="2147486032" r:id="rId36"/>
    <p:sldLayoutId id="2147486033" r:id="rId37"/>
    <p:sldLayoutId id="2147486034" r:id="rId38"/>
    <p:sldLayoutId id="2147486035" r:id="rId39"/>
    <p:sldLayoutId id="2147486036" r:id="rId40"/>
    <p:sldLayoutId id="2147486037" r:id="rId41"/>
    <p:sldLayoutId id="2147486038" r:id="rId42"/>
    <p:sldLayoutId id="2147486039" r:id="rId43"/>
    <p:sldLayoutId id="2147486040" r:id="rId44"/>
    <p:sldLayoutId id="2147486041" r:id="rId45"/>
    <p:sldLayoutId id="2147486042" r:id="rId46"/>
    <p:sldLayoutId id="2147486043" r:id="rId47"/>
    <p:sldLayoutId id="2147486044" r:id="rId48"/>
    <p:sldLayoutId id="2147486045" r:id="rId49"/>
    <p:sldLayoutId id="2147486046" r:id="rId50"/>
    <p:sldLayoutId id="2147486047" r:id="rId51"/>
    <p:sldLayoutId id="2147486048" r:id="rId52"/>
    <p:sldLayoutId id="2147486049" r:id="rId53"/>
    <p:sldLayoutId id="2147486050" r:id="rId54"/>
    <p:sldLayoutId id="2147486051" r:id="rId55"/>
    <p:sldLayoutId id="2147486052" r:id="rId56"/>
    <p:sldLayoutId id="2147486053" r:id="rId57"/>
    <p:sldLayoutId id="2147486054" r:id="rId58"/>
    <p:sldLayoutId id="2147486055" r:id="rId59"/>
    <p:sldLayoutId id="2147486056" r:id="rId60"/>
    <p:sldLayoutId id="2147486057" r:id="rId61"/>
    <p:sldLayoutId id="2147486058" r:id="rId62"/>
    <p:sldLayoutId id="2147486059" r:id="rId63"/>
    <p:sldLayoutId id="2147486060" r:id="rId64"/>
    <p:sldLayoutId id="2147486061" r:id="rId65"/>
    <p:sldLayoutId id="2147486062" r:id="rId66"/>
    <p:sldLayoutId id="2147486063" r:id="rId67"/>
    <p:sldLayoutId id="2147486064" r:id="rId68"/>
    <p:sldLayoutId id="2147486065" r:id="rId69"/>
    <p:sldLayoutId id="2147486066" r:id="rId70"/>
    <p:sldLayoutId id="2147486067" r:id="rId71"/>
    <p:sldLayoutId id="2147486068" r:id="rId72"/>
    <p:sldLayoutId id="2147486093" r:id="rId73"/>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guide id="32" pos="7512">
          <p15:clr>
            <a:srgbClr val="E97132"/>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25">
            <a:extLst>
              <a:ext uri="{96DAC541-7B7A-43D3-8B79-37D633B846F1}">
                <asvg:svgBlip xmlns:asvg="http://schemas.microsoft.com/office/drawing/2016/SVG/main" r:embed="rId2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854112810"/>
      </p:ext>
    </p:extLst>
  </p:cSld>
  <p:clrMap bg1="lt1" tx1="dk1" bg2="lt2" tx2="dk2" accent1="accent1" accent2="accent2" accent3="accent3" accent4="accent4" accent5="accent5" accent6="accent6" hlink="hlink" folHlink="folHlink"/>
  <p:sldLayoutIdLst>
    <p:sldLayoutId id="2147486070" r:id="rId1"/>
    <p:sldLayoutId id="2147486071" r:id="rId2"/>
    <p:sldLayoutId id="2147486072" r:id="rId3"/>
    <p:sldLayoutId id="2147486073" r:id="rId4"/>
    <p:sldLayoutId id="2147486074" r:id="rId5"/>
    <p:sldLayoutId id="2147486075" r:id="rId6"/>
    <p:sldLayoutId id="2147486076" r:id="rId7"/>
    <p:sldLayoutId id="2147486077" r:id="rId8"/>
    <p:sldLayoutId id="2147486078" r:id="rId9"/>
    <p:sldLayoutId id="2147486079" r:id="rId10"/>
    <p:sldLayoutId id="2147486080" r:id="rId11"/>
    <p:sldLayoutId id="2147486081" r:id="rId12"/>
    <p:sldLayoutId id="2147486082" r:id="rId13"/>
    <p:sldLayoutId id="2147486083" r:id="rId14"/>
    <p:sldLayoutId id="2147486084" r:id="rId15"/>
    <p:sldLayoutId id="2147486085" r:id="rId16"/>
    <p:sldLayoutId id="2147486086" r:id="rId17"/>
    <p:sldLayoutId id="2147486087" r:id="rId18"/>
    <p:sldLayoutId id="2147486088" r:id="rId19"/>
    <p:sldLayoutId id="2147486089" r:id="rId20"/>
    <p:sldLayoutId id="2147486090" r:id="rId21"/>
    <p:sldLayoutId id="2147486091" r:id="rId22"/>
    <p:sldLayoutId id="2147486092"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bwMode="blackWhite">
      <p:bgRef idx="1001">
        <a:schemeClr val="bg1"/>
      </p:bgRef>
    </p:bg>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6B07C2E4-0DFA-F8B9-B096-ECFDEA07D54A}"/>
              </a:ext>
              <a:ext uri="{C183D7F6-B498-43B3-948B-1728B52AA6E4}">
                <adec:decorative xmlns:adec="http://schemas.microsoft.com/office/drawing/2017/decorative" val="1"/>
              </a:ext>
            </a:extLst>
          </p:cNvPr>
          <p:cNvPicPr>
            <a:picLocks noChangeAspect="1"/>
          </p:cNvPicPr>
          <p:nvPr userDrawn="1"/>
        </p:nvPicPr>
        <p:blipFill rotWithShape="1">
          <a:blip r:embed="rId42"/>
          <a:srcRect l="370" t="1" r="531" b="29523"/>
          <a:stretch>
            <a:fillRect/>
          </a:stretch>
        </p:blipFill>
        <p:spPr>
          <a:xfrm rot="10800000" flipV="1">
            <a:off x="-9333" y="6675119"/>
            <a:ext cx="12201331" cy="182880"/>
          </a:xfrm>
          <a:prstGeom prst="rect">
            <a:avLst/>
          </a:prstGeom>
          <a:ln>
            <a:noFill/>
          </a:ln>
          <a:effectLst/>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43">
            <a:extLst>
              <a:ext uri="{96DAC541-7B7A-43D3-8B79-37D633B846F1}">
                <asvg:svgBlip xmlns:asvg="http://schemas.microsoft.com/office/drawing/2016/SVG/main" r:embed="rId4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877451240"/>
      </p:ext>
    </p:extLst>
  </p:cSld>
  <p:clrMap bg1="lt1" tx1="dk1" bg2="lt2" tx2="dk2" accent1="accent1" accent2="accent2" accent3="accent3" accent4="accent4" accent5="accent5" accent6="accent6" hlink="hlink" folHlink="folHlink"/>
  <p:sldLayoutIdLst>
    <p:sldLayoutId id="2147486096" r:id="rId1"/>
    <p:sldLayoutId id="2147486097" r:id="rId2"/>
    <p:sldLayoutId id="2147486098" r:id="rId3"/>
    <p:sldLayoutId id="2147486099" r:id="rId4"/>
    <p:sldLayoutId id="2147486100" r:id="rId5"/>
    <p:sldLayoutId id="2147486101" r:id="rId6"/>
    <p:sldLayoutId id="2147486102" r:id="rId7"/>
    <p:sldLayoutId id="2147486103" r:id="rId8"/>
    <p:sldLayoutId id="2147486104" r:id="rId9"/>
    <p:sldLayoutId id="2147486105" r:id="rId10"/>
    <p:sldLayoutId id="2147486106" r:id="rId11"/>
    <p:sldLayoutId id="2147486107" r:id="rId12"/>
    <p:sldLayoutId id="2147486108" r:id="rId13"/>
    <p:sldLayoutId id="2147486109" r:id="rId14"/>
    <p:sldLayoutId id="2147486110" r:id="rId15"/>
    <p:sldLayoutId id="2147486111" r:id="rId16"/>
    <p:sldLayoutId id="2147486112" r:id="rId17"/>
    <p:sldLayoutId id="2147486113" r:id="rId18"/>
    <p:sldLayoutId id="2147486114" r:id="rId19"/>
    <p:sldLayoutId id="2147486115" r:id="rId20"/>
    <p:sldLayoutId id="2147486116" r:id="rId21"/>
    <p:sldLayoutId id="2147486117" r:id="rId22"/>
    <p:sldLayoutId id="2147486118" r:id="rId23"/>
    <p:sldLayoutId id="2147486119" r:id="rId24"/>
    <p:sldLayoutId id="2147486120" r:id="rId25"/>
    <p:sldLayoutId id="2147486121" r:id="rId26"/>
    <p:sldLayoutId id="2147486122" r:id="rId27"/>
    <p:sldLayoutId id="2147486123" r:id="rId28"/>
    <p:sldLayoutId id="2147486124" r:id="rId29"/>
    <p:sldLayoutId id="2147486125" r:id="rId30"/>
    <p:sldLayoutId id="2147486126" r:id="rId31"/>
    <p:sldLayoutId id="2147486127" r:id="rId32"/>
    <p:sldLayoutId id="2147486128" r:id="rId33"/>
    <p:sldLayoutId id="2147486129" r:id="rId34"/>
    <p:sldLayoutId id="2147486130" r:id="rId35"/>
    <p:sldLayoutId id="2147486131" r:id="rId36"/>
    <p:sldLayoutId id="2147486132" r:id="rId37"/>
    <p:sldLayoutId id="2147486133" r:id="rId38"/>
    <p:sldLayoutId id="2147486134" r:id="rId39"/>
    <p:sldLayoutId id="2147486135"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Tx/>
        <a:buNone/>
        <a:tabLst/>
        <a:defRPr sz="2800" kern="1200" spc="0" baseline="0">
          <a:solidFill>
            <a:srgbClr val="091F2C"/>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4.xml"/><Relationship Id="rId1" Type="http://schemas.openxmlformats.org/officeDocument/2006/relationships/tags" Target="../tags/tag2.xml"/><Relationship Id="rId4" Type="http://schemas.openxmlformats.org/officeDocument/2006/relationships/image" Target="../media/image182.png"/></Relationships>
</file>

<file path=ppt/slides/_rels/slide11.xml.rels><?xml version="1.0" encoding="UTF-8" standalone="yes"?>
<Relationships xmlns="http://schemas.openxmlformats.org/package/2006/relationships"><Relationship Id="rId8" Type="http://schemas.openxmlformats.org/officeDocument/2006/relationships/image" Target="../media/image187.png"/><Relationship Id="rId13" Type="http://schemas.openxmlformats.org/officeDocument/2006/relationships/image" Target="../media/image192.svg"/><Relationship Id="rId18" Type="http://schemas.openxmlformats.org/officeDocument/2006/relationships/image" Target="../media/image197.png"/><Relationship Id="rId3" Type="http://schemas.openxmlformats.org/officeDocument/2006/relationships/notesSlide" Target="../notesSlides/notesSlide9.xml"/><Relationship Id="rId7" Type="http://schemas.openxmlformats.org/officeDocument/2006/relationships/image" Target="../media/image186.svg"/><Relationship Id="rId12" Type="http://schemas.openxmlformats.org/officeDocument/2006/relationships/image" Target="../media/image191.png"/><Relationship Id="rId17" Type="http://schemas.openxmlformats.org/officeDocument/2006/relationships/image" Target="../media/image196.png"/><Relationship Id="rId2" Type="http://schemas.openxmlformats.org/officeDocument/2006/relationships/slideLayout" Target="../slideLayouts/slideLayout45.xml"/><Relationship Id="rId16" Type="http://schemas.openxmlformats.org/officeDocument/2006/relationships/image" Target="../media/image195.png"/><Relationship Id="rId1" Type="http://schemas.openxmlformats.org/officeDocument/2006/relationships/tags" Target="../tags/tag3.xml"/><Relationship Id="rId6" Type="http://schemas.openxmlformats.org/officeDocument/2006/relationships/image" Target="../media/image185.png"/><Relationship Id="rId11" Type="http://schemas.openxmlformats.org/officeDocument/2006/relationships/image" Target="../media/image190.svg"/><Relationship Id="rId5" Type="http://schemas.openxmlformats.org/officeDocument/2006/relationships/image" Target="../media/image184.svg"/><Relationship Id="rId15" Type="http://schemas.openxmlformats.org/officeDocument/2006/relationships/image" Target="../media/image194.svg"/><Relationship Id="rId10" Type="http://schemas.openxmlformats.org/officeDocument/2006/relationships/image" Target="../media/image189.png"/><Relationship Id="rId19" Type="http://schemas.openxmlformats.org/officeDocument/2006/relationships/image" Target="../media/image198.png"/><Relationship Id="rId4" Type="http://schemas.openxmlformats.org/officeDocument/2006/relationships/image" Target="../media/image183.png"/><Relationship Id="rId9" Type="http://schemas.openxmlformats.org/officeDocument/2006/relationships/image" Target="../media/image188.svg"/><Relationship Id="rId14" Type="http://schemas.openxmlformats.org/officeDocument/2006/relationships/image" Target="../media/image193.png"/></Relationships>
</file>

<file path=ppt/slides/_rels/slide12.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0.xml"/><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8" Type="http://schemas.openxmlformats.org/officeDocument/2006/relationships/image" Target="../media/image204.png"/><Relationship Id="rId3" Type="http://schemas.openxmlformats.org/officeDocument/2006/relationships/image" Target="../media/image198.png"/><Relationship Id="rId7" Type="http://schemas.openxmlformats.org/officeDocument/2006/relationships/image" Target="../media/image203.png"/><Relationship Id="rId2" Type="http://schemas.openxmlformats.org/officeDocument/2006/relationships/notesSlide" Target="../notesSlides/notesSlide11.xml"/><Relationship Id="rId1" Type="http://schemas.openxmlformats.org/officeDocument/2006/relationships/slideLayout" Target="../slideLayouts/slideLayout46.xml"/><Relationship Id="rId6" Type="http://schemas.openxmlformats.org/officeDocument/2006/relationships/image" Target="../media/image202.svg"/><Relationship Id="rId5" Type="http://schemas.openxmlformats.org/officeDocument/2006/relationships/image" Target="../media/image201.png"/><Relationship Id="rId4" Type="http://schemas.openxmlformats.org/officeDocument/2006/relationships/image" Target="../media/image200.png"/><Relationship Id="rId9" Type="http://schemas.openxmlformats.org/officeDocument/2006/relationships/image" Target="../media/image205.png"/></Relationships>
</file>

<file path=ppt/slides/_rels/slide14.xml.rels><?xml version="1.0" encoding="UTF-8" standalone="yes"?>
<Relationships xmlns="http://schemas.openxmlformats.org/package/2006/relationships"><Relationship Id="rId8" Type="http://schemas.openxmlformats.org/officeDocument/2006/relationships/image" Target="../media/image211.png"/><Relationship Id="rId3" Type="http://schemas.openxmlformats.org/officeDocument/2006/relationships/image" Target="../media/image206.png"/><Relationship Id="rId7" Type="http://schemas.openxmlformats.org/officeDocument/2006/relationships/image" Target="../media/image210.png"/><Relationship Id="rId2" Type="http://schemas.openxmlformats.org/officeDocument/2006/relationships/notesSlide" Target="../notesSlides/notesSlide12.xml"/><Relationship Id="rId1" Type="http://schemas.openxmlformats.org/officeDocument/2006/relationships/slideLayout" Target="../slideLayouts/slideLayout77.xml"/><Relationship Id="rId6" Type="http://schemas.openxmlformats.org/officeDocument/2006/relationships/image" Target="../media/image209.jpeg"/><Relationship Id="rId11" Type="http://schemas.openxmlformats.org/officeDocument/2006/relationships/image" Target="../media/image214.png"/><Relationship Id="rId5" Type="http://schemas.openxmlformats.org/officeDocument/2006/relationships/image" Target="../media/image208.png"/><Relationship Id="rId10" Type="http://schemas.openxmlformats.org/officeDocument/2006/relationships/image" Target="../media/image213.png"/><Relationship Id="rId4" Type="http://schemas.openxmlformats.org/officeDocument/2006/relationships/image" Target="../media/image207.png"/><Relationship Id="rId9" Type="http://schemas.openxmlformats.org/officeDocument/2006/relationships/image" Target="../media/image212.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15.jpeg"/><Relationship Id="rId2" Type="http://schemas.openxmlformats.org/officeDocument/2006/relationships/notesSlide" Target="../notesSlides/notesSlide14.xml"/><Relationship Id="rId1" Type="http://schemas.openxmlformats.org/officeDocument/2006/relationships/slideLayout" Target="../slideLayouts/slideLayout207.xml"/><Relationship Id="rId5" Type="http://schemas.openxmlformats.org/officeDocument/2006/relationships/image" Target="../media/image217.png"/><Relationship Id="rId4" Type="http://schemas.openxmlformats.org/officeDocument/2006/relationships/image" Target="../media/image216.png"/></Relationships>
</file>

<file path=ppt/slides/_rels/slide17.xml.rels><?xml version="1.0" encoding="UTF-8" standalone="yes"?>
<Relationships xmlns="http://schemas.openxmlformats.org/package/2006/relationships"><Relationship Id="rId3" Type="http://schemas.openxmlformats.org/officeDocument/2006/relationships/image" Target="../media/image215.jpeg"/><Relationship Id="rId2" Type="http://schemas.openxmlformats.org/officeDocument/2006/relationships/notesSlide" Target="../notesSlides/notesSlide15.xml"/><Relationship Id="rId1" Type="http://schemas.openxmlformats.org/officeDocument/2006/relationships/slideLayout" Target="../slideLayouts/slideLayout207.xml"/><Relationship Id="rId5" Type="http://schemas.openxmlformats.org/officeDocument/2006/relationships/image" Target="../media/image218.png"/><Relationship Id="rId4" Type="http://schemas.openxmlformats.org/officeDocument/2006/relationships/image" Target="../media/image216.png"/></Relationships>
</file>

<file path=ppt/slides/_rels/slide18.xml.rels><?xml version="1.0" encoding="UTF-8" standalone="yes"?>
<Relationships xmlns="http://schemas.openxmlformats.org/package/2006/relationships"><Relationship Id="rId8" Type="http://schemas.openxmlformats.org/officeDocument/2006/relationships/hyperlink" Target="https://support.microsoft.com/en-us/topic/what-is-frontier-17c671e0-1906-4d9d-892c-68e11fbff4c7" TargetMode="External"/><Relationship Id="rId3" Type="http://schemas.openxmlformats.org/officeDocument/2006/relationships/slideLayout" Target="../slideLayouts/slideLayout207.xml"/><Relationship Id="rId7" Type="http://schemas.openxmlformats.org/officeDocument/2006/relationships/image" Target="../media/image219.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16.png"/><Relationship Id="rId5" Type="http://schemas.openxmlformats.org/officeDocument/2006/relationships/image" Target="../media/image215.jpeg"/><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8" Type="http://schemas.openxmlformats.org/officeDocument/2006/relationships/image" Target="../media/image222.png"/><Relationship Id="rId13" Type="http://schemas.openxmlformats.org/officeDocument/2006/relationships/image" Target="../media/image224.png"/><Relationship Id="rId18" Type="http://schemas.openxmlformats.org/officeDocument/2006/relationships/hyperlink" Target="https://techcommunity.microsoft.com/blog/microsoft365copilotblog/researcher-agent-in-microsoft-365-copilot/4397186" TargetMode="External"/><Relationship Id="rId3" Type="http://schemas.openxmlformats.org/officeDocument/2006/relationships/image" Target="../media/image220.png"/><Relationship Id="rId21" Type="http://schemas.openxmlformats.org/officeDocument/2006/relationships/image" Target="../media/image228.png"/><Relationship Id="rId7" Type="http://schemas.openxmlformats.org/officeDocument/2006/relationships/image" Target="../media/image221.png"/><Relationship Id="rId12" Type="http://schemas.openxmlformats.org/officeDocument/2006/relationships/hyperlink" Target="https://techcommunity.microsoft.com/blog/microsoftformsblog/shipped-surveys-agent-now-live-for-customers-in-microsoft-365-copilot-frontier-p/4444421" TargetMode="External"/><Relationship Id="rId17" Type="http://schemas.openxmlformats.org/officeDocument/2006/relationships/image" Target="../media/image226.png"/><Relationship Id="rId25" Type="http://schemas.openxmlformats.org/officeDocument/2006/relationships/image" Target="../media/image231.png"/><Relationship Id="rId2" Type="http://schemas.openxmlformats.org/officeDocument/2006/relationships/notesSlide" Target="../notesSlides/notesSlide17.xml"/><Relationship Id="rId16" Type="http://schemas.openxmlformats.org/officeDocument/2006/relationships/hyperlink" Target="https://techcommunity.microsoft.com/blog/spblog/introducing-knowledge-agent-in-sharepoint/4454154" TargetMode="External"/><Relationship Id="rId20" Type="http://schemas.openxmlformats.org/officeDocument/2006/relationships/hyperlink" Target="https://techcommunity.microsoft.com/blog/viva_engage_blog/introducing-agents-in-viva-engage-communities-your-ai-powered-community-expert/4454146" TargetMode="External"/><Relationship Id="rId1" Type="http://schemas.openxmlformats.org/officeDocument/2006/relationships/slideLayout" Target="../slideLayouts/slideLayout207.xml"/><Relationship Id="rId6" Type="http://schemas.openxmlformats.org/officeDocument/2006/relationships/hyperlink" Target="https://techcommunity.microsoft.com/blog/microsoft365insiderblog/introducing-channel-agent-in-teams/4455451" TargetMode="External"/><Relationship Id="rId11" Type="http://schemas.openxmlformats.org/officeDocument/2006/relationships/hyperlink" Target="https://adoption.microsoft.com/en-us/copilot/frontier-program/" TargetMode="External"/><Relationship Id="rId24" Type="http://schemas.openxmlformats.org/officeDocument/2006/relationships/image" Target="../media/image230.png"/><Relationship Id="rId5" Type="http://schemas.openxmlformats.org/officeDocument/2006/relationships/hyperlink" Target="https://adoption.microsoft.com/en-us/customer-hub/ai-agents/" TargetMode="External"/><Relationship Id="rId15" Type="http://schemas.openxmlformats.org/officeDocument/2006/relationships/hyperlink" Target="https://techcommunity.microsoft.com/blog/plannerblog/unleashing-the-power-of-agents-in-microsoft-planner/4304794" TargetMode="External"/><Relationship Id="rId23" Type="http://schemas.openxmlformats.org/officeDocument/2006/relationships/image" Target="../media/image229.png"/><Relationship Id="rId10" Type="http://schemas.openxmlformats.org/officeDocument/2006/relationships/image" Target="../media/image223.png"/><Relationship Id="rId19" Type="http://schemas.openxmlformats.org/officeDocument/2006/relationships/image" Target="../media/image227.png"/><Relationship Id="rId4" Type="http://schemas.openxmlformats.org/officeDocument/2006/relationships/image" Target="../media/image216.png"/><Relationship Id="rId9" Type="http://schemas.openxmlformats.org/officeDocument/2006/relationships/hyperlink" Target="https://techcommunity.microsoft.com/blog/microsoft365copilotblog/analyst-agent-in-microsoft-365-copilot/4397191" TargetMode="External"/><Relationship Id="rId14" Type="http://schemas.openxmlformats.org/officeDocument/2006/relationships/image" Target="../media/image225.png"/><Relationship Id="rId22" Type="http://schemas.openxmlformats.org/officeDocument/2006/relationships/hyperlink" Target="https://techcommunity.microsoft.com/blog/microsoft365copilotblog/introducing-new-agents-in-microsoft-365/4296918"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6.png"/><Relationship Id="rId7" Type="http://schemas.openxmlformats.org/officeDocument/2006/relationships/hyperlink" Target="https://aka.ms/CustomerHubSessions" TargetMode="External"/><Relationship Id="rId2" Type="http://schemas.openxmlformats.org/officeDocument/2006/relationships/image" Target="../media/image160.png"/><Relationship Id="rId1" Type="http://schemas.openxmlformats.org/officeDocument/2006/relationships/slideLayout" Target="../slideLayouts/slideLayout315.xml"/><Relationship Id="rId6" Type="http://schemas.microsoft.com/office/2007/relationships/hdphoto" Target="../media/hdphoto13.wdp"/><Relationship Id="rId5" Type="http://schemas.openxmlformats.org/officeDocument/2006/relationships/image" Target="../media/image161.png"/><Relationship Id="rId4" Type="http://schemas.openxmlformats.org/officeDocument/2006/relationships/image" Target="../media/image7.sv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6.xml"/></Relationships>
</file>

<file path=ppt/slides/_rels/slide21.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19.xml"/><Relationship Id="rId1" Type="http://schemas.openxmlformats.org/officeDocument/2006/relationships/slideLayout" Target="../slideLayouts/slideLayout284.xml"/><Relationship Id="rId5" Type="http://schemas.openxmlformats.org/officeDocument/2006/relationships/image" Target="../media/image234.png"/><Relationship Id="rId4" Type="http://schemas.openxmlformats.org/officeDocument/2006/relationships/image" Target="../media/image23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image" Target="../media/image239.png"/><Relationship Id="rId13" Type="http://schemas.openxmlformats.org/officeDocument/2006/relationships/image" Target="../media/image241.png"/><Relationship Id="rId3" Type="http://schemas.openxmlformats.org/officeDocument/2006/relationships/hyperlink" Target="https://adoption.microsoft.com/en-gb/ai-agents/templates-and-examples/" TargetMode="External"/><Relationship Id="rId7" Type="http://schemas.openxmlformats.org/officeDocument/2006/relationships/image" Target="../media/image238.png"/><Relationship Id="rId12" Type="http://schemas.openxmlformats.org/officeDocument/2006/relationships/image" Target="../media/image214.png"/><Relationship Id="rId2" Type="http://schemas.openxmlformats.org/officeDocument/2006/relationships/notesSlide" Target="../notesSlides/notesSlide21.xml"/><Relationship Id="rId16" Type="http://schemas.openxmlformats.org/officeDocument/2006/relationships/image" Target="../media/image244.png"/><Relationship Id="rId1" Type="http://schemas.openxmlformats.org/officeDocument/2006/relationships/slideLayout" Target="../slideLayouts/slideLayout47.xml"/><Relationship Id="rId6" Type="http://schemas.openxmlformats.org/officeDocument/2006/relationships/image" Target="../media/image237.png"/><Relationship Id="rId11" Type="http://schemas.openxmlformats.org/officeDocument/2006/relationships/image" Target="../media/image240.png"/><Relationship Id="rId5" Type="http://schemas.openxmlformats.org/officeDocument/2006/relationships/image" Target="../media/image236.png"/><Relationship Id="rId15" Type="http://schemas.openxmlformats.org/officeDocument/2006/relationships/image" Target="../media/image243.png"/><Relationship Id="rId10" Type="http://schemas.openxmlformats.org/officeDocument/2006/relationships/image" Target="../media/image213.png"/><Relationship Id="rId4" Type="http://schemas.openxmlformats.org/officeDocument/2006/relationships/image" Target="../media/image235.png"/><Relationship Id="rId9" Type="http://schemas.openxmlformats.org/officeDocument/2006/relationships/image" Target="../media/image212.png"/><Relationship Id="rId14" Type="http://schemas.openxmlformats.org/officeDocument/2006/relationships/image" Target="../media/image242.png"/></Relationships>
</file>

<file path=ppt/slides/_rels/slide24.xml.rels><?xml version="1.0" encoding="UTF-8" standalone="yes"?>
<Relationships xmlns="http://schemas.openxmlformats.org/package/2006/relationships"><Relationship Id="rId8" Type="http://schemas.openxmlformats.org/officeDocument/2006/relationships/image" Target="../media/image245.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2.xml"/><Relationship Id="rId1" Type="http://schemas.openxmlformats.org/officeDocument/2006/relationships/slideLayout" Target="../slideLayouts/slideLayout47.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247.png"/><Relationship Id="rId4" Type="http://schemas.openxmlformats.org/officeDocument/2006/relationships/diagramLayout" Target="../diagrams/layout1.xml"/><Relationship Id="rId9" Type="http://schemas.openxmlformats.org/officeDocument/2006/relationships/image" Target="../media/image246.png"/></Relationships>
</file>

<file path=ppt/slides/_rels/slide25.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23.xml"/><Relationship Id="rId1" Type="http://schemas.openxmlformats.org/officeDocument/2006/relationships/slideLayout" Target="../slideLayouts/slideLayout41.xml"/><Relationship Id="rId5" Type="http://schemas.openxmlformats.org/officeDocument/2006/relationships/image" Target="../media/image250.png"/><Relationship Id="rId4" Type="http://schemas.openxmlformats.org/officeDocument/2006/relationships/image" Target="../media/image249.png"/></Relationships>
</file>

<file path=ppt/slides/_rels/slide26.xml.rels><?xml version="1.0" encoding="UTF-8" standalone="yes"?>
<Relationships xmlns="http://schemas.openxmlformats.org/package/2006/relationships"><Relationship Id="rId3" Type="http://schemas.openxmlformats.org/officeDocument/2006/relationships/hyperlink" Target="https://learn.microsoft.com/en-us/microsoft-365-copilot/extensibility/declarative-agent-instructions" TargetMode="External"/><Relationship Id="rId2" Type="http://schemas.openxmlformats.org/officeDocument/2006/relationships/notesSlide" Target="../notesSlides/notesSlide24.xml"/><Relationship Id="rId1" Type="http://schemas.openxmlformats.org/officeDocument/2006/relationships/slideLayout" Target="../slideLayouts/slideLayout48.xml"/></Relationships>
</file>

<file path=ppt/slides/_rels/slide27.xml.rels><?xml version="1.0" encoding="UTF-8" standalone="yes"?>
<Relationships xmlns="http://schemas.openxmlformats.org/package/2006/relationships"><Relationship Id="rId3" Type="http://schemas.openxmlformats.org/officeDocument/2006/relationships/hyperlink" Target="https://learn.microsoft.com/en-us/microsoft-365-copilot/extensibility/declarative-agent-instructions" TargetMode="External"/><Relationship Id="rId2" Type="http://schemas.openxmlformats.org/officeDocument/2006/relationships/notesSlide" Target="../notesSlides/notesSlide25.xml"/><Relationship Id="rId1" Type="http://schemas.openxmlformats.org/officeDocument/2006/relationships/slideLayout" Target="../slideLayouts/slideLayout4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64.svg"/><Relationship Id="rId7" Type="http://schemas.openxmlformats.org/officeDocument/2006/relationships/image" Target="../media/image168.svg"/><Relationship Id="rId2" Type="http://schemas.openxmlformats.org/officeDocument/2006/relationships/image" Target="../media/image163.png"/><Relationship Id="rId1" Type="http://schemas.openxmlformats.org/officeDocument/2006/relationships/slideLayout" Target="../slideLayouts/slideLayout27.xml"/><Relationship Id="rId6" Type="http://schemas.openxmlformats.org/officeDocument/2006/relationships/image" Target="../media/image167.png"/><Relationship Id="rId5" Type="http://schemas.openxmlformats.org/officeDocument/2006/relationships/image" Target="../media/image166.svg"/><Relationship Id="rId4" Type="http://schemas.openxmlformats.org/officeDocument/2006/relationships/image" Target="../media/image165.png"/></Relationships>
</file>

<file path=ppt/slides/_rels/slide30.xml.rels><?xml version="1.0" encoding="UTF-8" standalone="yes"?>
<Relationships xmlns="http://schemas.openxmlformats.org/package/2006/relationships"><Relationship Id="rId8" Type="http://schemas.openxmlformats.org/officeDocument/2006/relationships/image" Target="../media/image253.png"/><Relationship Id="rId13" Type="http://schemas.openxmlformats.org/officeDocument/2006/relationships/image" Target="../media/image258.png"/><Relationship Id="rId18" Type="http://schemas.openxmlformats.org/officeDocument/2006/relationships/image" Target="../media/image263.png"/><Relationship Id="rId3" Type="http://schemas.openxmlformats.org/officeDocument/2006/relationships/hyperlink" Target="https://adoption.microsoft.com/en-us/ai-agents/templates-and-examples/" TargetMode="External"/><Relationship Id="rId7" Type="http://schemas.openxmlformats.org/officeDocument/2006/relationships/image" Target="../media/image252.png"/><Relationship Id="rId12" Type="http://schemas.openxmlformats.org/officeDocument/2006/relationships/image" Target="../media/image257.png"/><Relationship Id="rId17" Type="http://schemas.openxmlformats.org/officeDocument/2006/relationships/image" Target="../media/image262.png"/><Relationship Id="rId2" Type="http://schemas.openxmlformats.org/officeDocument/2006/relationships/notesSlide" Target="../notesSlides/notesSlide28.xml"/><Relationship Id="rId16" Type="http://schemas.openxmlformats.org/officeDocument/2006/relationships/image" Target="../media/image261.png"/><Relationship Id="rId1" Type="http://schemas.openxmlformats.org/officeDocument/2006/relationships/slideLayout" Target="../slideLayouts/slideLayout47.xml"/><Relationship Id="rId6" Type="http://schemas.openxmlformats.org/officeDocument/2006/relationships/image" Target="../media/image251.png"/><Relationship Id="rId11" Type="http://schemas.openxmlformats.org/officeDocument/2006/relationships/image" Target="../media/image256.png"/><Relationship Id="rId5" Type="http://schemas.openxmlformats.org/officeDocument/2006/relationships/image" Target="../media/image243.png"/><Relationship Id="rId15" Type="http://schemas.openxmlformats.org/officeDocument/2006/relationships/image" Target="../media/image260.png"/><Relationship Id="rId10" Type="http://schemas.openxmlformats.org/officeDocument/2006/relationships/image" Target="../media/image255.png"/><Relationship Id="rId19" Type="http://schemas.openxmlformats.org/officeDocument/2006/relationships/image" Target="../media/image264.png"/><Relationship Id="rId4" Type="http://schemas.openxmlformats.org/officeDocument/2006/relationships/hyperlink" Target="https://adoption.microsoft.com/en-gb/ai-agents/templates-and-examples/" TargetMode="External"/><Relationship Id="rId9" Type="http://schemas.openxmlformats.org/officeDocument/2006/relationships/image" Target="../media/image254.png"/><Relationship Id="rId14" Type="http://schemas.openxmlformats.org/officeDocument/2006/relationships/image" Target="../media/image259.png"/></Relationships>
</file>

<file path=ppt/slides/_rels/slide31.xml.rels><?xml version="1.0" encoding="UTF-8" standalone="yes"?>
<Relationships xmlns="http://schemas.openxmlformats.org/package/2006/relationships"><Relationship Id="rId3" Type="http://schemas.openxmlformats.org/officeDocument/2006/relationships/hyperlink" Target="https://adoption.microsoft.com/en-gb/ai-agents/templates-and-examples/" TargetMode="External"/><Relationship Id="rId2" Type="http://schemas.openxmlformats.org/officeDocument/2006/relationships/image" Target="../media/image265.png"/><Relationship Id="rId1" Type="http://schemas.openxmlformats.org/officeDocument/2006/relationships/slideLayout" Target="../slideLayouts/slideLayout47.xml"/></Relationships>
</file>

<file path=ppt/slides/_rels/slide32.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29.xml"/><Relationship Id="rId1" Type="http://schemas.openxmlformats.org/officeDocument/2006/relationships/slideLayout" Target="../slideLayouts/slideLayout47.xml"/><Relationship Id="rId5" Type="http://schemas.openxmlformats.org/officeDocument/2006/relationships/image" Target="../media/image265.png"/><Relationship Id="rId4" Type="http://schemas.openxmlformats.org/officeDocument/2006/relationships/image" Target="../media/image267.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8" Type="http://schemas.openxmlformats.org/officeDocument/2006/relationships/image" Target="../media/image258.png"/><Relationship Id="rId3" Type="http://schemas.openxmlformats.org/officeDocument/2006/relationships/image" Target="../media/image251.png"/><Relationship Id="rId7" Type="http://schemas.openxmlformats.org/officeDocument/2006/relationships/image" Target="../media/image257.png"/><Relationship Id="rId2" Type="http://schemas.openxmlformats.org/officeDocument/2006/relationships/notesSlide" Target="../notesSlides/notesSlide30.xml"/><Relationship Id="rId1" Type="http://schemas.openxmlformats.org/officeDocument/2006/relationships/slideLayout" Target="../slideLayouts/slideLayout47.xml"/><Relationship Id="rId6" Type="http://schemas.openxmlformats.org/officeDocument/2006/relationships/image" Target="../media/image256.png"/><Relationship Id="rId5" Type="http://schemas.openxmlformats.org/officeDocument/2006/relationships/image" Target="../media/image255.png"/><Relationship Id="rId4" Type="http://schemas.openxmlformats.org/officeDocument/2006/relationships/image" Target="../media/image254.png"/><Relationship Id="rId9" Type="http://schemas.openxmlformats.org/officeDocument/2006/relationships/image" Target="../media/image261.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hyperlink" Target="https://forms.office.com/r/BF1haKJsF1" TargetMode="External"/><Relationship Id="rId1" Type="http://schemas.openxmlformats.org/officeDocument/2006/relationships/slideLayout" Target="../slideLayouts/slideLayout48.xml"/></Relationships>
</file>

<file path=ppt/slides/_rels/slide38.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268.png"/><Relationship Id="rId1" Type="http://schemas.openxmlformats.org/officeDocument/2006/relationships/slideLayout" Target="../slideLayouts/slideLayout26.xml"/><Relationship Id="rId5" Type="http://schemas.openxmlformats.org/officeDocument/2006/relationships/image" Target="../media/image269.png"/><Relationship Id="rId4" Type="http://schemas.openxmlformats.org/officeDocument/2006/relationships/hyperlink" Target="https://adoption.microsoft.com/ai-agents/"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33.xml"/><Relationship Id="rId1" Type="http://schemas.openxmlformats.org/officeDocument/2006/relationships/slideLayout" Target="../slideLayouts/slideLayout21.xml"/><Relationship Id="rId6" Type="http://schemas.openxmlformats.org/officeDocument/2006/relationships/hyperlink" Target="https://aka.ms/unified" TargetMode="External"/><Relationship Id="rId5" Type="http://schemas.openxmlformats.org/officeDocument/2006/relationships/hyperlink" Target="https://aka.ms/AMC/FASTTRACK" TargetMode="External"/><Relationship Id="rId4" Type="http://schemas.openxmlformats.org/officeDocument/2006/relationships/hyperlink" Target="https://cloudpartners.transform.microsoft.com/copilot-directory"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8" Type="http://schemas.openxmlformats.org/officeDocument/2006/relationships/image" Target="../media/image271.png"/><Relationship Id="rId3" Type="http://schemas.openxmlformats.org/officeDocument/2006/relationships/image" Target="../media/image6.png"/><Relationship Id="rId7" Type="http://schemas.openxmlformats.org/officeDocument/2006/relationships/hyperlink" Target="https://aka.ms/CustomerHubSessions" TargetMode="External"/><Relationship Id="rId2" Type="http://schemas.openxmlformats.org/officeDocument/2006/relationships/image" Target="../media/image160.png"/><Relationship Id="rId1" Type="http://schemas.openxmlformats.org/officeDocument/2006/relationships/slideLayout" Target="../slideLayouts/slideLayout26.xml"/><Relationship Id="rId6" Type="http://schemas.microsoft.com/office/2007/relationships/hdphoto" Target="../media/hdphoto15.wdp"/><Relationship Id="rId5" Type="http://schemas.openxmlformats.org/officeDocument/2006/relationships/image" Target="../media/image270.png"/><Relationship Id="rId4" Type="http://schemas.openxmlformats.org/officeDocument/2006/relationships/image" Target="../media/image7.svg"/></Relationships>
</file>

<file path=ppt/slides/_rels/slide41.xml.rels><?xml version="1.0" encoding="UTF-8" standalone="yes"?>
<Relationships xmlns="http://schemas.openxmlformats.org/package/2006/relationships"><Relationship Id="rId3" Type="http://schemas.openxmlformats.org/officeDocument/2006/relationships/hyperlink" Target="https://aka.ms/M365Champions" TargetMode="External"/><Relationship Id="rId2" Type="http://schemas.openxmlformats.org/officeDocument/2006/relationships/image" Target="../media/image1.emf"/><Relationship Id="rId1" Type="http://schemas.openxmlformats.org/officeDocument/2006/relationships/slideLayout" Target="../slideLayouts/slideLayout21.xml"/><Relationship Id="rId5" Type="http://schemas.openxmlformats.org/officeDocument/2006/relationships/image" Target="../media/image273.svg"/><Relationship Id="rId4" Type="http://schemas.openxmlformats.org/officeDocument/2006/relationships/image" Target="../media/image272.png"/></Relationships>
</file>

<file path=ppt/slides/_rels/slide42.xml.rels><?xml version="1.0" encoding="UTF-8" standalone="yes"?>
<Relationships xmlns="http://schemas.openxmlformats.org/package/2006/relationships"><Relationship Id="rId3" Type="http://schemas.openxmlformats.org/officeDocument/2006/relationships/hyperlink" Target="https://aka.ms/CustomerHubSurvey" TargetMode="External"/><Relationship Id="rId2" Type="http://schemas.openxmlformats.org/officeDocument/2006/relationships/image" Target="../media/image274.png"/><Relationship Id="rId1" Type="http://schemas.openxmlformats.org/officeDocument/2006/relationships/slideLayout" Target="../slideLayouts/slideLayout22.xml"/><Relationship Id="rId5" Type="http://schemas.microsoft.com/office/2007/relationships/hdphoto" Target="../media/hdphoto16.wdp"/><Relationship Id="rId4" Type="http://schemas.openxmlformats.org/officeDocument/2006/relationships/image" Target="../media/image275.png"/></Relationships>
</file>

<file path=ppt/slides/_rels/slide43.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34.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69.jpeg"/><Relationship Id="rId2" Type="http://schemas.openxmlformats.org/officeDocument/2006/relationships/notesSlide" Target="../notesSlides/notesSlide4.xml"/><Relationship Id="rId1" Type="http://schemas.openxmlformats.org/officeDocument/2006/relationships/slideLayout" Target="../slideLayouts/slideLayout41.xml"/><Relationship Id="rId4" Type="http://schemas.openxmlformats.org/officeDocument/2006/relationships/image" Target="../media/image170.png"/></Relationships>
</file>

<file path=ppt/slides/_rels/slide7.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171.png"/><Relationship Id="rId7" Type="http://schemas.openxmlformats.org/officeDocument/2006/relationships/image" Target="../media/image175.png"/><Relationship Id="rId2" Type="http://schemas.openxmlformats.org/officeDocument/2006/relationships/notesSlide" Target="../notesSlides/notesSlide5.xml"/><Relationship Id="rId1" Type="http://schemas.openxmlformats.org/officeDocument/2006/relationships/slideLayout" Target="../slideLayouts/slideLayout42.xml"/><Relationship Id="rId6" Type="http://schemas.openxmlformats.org/officeDocument/2006/relationships/image" Target="../media/image174.svg"/><Relationship Id="rId11" Type="http://schemas.openxmlformats.org/officeDocument/2006/relationships/image" Target="../media/image179.svg"/><Relationship Id="rId5" Type="http://schemas.openxmlformats.org/officeDocument/2006/relationships/image" Target="../media/image173.png"/><Relationship Id="rId10" Type="http://schemas.openxmlformats.org/officeDocument/2006/relationships/image" Target="../media/image178.png"/><Relationship Id="rId4" Type="http://schemas.openxmlformats.org/officeDocument/2006/relationships/image" Target="../media/image172.svg"/><Relationship Id="rId9" Type="http://schemas.openxmlformats.org/officeDocument/2006/relationships/image" Target="../media/image177.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7.xml"/><Relationship Id="rId1" Type="http://schemas.openxmlformats.org/officeDocument/2006/relationships/slideLayout" Target="../slideLayouts/slideLayout43.xml"/><Relationship Id="rId4" Type="http://schemas.openxmlformats.org/officeDocument/2006/relationships/image" Target="../media/image18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0A61A9-49AA-B8BE-EEF7-EE610AE2884A}"/>
              </a:ext>
            </a:extLst>
          </p:cNvPr>
          <p:cNvSpPr>
            <a:spLocks noGrp="1"/>
          </p:cNvSpPr>
          <p:nvPr>
            <p:ph type="title"/>
          </p:nvPr>
        </p:nvSpPr>
        <p:spPr>
          <a:xfrm>
            <a:off x="591450" y="2511166"/>
            <a:ext cx="5163891" cy="1754326"/>
          </a:xfrm>
          <a:prstGeom prst="rect">
            <a:avLst/>
          </a:prstGeom>
        </p:spPr>
        <p:txBody>
          <a:bodyPr/>
          <a:lstStyle/>
          <a:p>
            <a:r>
              <a:rPr lang="en-US"/>
              <a:t>Agents in an hour</a:t>
            </a:r>
          </a:p>
        </p:txBody>
      </p:sp>
      <p:sp>
        <p:nvSpPr>
          <p:cNvPr id="2" name="Text Placeholder 1">
            <a:extLst>
              <a:ext uri="{FF2B5EF4-FFF2-40B4-BE49-F238E27FC236}">
                <a16:creationId xmlns:a16="http://schemas.microsoft.com/office/drawing/2014/main" id="{79C55DFC-05C3-5211-7C8C-01629B2A242D}"/>
              </a:ext>
            </a:extLst>
          </p:cNvPr>
          <p:cNvSpPr>
            <a:spLocks noGrp="1"/>
          </p:cNvSpPr>
          <p:nvPr>
            <p:ph type="body" sz="quarter" idx="10"/>
          </p:nvPr>
        </p:nvSpPr>
        <p:spPr>
          <a:prstGeom prst="rect">
            <a:avLst/>
          </a:prstGeom>
        </p:spPr>
        <p:txBody>
          <a:bodyPr/>
          <a:lstStyle/>
          <a:p>
            <a:pPr lvl="0" defTabSz="457200">
              <a:lnSpc>
                <a:spcPct val="90000"/>
              </a:lnSpc>
              <a:spcBef>
                <a:spcPts val="0"/>
              </a:spcBef>
              <a:buSzTx/>
              <a:defRPr/>
            </a:pPr>
            <a:r>
              <a:rPr lang="en-GB">
                <a:solidFill>
                  <a:prstClr val="white"/>
                </a:solidFill>
                <a:latin typeface="Segoe Sans Display" pitchFamily="2" charset="0"/>
              </a:rPr>
              <a:t>Unlock the Power of Agent Templates and Examples in Agent Builder</a:t>
            </a:r>
            <a:endParaRPr lang="en-US">
              <a:solidFill>
                <a:prstClr val="white"/>
              </a:solidFill>
              <a:latin typeface="Segoe Sans Display" pitchFamily="2" charset="0"/>
            </a:endParaRPr>
          </a:p>
        </p:txBody>
      </p:sp>
      <p:sp>
        <p:nvSpPr>
          <p:cNvPr id="3" name="object 33">
            <a:extLst>
              <a:ext uri="{FF2B5EF4-FFF2-40B4-BE49-F238E27FC236}">
                <a16:creationId xmlns:a16="http://schemas.microsoft.com/office/drawing/2014/main" id="{C933D51D-CF35-A3D9-6F54-C62823178A79}"/>
              </a:ext>
            </a:extLst>
          </p:cNvPr>
          <p:cNvSpPr txBox="1">
            <a:spLocks/>
          </p:cNvSpPr>
          <p:nvPr/>
        </p:nvSpPr>
        <p:spPr>
          <a:xfrm>
            <a:off x="571500" y="6410684"/>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0" lvl="0" indent="0" algn="l" defTabSz="914400" rtl="0" eaLnBrk="1" fontAlgn="auto" latinLnBrk="0" hangingPunct="1">
              <a:lnSpc>
                <a:spcPct val="100000"/>
              </a:lnSpc>
              <a:spcBef>
                <a:spcPts val="150"/>
              </a:spcBef>
              <a:spcAft>
                <a:spcPts val="0"/>
              </a:spcAft>
              <a:buClrTx/>
              <a:buSzTx/>
              <a:buFontTx/>
              <a:buNone/>
              <a:tabLst/>
              <a:defRPr/>
            </a:pPr>
            <a:r>
              <a:rPr kumimoji="0" lang="en-US" sz="800" b="0" i="0" u="none" strike="noStrike" kern="100" cap="none" spc="0" normalizeH="0" baseline="0" noProof="0">
                <a:ln>
                  <a:noFill/>
                </a:ln>
                <a:solidFill>
                  <a:prstClr val="white"/>
                </a:solidFill>
                <a:effectLst/>
                <a:uLnTx/>
                <a:uFillTx/>
                <a:latin typeface="Segoe Sans Small" pitchFamily="2" charset="0"/>
                <a:ea typeface="+mn-ea"/>
                <a:cs typeface="Segoe Sans Small" pitchFamily="2" charset="0"/>
              </a:rPr>
              <a:t>Microsoft </a:t>
            </a:r>
            <a:r>
              <a:rPr kumimoji="0" lang="en-US" sz="800" b="0" i="0" u="none" strike="noStrike" kern="1200" cap="none" spc="0" normalizeH="0" baseline="0" noProof="0">
                <a:ln>
                  <a:noFill/>
                </a:ln>
                <a:solidFill>
                  <a:prstClr val="white"/>
                </a:solidFill>
                <a:effectLst/>
                <a:uLnTx/>
                <a:uFillTx/>
                <a:latin typeface="Segoe Sans Small" pitchFamily="2" charset="0"/>
                <a:ea typeface="+mn-ea"/>
                <a:cs typeface="Segoe Sans Small" pitchFamily="2" charset="0"/>
              </a:rPr>
              <a:t>confidential</a:t>
            </a:r>
            <a:endParaRPr kumimoji="0" lang="en-US" sz="800" b="0" i="0" u="none" strike="noStrike" kern="100" cap="none" spc="0" normalizeH="0" baseline="0" noProof="0">
              <a:ln>
                <a:noFill/>
              </a:ln>
              <a:solidFill>
                <a:prstClr val="white"/>
              </a:solidFill>
              <a:effectLst/>
              <a:uLnTx/>
              <a:uFillTx/>
              <a:latin typeface="Segoe Sans Small" pitchFamily="2" charset="0"/>
              <a:ea typeface="+mn-ea"/>
              <a:cs typeface="Segoe Sans Small" pitchFamily="2" charset="0"/>
            </a:endParaRPr>
          </a:p>
        </p:txBody>
      </p:sp>
    </p:spTree>
    <p:extLst>
      <p:ext uri="{BB962C8B-B14F-4D97-AF65-F5344CB8AC3E}">
        <p14:creationId xmlns:p14="http://schemas.microsoft.com/office/powerpoint/2010/main" val="9662935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9E8C73-E705-18A2-9CB3-6A00462DF6A2}"/>
            </a:ext>
          </a:extLst>
        </p:cNvPr>
        <p:cNvGrpSpPr/>
        <p:nvPr/>
      </p:nvGrpSpPr>
      <p:grpSpPr>
        <a:xfrm>
          <a:off x="0" y="0"/>
          <a:ext cx="0" cy="0"/>
          <a:chOff x="0" y="0"/>
          <a:chExt cx="0" cy="0"/>
        </a:xfrm>
      </p:grpSpPr>
      <p:sp>
        <p:nvSpPr>
          <p:cNvPr id="199" name="Graphic 197">
            <a:extLst>
              <a:ext uri="{FF2B5EF4-FFF2-40B4-BE49-F238E27FC236}">
                <a16:creationId xmlns:a16="http://schemas.microsoft.com/office/drawing/2014/main" id="{3D62C5A0-BA5F-94F9-4CAE-F535B85302BF}"/>
              </a:ext>
              <a:ext uri="{C183D7F6-B498-43B3-948B-1728B52AA6E4}">
                <adec:decorative xmlns:adec="http://schemas.microsoft.com/office/drawing/2017/decorative" val="1"/>
              </a:ext>
            </a:extLst>
          </p:cNvPr>
          <p:cNvSpPr>
            <a:spLocks/>
          </p:cNvSpPr>
          <p:nvPr/>
        </p:nvSpPr>
        <p:spPr>
          <a:xfrm>
            <a:off x="171450" y="1687547"/>
            <a:ext cx="11846451" cy="698294"/>
          </a:xfrm>
          <a:custGeom>
            <a:avLst/>
            <a:gdLst>
              <a:gd name="connsiteX0" fmla="*/ 18288 w 11846451"/>
              <a:gd name="connsiteY0" fmla="*/ 304176 h 698294"/>
              <a:gd name="connsiteX1" fmla="*/ 315665 w 11846451"/>
              <a:gd name="connsiteY1" fmla="*/ 6796 h 698294"/>
              <a:gd name="connsiteX2" fmla="*/ 352278 w 11846451"/>
              <a:gd name="connsiteY2" fmla="*/ 6796 h 698294"/>
              <a:gd name="connsiteX3" fmla="*/ 359861 w 11846451"/>
              <a:gd name="connsiteY3" fmla="*/ 25103 h 698294"/>
              <a:gd name="connsiteX4" fmla="*/ 359861 w 11846451"/>
              <a:gd name="connsiteY4" fmla="*/ 92978 h 698294"/>
              <a:gd name="connsiteX5" fmla="*/ 422364 w 11846451"/>
              <a:gd name="connsiteY5" fmla="*/ 155481 h 698294"/>
              <a:gd name="connsiteX6" fmla="*/ 11412665 w 11846451"/>
              <a:gd name="connsiteY6" fmla="*/ 155481 h 698294"/>
              <a:gd name="connsiteX7" fmla="*/ 11494580 w 11846451"/>
              <a:gd name="connsiteY7" fmla="*/ 73585 h 698294"/>
              <a:gd name="connsiteX8" fmla="*/ 11494580 w 11846451"/>
              <a:gd name="connsiteY8" fmla="*/ 44496 h 698294"/>
              <a:gd name="connsiteX9" fmla="*/ 11528489 w 11846451"/>
              <a:gd name="connsiteY9" fmla="*/ 10577 h 698294"/>
              <a:gd name="connsiteX10" fmla="*/ 11552491 w 11846451"/>
              <a:gd name="connsiteY10" fmla="*/ 20512 h 698294"/>
              <a:gd name="connsiteX11" fmla="*/ 11822431 w 11846451"/>
              <a:gd name="connsiteY11" fmla="*/ 290460 h 698294"/>
              <a:gd name="connsiteX12" fmla="*/ 11822431 w 11846451"/>
              <a:gd name="connsiteY12" fmla="*/ 406284 h 698294"/>
              <a:gd name="connsiteX13" fmla="*/ 11552491 w 11846451"/>
              <a:gd name="connsiteY13" fmla="*/ 676213 h 698294"/>
              <a:gd name="connsiteX14" fmla="*/ 11504486 w 11846451"/>
              <a:gd name="connsiteY14" fmla="*/ 676213 h 698294"/>
              <a:gd name="connsiteX15" fmla="*/ 11494580 w 11846451"/>
              <a:gd name="connsiteY15" fmla="*/ 652229 h 698294"/>
              <a:gd name="connsiteX16" fmla="*/ 11494580 w 11846451"/>
              <a:gd name="connsiteY16" fmla="*/ 623140 h 698294"/>
              <a:gd name="connsiteX17" fmla="*/ 11412665 w 11846451"/>
              <a:gd name="connsiteY17" fmla="*/ 541244 h 698294"/>
              <a:gd name="connsiteX18" fmla="*/ 422364 w 11846451"/>
              <a:gd name="connsiteY18" fmla="*/ 541244 h 698294"/>
              <a:gd name="connsiteX19" fmla="*/ 359861 w 11846451"/>
              <a:gd name="connsiteY19" fmla="*/ 603747 h 698294"/>
              <a:gd name="connsiteX20" fmla="*/ 359861 w 11846451"/>
              <a:gd name="connsiteY20" fmla="*/ 671622 h 698294"/>
              <a:gd name="connsiteX21" fmla="*/ 333970 w 11846451"/>
              <a:gd name="connsiteY21" fmla="*/ 697511 h 698294"/>
              <a:gd name="connsiteX22" fmla="*/ 315664 w 11846451"/>
              <a:gd name="connsiteY22" fmla="*/ 689929 h 698294"/>
              <a:gd name="connsiteX23" fmla="*/ 18289 w 11846451"/>
              <a:gd name="connsiteY23" fmla="*/ 392568 h 698294"/>
              <a:gd name="connsiteX24" fmla="*/ 18288 w 11846451"/>
              <a:gd name="connsiteY24" fmla="*/ 304176 h 698294"/>
              <a:gd name="connsiteX25" fmla="*/ 18288 w 11846451"/>
              <a:gd name="connsiteY25" fmla="*/ 304176 h 69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846451" h="698294">
                <a:moveTo>
                  <a:pt x="18288" y="304176"/>
                </a:moveTo>
                <a:lnTo>
                  <a:pt x="315665" y="6796"/>
                </a:lnTo>
                <a:cubicBezTo>
                  <a:pt x="325774" y="-3310"/>
                  <a:pt x="342167" y="-3310"/>
                  <a:pt x="352278" y="6796"/>
                </a:cubicBezTo>
                <a:cubicBezTo>
                  <a:pt x="357133" y="11654"/>
                  <a:pt x="359861" y="18235"/>
                  <a:pt x="359861" y="25103"/>
                </a:cubicBezTo>
                <a:lnTo>
                  <a:pt x="359861" y="92978"/>
                </a:lnTo>
                <a:cubicBezTo>
                  <a:pt x="359861" y="127497"/>
                  <a:pt x="387844" y="155481"/>
                  <a:pt x="422364" y="155481"/>
                </a:cubicBezTo>
                <a:lnTo>
                  <a:pt x="11412665" y="155481"/>
                </a:lnTo>
                <a:cubicBezTo>
                  <a:pt x="11457909" y="155481"/>
                  <a:pt x="11494580" y="118819"/>
                  <a:pt x="11494580" y="73585"/>
                </a:cubicBezTo>
                <a:lnTo>
                  <a:pt x="11494580" y="44496"/>
                </a:lnTo>
                <a:cubicBezTo>
                  <a:pt x="11494580" y="25760"/>
                  <a:pt x="11509724" y="10577"/>
                  <a:pt x="11528489" y="10577"/>
                </a:cubicBezTo>
                <a:cubicBezTo>
                  <a:pt x="11537538" y="10577"/>
                  <a:pt x="11546110" y="14149"/>
                  <a:pt x="11552491" y="20512"/>
                </a:cubicBezTo>
                <a:lnTo>
                  <a:pt x="11822431" y="290460"/>
                </a:lnTo>
                <a:cubicBezTo>
                  <a:pt x="11854435" y="322445"/>
                  <a:pt x="11854435" y="374299"/>
                  <a:pt x="11822431" y="406284"/>
                </a:cubicBezTo>
                <a:lnTo>
                  <a:pt x="11552491" y="676213"/>
                </a:lnTo>
                <a:cubicBezTo>
                  <a:pt x="11539252" y="689462"/>
                  <a:pt x="11517726" y="689462"/>
                  <a:pt x="11504486" y="676213"/>
                </a:cubicBezTo>
                <a:cubicBezTo>
                  <a:pt x="11498199" y="669850"/>
                  <a:pt x="11494580" y="661221"/>
                  <a:pt x="11494580" y="652229"/>
                </a:cubicBezTo>
                <a:lnTo>
                  <a:pt x="11494580" y="623140"/>
                </a:lnTo>
                <a:cubicBezTo>
                  <a:pt x="11494580" y="577905"/>
                  <a:pt x="11457909" y="541244"/>
                  <a:pt x="11412665" y="541244"/>
                </a:cubicBezTo>
                <a:lnTo>
                  <a:pt x="422364" y="541244"/>
                </a:lnTo>
                <a:cubicBezTo>
                  <a:pt x="387844" y="541244"/>
                  <a:pt x="359861" y="569228"/>
                  <a:pt x="359861" y="603747"/>
                </a:cubicBezTo>
                <a:lnTo>
                  <a:pt x="359861" y="671622"/>
                </a:lnTo>
                <a:cubicBezTo>
                  <a:pt x="359861" y="685919"/>
                  <a:pt x="348269" y="697511"/>
                  <a:pt x="333970" y="697511"/>
                </a:cubicBezTo>
                <a:cubicBezTo>
                  <a:pt x="327104" y="697511"/>
                  <a:pt x="320519" y="694787"/>
                  <a:pt x="315664" y="689929"/>
                </a:cubicBezTo>
                <a:lnTo>
                  <a:pt x="18289" y="392568"/>
                </a:lnTo>
                <a:cubicBezTo>
                  <a:pt x="-6119" y="368155"/>
                  <a:pt x="-6120" y="328589"/>
                  <a:pt x="18288" y="304176"/>
                </a:cubicBezTo>
                <a:cubicBezTo>
                  <a:pt x="18288" y="304176"/>
                  <a:pt x="18288" y="304176"/>
                  <a:pt x="18288" y="304176"/>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000000"/>
              </a:solidFill>
              <a:effectLst/>
              <a:uLnTx/>
              <a:uFillTx/>
              <a:latin typeface="Segoe UI"/>
              <a:ea typeface="+mn-ea"/>
              <a:cs typeface="Segoe UI Semibold" panose="020B0502040204020203" pitchFamily="34" charset="0"/>
            </a:endParaRPr>
          </a:p>
        </p:txBody>
      </p:sp>
      <p:pic>
        <p:nvPicPr>
          <p:cNvPr id="65" name="Picture 64">
            <a:extLst>
              <a:ext uri="{FF2B5EF4-FFF2-40B4-BE49-F238E27FC236}">
                <a16:creationId xmlns:a16="http://schemas.microsoft.com/office/drawing/2014/main" id="{7CED751B-9B21-0E9E-BDAC-B743287D42EF}"/>
              </a:ext>
              <a:ext uri="{C183D7F6-B498-43B3-948B-1728B52AA6E4}">
                <adec:decorative xmlns:adec="http://schemas.microsoft.com/office/drawing/2017/decorative" val="1"/>
              </a:ext>
            </a:extLst>
          </p:cNvPr>
          <p:cNvPicPr>
            <a:picLocks/>
          </p:cNvPicPr>
          <p:nvPr/>
        </p:nvPicPr>
        <p:blipFill rotWithShape="1">
          <a:blip r:embed="rId4">
            <a:alphaModFix amt="45000"/>
          </a:blip>
          <a:srcRect l="7533" t="35613" r="65955" b="15124"/>
          <a:stretch/>
        </p:blipFill>
        <p:spPr>
          <a:xfrm>
            <a:off x="587374" y="2347804"/>
            <a:ext cx="11017254" cy="3690067"/>
          </a:xfrm>
          <a:prstGeom prst="roundRect">
            <a:avLst>
              <a:gd name="adj" fmla="val 47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68" name="Rectangle: Rounded Corners 67">
            <a:extLst>
              <a:ext uri="{FF2B5EF4-FFF2-40B4-BE49-F238E27FC236}">
                <a16:creationId xmlns:a16="http://schemas.microsoft.com/office/drawing/2014/main" id="{78872B9C-6B24-D12C-18D3-A6B2CCE4416C}"/>
              </a:ext>
              <a:ext uri="{C183D7F6-B498-43B3-948B-1728B52AA6E4}">
                <adec:decorative xmlns:adec="http://schemas.microsoft.com/office/drawing/2017/decorative" val="1"/>
              </a:ext>
            </a:extLst>
          </p:cNvPr>
          <p:cNvSpPr>
            <a:spLocks/>
          </p:cNvSpPr>
          <p:nvPr/>
        </p:nvSpPr>
        <p:spPr bwMode="auto">
          <a:xfrm>
            <a:off x="754914" y="2744483"/>
            <a:ext cx="10682172" cy="460605"/>
          </a:xfrm>
          <a:prstGeom prst="roundRect">
            <a:avLst>
              <a:gd name="adj" fmla="val 12430"/>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0" name="TextBox 69">
            <a:extLst>
              <a:ext uri="{FF2B5EF4-FFF2-40B4-BE49-F238E27FC236}">
                <a16:creationId xmlns:a16="http://schemas.microsoft.com/office/drawing/2014/main" id="{233A7341-BAE1-DE61-E3C7-449FB1EE390E}"/>
              </a:ext>
              <a:ext uri="{C183D7F6-B498-43B3-948B-1728B52AA6E4}">
                <adec:decorative xmlns:adec="http://schemas.microsoft.com/office/drawing/2017/decorative" val="1"/>
              </a:ext>
            </a:extLst>
          </p:cNvPr>
          <p:cNvSpPr txBox="1">
            <a:spLocks/>
          </p:cNvSpPr>
          <p:nvPr/>
        </p:nvSpPr>
        <p:spPr>
          <a:xfrm>
            <a:off x="838683" y="3677255"/>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71" name="TextBox 70">
            <a:extLst>
              <a:ext uri="{FF2B5EF4-FFF2-40B4-BE49-F238E27FC236}">
                <a16:creationId xmlns:a16="http://schemas.microsoft.com/office/drawing/2014/main" id="{3F15E6EC-8770-93F5-B928-BD207A7F1B71}"/>
              </a:ext>
              <a:ext uri="{C183D7F6-B498-43B3-948B-1728B52AA6E4}">
                <adec:decorative xmlns:adec="http://schemas.microsoft.com/office/drawing/2017/decorative" val="1"/>
              </a:ext>
            </a:extLst>
          </p:cNvPr>
          <p:cNvSpPr txBox="1">
            <a:spLocks/>
          </p:cNvSpPr>
          <p:nvPr/>
        </p:nvSpPr>
        <p:spPr>
          <a:xfrm>
            <a:off x="4371503" y="3677255"/>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742" fontAlgn="base">
              <a:lnSpc>
                <a:spcPct val="100000"/>
              </a:lnSpc>
              <a:spcBef>
                <a:spcPct val="0"/>
              </a:spcBef>
              <a:spcAft>
                <a:spcPct val="0"/>
              </a:spcAft>
              <a:buClrTx/>
              <a:buSzTx/>
              <a:buFontTx/>
              <a:buNone/>
              <a:tabLst/>
              <a:defRPr kumimoji="0" sz="2000" b="0" i="0" u="none" strike="noStrike" cap="none" spc="-50" normalizeH="0" baseline="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mj-lt"/>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72" name="TextBox 71">
            <a:extLst>
              <a:ext uri="{FF2B5EF4-FFF2-40B4-BE49-F238E27FC236}">
                <a16:creationId xmlns:a16="http://schemas.microsoft.com/office/drawing/2014/main" id="{87997BF2-7DC2-BAEB-1534-37FC596F526B}"/>
              </a:ext>
              <a:ext uri="{C183D7F6-B498-43B3-948B-1728B52AA6E4}">
                <adec:decorative xmlns:adec="http://schemas.microsoft.com/office/drawing/2017/decorative" val="1"/>
              </a:ext>
            </a:extLst>
          </p:cNvPr>
          <p:cNvSpPr txBox="1">
            <a:spLocks/>
          </p:cNvSpPr>
          <p:nvPr/>
        </p:nvSpPr>
        <p:spPr>
          <a:xfrm>
            <a:off x="7904325" y="3677256"/>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742" fontAlgn="base">
              <a:lnSpc>
                <a:spcPct val="100000"/>
              </a:lnSpc>
              <a:spcBef>
                <a:spcPct val="0"/>
              </a:spcBef>
              <a:spcAft>
                <a:spcPct val="0"/>
              </a:spcAft>
              <a:buClrTx/>
              <a:buSzTx/>
              <a:buFontTx/>
              <a:buNone/>
              <a:tabLst/>
              <a:defRPr kumimoji="0" sz="2000" b="0" i="0" u="none" strike="noStrike" cap="none" spc="-50" normalizeH="0" baseline="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mj-lt"/>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89" name="Freeform: Shape 33">
            <a:extLst>
              <a:ext uri="{FF2B5EF4-FFF2-40B4-BE49-F238E27FC236}">
                <a16:creationId xmlns:a16="http://schemas.microsoft.com/office/drawing/2014/main" id="{73CA232F-0159-198D-6414-D725CA47FD39}"/>
              </a:ext>
              <a:ext uri="{C183D7F6-B498-43B3-948B-1728B52AA6E4}">
                <adec:decorative xmlns:adec="http://schemas.microsoft.com/office/drawing/2017/decorative" val="1"/>
              </a:ext>
            </a:extLst>
          </p:cNvPr>
          <p:cNvSpPr>
            <a:spLocks/>
          </p:cNvSpPr>
          <p:nvPr/>
        </p:nvSpPr>
        <p:spPr bwMode="auto">
          <a:xfrm>
            <a:off x="2102644"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0" name="Rectangle: Top Corners Rounded 189">
            <a:extLst>
              <a:ext uri="{FF2B5EF4-FFF2-40B4-BE49-F238E27FC236}">
                <a16:creationId xmlns:a16="http://schemas.microsoft.com/office/drawing/2014/main" id="{88BF5521-BAE2-2AD1-8DA1-8EB9B62E8FEE}"/>
              </a:ext>
              <a:ext uri="{C183D7F6-B498-43B3-948B-1728B52AA6E4}">
                <adec:decorative xmlns:adec="http://schemas.microsoft.com/office/drawing/2017/decorative" val="1"/>
              </a:ext>
            </a:extLst>
          </p:cNvPr>
          <p:cNvSpPr/>
          <p:nvPr/>
        </p:nvSpPr>
        <p:spPr bwMode="auto">
          <a:xfrm>
            <a:off x="2193966" y="3602854"/>
            <a:ext cx="738426" cy="67806"/>
          </a:xfrm>
          <a:prstGeom prst="round2SameRect">
            <a:avLst>
              <a:gd name="adj1" fmla="val 50000"/>
              <a:gd name="adj2"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1" name="Rectangle: Top Corners Rounded 190">
            <a:extLst>
              <a:ext uri="{FF2B5EF4-FFF2-40B4-BE49-F238E27FC236}">
                <a16:creationId xmlns:a16="http://schemas.microsoft.com/office/drawing/2014/main" id="{14A64C33-16DC-7A88-2074-CE2260BB9280}"/>
              </a:ext>
              <a:ext uri="{C183D7F6-B498-43B3-948B-1728B52AA6E4}">
                <adec:decorative xmlns:adec="http://schemas.microsoft.com/office/drawing/2017/decorative" val="1"/>
              </a:ext>
            </a:extLst>
          </p:cNvPr>
          <p:cNvSpPr/>
          <p:nvPr/>
        </p:nvSpPr>
        <p:spPr bwMode="auto">
          <a:xfrm>
            <a:off x="5726786" y="3602854"/>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2" name="Rectangle: Top Corners Rounded 191">
            <a:extLst>
              <a:ext uri="{FF2B5EF4-FFF2-40B4-BE49-F238E27FC236}">
                <a16:creationId xmlns:a16="http://schemas.microsoft.com/office/drawing/2014/main" id="{B84014CF-13CE-4276-7475-00E4793AAA6B}"/>
              </a:ext>
              <a:ext uri="{C183D7F6-B498-43B3-948B-1728B52AA6E4}">
                <adec:decorative xmlns:adec="http://schemas.microsoft.com/office/drawing/2017/decorative" val="1"/>
              </a:ext>
            </a:extLst>
          </p:cNvPr>
          <p:cNvSpPr>
            <a:spLocks/>
          </p:cNvSpPr>
          <p:nvPr/>
        </p:nvSpPr>
        <p:spPr bwMode="auto">
          <a:xfrm>
            <a:off x="9259608" y="3602854"/>
            <a:ext cx="738426" cy="67806"/>
          </a:xfrm>
          <a:prstGeom prst="round2SameRect">
            <a:avLst>
              <a:gd name="adj1" fmla="val 50000"/>
              <a:gd name="adj2" fmla="val 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3" name="Freeform: Shape 33">
            <a:extLst>
              <a:ext uri="{FF2B5EF4-FFF2-40B4-BE49-F238E27FC236}">
                <a16:creationId xmlns:a16="http://schemas.microsoft.com/office/drawing/2014/main" id="{16C4E3A3-5D89-9FC1-A595-6635A08D0666}"/>
              </a:ext>
              <a:ext uri="{C183D7F6-B498-43B3-948B-1728B52AA6E4}">
                <adec:decorative xmlns:adec="http://schemas.microsoft.com/office/drawing/2017/decorative" val="1"/>
              </a:ext>
            </a:extLst>
          </p:cNvPr>
          <p:cNvSpPr>
            <a:spLocks/>
          </p:cNvSpPr>
          <p:nvPr/>
        </p:nvSpPr>
        <p:spPr bwMode="auto">
          <a:xfrm>
            <a:off x="5667429"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4" name="Freeform: Shape 33">
            <a:extLst>
              <a:ext uri="{FF2B5EF4-FFF2-40B4-BE49-F238E27FC236}">
                <a16:creationId xmlns:a16="http://schemas.microsoft.com/office/drawing/2014/main" id="{A320D534-B994-8904-35F1-D7A2ECB98B3C}"/>
              </a:ext>
              <a:ext uri="{C183D7F6-B498-43B3-948B-1728B52AA6E4}">
                <adec:decorative xmlns:adec="http://schemas.microsoft.com/office/drawing/2017/decorative" val="1"/>
              </a:ext>
            </a:extLst>
          </p:cNvPr>
          <p:cNvSpPr>
            <a:spLocks/>
          </p:cNvSpPr>
          <p:nvPr/>
        </p:nvSpPr>
        <p:spPr bwMode="auto">
          <a:xfrm>
            <a:off x="9200252"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itle 7">
            <a:extLst>
              <a:ext uri="{FF2B5EF4-FFF2-40B4-BE49-F238E27FC236}">
                <a16:creationId xmlns:a16="http://schemas.microsoft.com/office/drawing/2014/main" id="{38C9752E-5A93-D91F-A6ED-429E5596D50B}"/>
              </a:ext>
            </a:extLst>
          </p:cNvPr>
          <p:cNvSpPr>
            <a:spLocks noGrp="1"/>
          </p:cNvSpPr>
          <p:nvPr>
            <p:ph type="title"/>
          </p:nvPr>
        </p:nvSpPr>
        <p:spPr/>
        <p:txBody>
          <a:bodyPr/>
          <a:lstStyle/>
          <a:p>
            <a:pPr algn="ctr"/>
            <a:r>
              <a:rPr lang="en-GB">
                <a:solidFill>
                  <a:schemeClr val="tx1"/>
                </a:solidFill>
              </a:rPr>
              <a:t>What are </a:t>
            </a:r>
            <a:r>
              <a:rPr lang="en-GB" sz="3200">
                <a:gradFill flip="none" rotWithShape="1">
                  <a:gsLst>
                    <a:gs pos="12000">
                      <a:srgbClr val="8661C5"/>
                    </a:gs>
                    <a:gs pos="87000">
                      <a:srgbClr val="0078D4"/>
                    </a:gs>
                  </a:gsLst>
                  <a:lin ang="10800000" scaled="1"/>
                  <a:tileRect/>
                </a:gradFill>
                <a:latin typeface="Segoe UI Semibold"/>
                <a:cs typeface="Segoe UI Semibold"/>
              </a:rPr>
              <a:t>Copilot agents</a:t>
            </a:r>
            <a:endParaRPr lang="en-US">
              <a:solidFill>
                <a:schemeClr val="tx1"/>
              </a:solidFill>
            </a:endParaRPr>
          </a:p>
        </p:txBody>
      </p:sp>
      <p:sp>
        <p:nvSpPr>
          <p:cNvPr id="4" name="Slide Number Placeholder 5">
            <a:extLst>
              <a:ext uri="{FF2B5EF4-FFF2-40B4-BE49-F238E27FC236}">
                <a16:creationId xmlns:a16="http://schemas.microsoft.com/office/drawing/2014/main" id="{224D3A1A-3317-5B8E-32B8-35BF5D74FD8D}"/>
              </a:ext>
            </a:extLst>
          </p:cNvPr>
          <p:cNvSpPr>
            <a:spLocks noGrp="1"/>
          </p:cNvSpPr>
          <p:nvPr>
            <p:ph type="sldNum" sz="quarter" idx="4"/>
          </p:nvPr>
        </p:nvSpPr>
        <p:spPr>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C0151E6-08A3-4246-B91A-F3551DAD1FF4}" type="slidenum">
              <a:rPr kumimoji="0" lang="en-IN"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IN" sz="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Title 7">
            <a:extLst>
              <a:ext uri="{FF2B5EF4-FFF2-40B4-BE49-F238E27FC236}">
                <a16:creationId xmlns:a16="http://schemas.microsoft.com/office/drawing/2014/main" id="{AD91DF35-5288-8BC9-24F6-7C5E89C00D7F}"/>
              </a:ext>
            </a:extLst>
          </p:cNvPr>
          <p:cNvSpPr txBox="1">
            <a:spLocks/>
          </p:cNvSpPr>
          <p:nvPr/>
        </p:nvSpPr>
        <p:spPr>
          <a:xfrm>
            <a:off x="587375" y="1048051"/>
            <a:ext cx="11017250"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000000"/>
                </a:solidFill>
                <a:effectLst/>
                <a:uLnTx/>
                <a:uFillTx/>
                <a:latin typeface="Segoe UI Semibold"/>
                <a:ea typeface="+mn-ea"/>
                <a:cs typeface="Segoe UI" pitchFamily="34" charset="0"/>
              </a:rPr>
              <a:t>Copilot agents are AI assistants that can help optimize business processes and enhance productivity </a:t>
            </a:r>
          </a:p>
        </p:txBody>
      </p:sp>
      <p:sp>
        <p:nvSpPr>
          <p:cNvPr id="61" name="Title 7">
            <a:extLst>
              <a:ext uri="{FF2B5EF4-FFF2-40B4-BE49-F238E27FC236}">
                <a16:creationId xmlns:a16="http://schemas.microsoft.com/office/drawing/2014/main" id="{6FB747C8-00AA-5297-C57E-F4B7E37D10E2}"/>
              </a:ext>
            </a:extLst>
          </p:cNvPr>
          <p:cNvSpPr txBox="1">
            <a:spLocks/>
          </p:cNvSpPr>
          <p:nvPr/>
        </p:nvSpPr>
        <p:spPr>
          <a:xfrm>
            <a:off x="587375" y="1882806"/>
            <a:ext cx="11017250" cy="307777"/>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Segoe UI" pitchFamily="34" charset="0"/>
              </a:rPr>
              <a:t>Copilot agents vary in level of complexity and capabilities depending on your need</a:t>
            </a:r>
          </a:p>
        </p:txBody>
      </p:sp>
      <p:sp>
        <p:nvSpPr>
          <p:cNvPr id="6" name="Rectangle 5" descr="arrow showing a that retrieval, task and autonomous undergoes a flow from core to advanced">
            <a:extLst>
              <a:ext uri="{FF2B5EF4-FFF2-40B4-BE49-F238E27FC236}">
                <a16:creationId xmlns:a16="http://schemas.microsoft.com/office/drawing/2014/main" id="{785C6AA9-9767-6986-D7F5-6B339A71047B}"/>
              </a:ext>
            </a:extLst>
          </p:cNvPr>
          <p:cNvSpPr/>
          <p:nvPr/>
        </p:nvSpPr>
        <p:spPr bwMode="auto">
          <a:xfrm>
            <a:off x="6007589" y="2574534"/>
            <a:ext cx="174171" cy="1238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53808FAD-EB6C-D020-244D-AA0C8406A206}"/>
              </a:ext>
            </a:extLst>
          </p:cNvPr>
          <p:cNvSpPr txBox="1">
            <a:spLocks/>
          </p:cNvSpPr>
          <p:nvPr/>
        </p:nvSpPr>
        <p:spPr>
          <a:xfrm>
            <a:off x="838683" y="2851675"/>
            <a:ext cx="727567" cy="246221"/>
          </a:xfrm>
          <a:prstGeom prst="rect">
            <a:avLst/>
          </a:prstGeom>
        </p:spPr>
        <p:txBody>
          <a:bodyPr vert="horz" wrap="square" lIns="0" tIns="0" rIns="0" bIns="0" rtlCol="0" anchor="ctr">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FF5C39"/>
                </a:solidFill>
                <a:effectLst/>
                <a:uLnTx/>
                <a:uFillTx/>
                <a:latin typeface="Segoe UI Semibold"/>
                <a:ea typeface="+mn-ea"/>
                <a:cs typeface="Segoe UI" pitchFamily="34" charset="0"/>
              </a:rPr>
              <a:t>Simple</a:t>
            </a:r>
          </a:p>
        </p:txBody>
      </p:sp>
      <p:sp>
        <p:nvSpPr>
          <p:cNvPr id="7" name="Rectangle 6" descr="Advanced">
            <a:extLst>
              <a:ext uri="{FF2B5EF4-FFF2-40B4-BE49-F238E27FC236}">
                <a16:creationId xmlns:a16="http://schemas.microsoft.com/office/drawing/2014/main" id="{74815DC9-13A8-0BCE-430E-6E4F8ABDBC2A}"/>
              </a:ext>
            </a:extLst>
          </p:cNvPr>
          <p:cNvSpPr/>
          <p:nvPr/>
        </p:nvSpPr>
        <p:spPr bwMode="auto">
          <a:xfrm>
            <a:off x="9541735" y="2574534"/>
            <a:ext cx="174171" cy="1238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TextBox 74">
            <a:extLst>
              <a:ext uri="{FF2B5EF4-FFF2-40B4-BE49-F238E27FC236}">
                <a16:creationId xmlns:a16="http://schemas.microsoft.com/office/drawing/2014/main" id="{85CB489A-9C5D-E635-F804-489A1FA2C1EB}"/>
              </a:ext>
              <a:ext uri="{C183D7F6-B498-43B3-948B-1728B52AA6E4}">
                <adec:decorative xmlns:adec="http://schemas.microsoft.com/office/drawing/2017/decorative" val="1"/>
              </a:ext>
            </a:extLst>
          </p:cNvPr>
          <p:cNvSpPr txBox="1">
            <a:spLocks/>
          </p:cNvSpPr>
          <p:nvPr/>
        </p:nvSpPr>
        <p:spPr>
          <a:xfrm>
            <a:off x="10363252" y="2851675"/>
            <a:ext cx="990066" cy="246221"/>
          </a:xfrm>
          <a:prstGeom prst="rect">
            <a:avLst/>
          </a:prstGeom>
        </p:spPr>
        <p:txBody>
          <a:bodyPr vert="horz" wrap="square" lIns="0" tIns="0" rIns="0" bIns="0" rtlCol="0" anchor="ctr">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14938C"/>
                </a:solidFill>
                <a:effectLst/>
                <a:uLnTx/>
                <a:uFillTx/>
                <a:latin typeface="Segoe UI Semibold"/>
                <a:ea typeface="+mn-ea"/>
                <a:cs typeface="Segoe UI" pitchFamily="34" charset="0"/>
              </a:rPr>
              <a:t>Advanced</a:t>
            </a:r>
          </a:p>
        </p:txBody>
      </p:sp>
      <p:sp>
        <p:nvSpPr>
          <p:cNvPr id="2" name="Graphic 21" descr="Icon of a computer chip">
            <a:extLst>
              <a:ext uri="{FF2B5EF4-FFF2-40B4-BE49-F238E27FC236}">
                <a16:creationId xmlns:a16="http://schemas.microsoft.com/office/drawing/2014/main" id="{EEC11685-C807-DD4F-32AC-E6630A9CCDC7}"/>
              </a:ext>
            </a:extLst>
          </p:cNvPr>
          <p:cNvSpPr>
            <a:spLocks/>
          </p:cNvSpPr>
          <p:nvPr/>
        </p:nvSpPr>
        <p:spPr>
          <a:xfrm>
            <a:off x="2331134" y="2774698"/>
            <a:ext cx="400160" cy="400174"/>
          </a:xfrm>
          <a:custGeom>
            <a:avLst/>
            <a:gdLst>
              <a:gd name="connsiteX0" fmla="*/ 126206 w 190500"/>
              <a:gd name="connsiteY0" fmla="*/ 0 h 190500"/>
              <a:gd name="connsiteX1" fmla="*/ 133283 w 190500"/>
              <a:gd name="connsiteY1" fmla="*/ 6172 h 190500"/>
              <a:gd name="connsiteX2" fmla="*/ 133350 w 190500"/>
              <a:gd name="connsiteY2" fmla="*/ 7144 h 190500"/>
              <a:gd name="connsiteX3" fmla="*/ 133350 w 190500"/>
              <a:gd name="connsiteY3" fmla="*/ 29289 h 190500"/>
              <a:gd name="connsiteX4" fmla="*/ 161220 w 190500"/>
              <a:gd name="connsiteY4" fmla="*/ 57198 h 190500"/>
              <a:gd name="connsiteX5" fmla="*/ 183356 w 190500"/>
              <a:gd name="connsiteY5" fmla="*/ 57198 h 190500"/>
              <a:gd name="connsiteX6" fmla="*/ 190498 w 190500"/>
              <a:gd name="connsiteY6" fmla="*/ 64344 h 190500"/>
              <a:gd name="connsiteX7" fmla="*/ 184328 w 190500"/>
              <a:gd name="connsiteY7" fmla="*/ 71418 h 190500"/>
              <a:gd name="connsiteX8" fmla="*/ 183356 w 190500"/>
              <a:gd name="connsiteY8" fmla="*/ 71485 h 190500"/>
              <a:gd name="connsiteX9" fmla="*/ 161925 w 190500"/>
              <a:gd name="connsiteY9" fmla="*/ 71476 h 190500"/>
              <a:gd name="connsiteX10" fmla="*/ 161925 w 190500"/>
              <a:gd name="connsiteY10" fmla="*/ 88144 h 190500"/>
              <a:gd name="connsiteX11" fmla="*/ 183356 w 190500"/>
              <a:gd name="connsiteY11" fmla="*/ 88144 h 190500"/>
              <a:gd name="connsiteX12" fmla="*/ 190433 w 190500"/>
              <a:gd name="connsiteY12" fmla="*/ 94336 h 190500"/>
              <a:gd name="connsiteX13" fmla="*/ 190500 w 190500"/>
              <a:gd name="connsiteY13" fmla="*/ 95288 h 190500"/>
              <a:gd name="connsiteX14" fmla="*/ 184328 w 190500"/>
              <a:gd name="connsiteY14" fmla="*/ 102375 h 190500"/>
              <a:gd name="connsiteX15" fmla="*/ 183356 w 190500"/>
              <a:gd name="connsiteY15" fmla="*/ 102441 h 190500"/>
              <a:gd name="connsiteX16" fmla="*/ 161925 w 190500"/>
              <a:gd name="connsiteY16" fmla="*/ 102432 h 190500"/>
              <a:gd name="connsiteX17" fmla="*/ 161925 w 190500"/>
              <a:gd name="connsiteY17" fmla="*/ 119101 h 190500"/>
              <a:gd name="connsiteX18" fmla="*/ 183356 w 190500"/>
              <a:gd name="connsiteY18" fmla="*/ 119101 h 190500"/>
              <a:gd name="connsiteX19" fmla="*/ 190433 w 190500"/>
              <a:gd name="connsiteY19" fmla="*/ 125292 h 190500"/>
              <a:gd name="connsiteX20" fmla="*/ 190500 w 190500"/>
              <a:gd name="connsiteY20" fmla="*/ 126244 h 190500"/>
              <a:gd name="connsiteX21" fmla="*/ 184328 w 190500"/>
              <a:gd name="connsiteY21" fmla="*/ 133331 h 190500"/>
              <a:gd name="connsiteX22" fmla="*/ 183356 w 190500"/>
              <a:gd name="connsiteY22" fmla="*/ 133398 h 190500"/>
              <a:gd name="connsiteX23" fmla="*/ 161201 w 190500"/>
              <a:gd name="connsiteY23" fmla="*/ 133398 h 190500"/>
              <a:gd name="connsiteX24" fmla="*/ 133350 w 190500"/>
              <a:gd name="connsiteY24" fmla="*/ 161211 h 190500"/>
              <a:gd name="connsiteX25" fmla="*/ 133350 w 190500"/>
              <a:gd name="connsiteY25" fmla="*/ 183356 h 190500"/>
              <a:gd name="connsiteX26" fmla="*/ 126204 w 190500"/>
              <a:gd name="connsiteY26" fmla="*/ 190498 h 190500"/>
              <a:gd name="connsiteX27" fmla="*/ 119129 w 190500"/>
              <a:gd name="connsiteY27" fmla="*/ 184328 h 190500"/>
              <a:gd name="connsiteX28" fmla="*/ 119063 w 190500"/>
              <a:gd name="connsiteY28" fmla="*/ 183356 h 190500"/>
              <a:gd name="connsiteX29" fmla="*/ 119063 w 190500"/>
              <a:gd name="connsiteY29" fmla="*/ 161915 h 190500"/>
              <a:gd name="connsiteX30" fmla="*/ 102384 w 190500"/>
              <a:gd name="connsiteY30" fmla="*/ 161915 h 190500"/>
              <a:gd name="connsiteX31" fmla="*/ 102394 w 190500"/>
              <a:gd name="connsiteY31" fmla="*/ 183356 h 190500"/>
              <a:gd name="connsiteX32" fmla="*/ 96222 w 190500"/>
              <a:gd name="connsiteY32" fmla="*/ 190433 h 190500"/>
              <a:gd name="connsiteX33" fmla="*/ 95250 w 190500"/>
              <a:gd name="connsiteY33" fmla="*/ 190500 h 190500"/>
              <a:gd name="connsiteX34" fmla="*/ 88173 w 190500"/>
              <a:gd name="connsiteY34" fmla="*/ 184328 h 190500"/>
              <a:gd name="connsiteX35" fmla="*/ 88106 w 190500"/>
              <a:gd name="connsiteY35" fmla="*/ 183356 h 190500"/>
              <a:gd name="connsiteX36" fmla="*/ 88097 w 190500"/>
              <a:gd name="connsiteY36" fmla="*/ 161915 h 190500"/>
              <a:gd name="connsiteX37" fmla="*/ 71438 w 190500"/>
              <a:gd name="connsiteY37" fmla="*/ 161915 h 190500"/>
              <a:gd name="connsiteX38" fmla="*/ 71438 w 190500"/>
              <a:gd name="connsiteY38" fmla="*/ 183356 h 190500"/>
              <a:gd name="connsiteX39" fmla="*/ 65265 w 190500"/>
              <a:gd name="connsiteY39" fmla="*/ 190433 h 190500"/>
              <a:gd name="connsiteX40" fmla="*/ 64294 w 190500"/>
              <a:gd name="connsiteY40" fmla="*/ 190500 h 190500"/>
              <a:gd name="connsiteX41" fmla="*/ 57217 w 190500"/>
              <a:gd name="connsiteY41" fmla="*/ 184328 h 190500"/>
              <a:gd name="connsiteX42" fmla="*/ 57150 w 190500"/>
              <a:gd name="connsiteY42" fmla="*/ 183356 h 190500"/>
              <a:gd name="connsiteX43" fmla="*/ 57150 w 190500"/>
              <a:gd name="connsiteY43" fmla="*/ 161211 h 190500"/>
              <a:gd name="connsiteX44" fmla="*/ 29289 w 190500"/>
              <a:gd name="connsiteY44" fmla="*/ 133350 h 190500"/>
              <a:gd name="connsiteX45" fmla="*/ 7144 w 190500"/>
              <a:gd name="connsiteY45" fmla="*/ 133350 h 190500"/>
              <a:gd name="connsiteX46" fmla="*/ 2 w 190500"/>
              <a:gd name="connsiteY46" fmla="*/ 126204 h 190500"/>
              <a:gd name="connsiteX47" fmla="*/ 6172 w 190500"/>
              <a:gd name="connsiteY47" fmla="*/ 119129 h 190500"/>
              <a:gd name="connsiteX48" fmla="*/ 7144 w 190500"/>
              <a:gd name="connsiteY48" fmla="*/ 119063 h 190500"/>
              <a:gd name="connsiteX49" fmla="*/ 28575 w 190500"/>
              <a:gd name="connsiteY49" fmla="*/ 119053 h 190500"/>
              <a:gd name="connsiteX50" fmla="*/ 28575 w 190500"/>
              <a:gd name="connsiteY50" fmla="*/ 102384 h 190500"/>
              <a:gd name="connsiteX51" fmla="*/ 7144 w 190500"/>
              <a:gd name="connsiteY51" fmla="*/ 102394 h 190500"/>
              <a:gd name="connsiteX52" fmla="*/ 67 w 190500"/>
              <a:gd name="connsiteY52" fmla="*/ 96222 h 190500"/>
              <a:gd name="connsiteX53" fmla="*/ 0 w 190500"/>
              <a:gd name="connsiteY53" fmla="*/ 95250 h 190500"/>
              <a:gd name="connsiteX54" fmla="*/ 6172 w 190500"/>
              <a:gd name="connsiteY54" fmla="*/ 88173 h 190500"/>
              <a:gd name="connsiteX55" fmla="*/ 7144 w 190500"/>
              <a:gd name="connsiteY55" fmla="*/ 88106 h 190500"/>
              <a:gd name="connsiteX56" fmla="*/ 28575 w 190500"/>
              <a:gd name="connsiteY56" fmla="*/ 88097 h 190500"/>
              <a:gd name="connsiteX57" fmla="*/ 28575 w 190500"/>
              <a:gd name="connsiteY57" fmla="*/ 71428 h 190500"/>
              <a:gd name="connsiteX58" fmla="*/ 7144 w 190500"/>
              <a:gd name="connsiteY58" fmla="*/ 71438 h 190500"/>
              <a:gd name="connsiteX59" fmla="*/ 67 w 190500"/>
              <a:gd name="connsiteY59" fmla="*/ 65265 h 190500"/>
              <a:gd name="connsiteX60" fmla="*/ 0 w 190500"/>
              <a:gd name="connsiteY60" fmla="*/ 64294 h 190500"/>
              <a:gd name="connsiteX61" fmla="*/ 6172 w 190500"/>
              <a:gd name="connsiteY61" fmla="*/ 57217 h 190500"/>
              <a:gd name="connsiteX62" fmla="*/ 7144 w 190500"/>
              <a:gd name="connsiteY62" fmla="*/ 57150 h 190500"/>
              <a:gd name="connsiteX63" fmla="*/ 29289 w 190500"/>
              <a:gd name="connsiteY63" fmla="*/ 57140 h 190500"/>
              <a:gd name="connsiteX64" fmla="*/ 57150 w 190500"/>
              <a:gd name="connsiteY64" fmla="*/ 29289 h 190500"/>
              <a:gd name="connsiteX65" fmla="*/ 57150 w 190500"/>
              <a:gd name="connsiteY65" fmla="*/ 7144 h 190500"/>
              <a:gd name="connsiteX66" fmla="*/ 64296 w 190500"/>
              <a:gd name="connsiteY66" fmla="*/ 2 h 190500"/>
              <a:gd name="connsiteX67" fmla="*/ 71371 w 190500"/>
              <a:gd name="connsiteY67" fmla="*/ 6172 h 190500"/>
              <a:gd name="connsiteX68" fmla="*/ 71438 w 190500"/>
              <a:gd name="connsiteY68" fmla="*/ 7144 h 190500"/>
              <a:gd name="connsiteX69" fmla="*/ 71438 w 190500"/>
              <a:gd name="connsiteY69" fmla="*/ 28565 h 190500"/>
              <a:gd name="connsiteX70" fmla="*/ 88097 w 190500"/>
              <a:gd name="connsiteY70" fmla="*/ 28565 h 190500"/>
              <a:gd name="connsiteX71" fmla="*/ 88106 w 190500"/>
              <a:gd name="connsiteY71" fmla="*/ 7144 h 190500"/>
              <a:gd name="connsiteX72" fmla="*/ 94278 w 190500"/>
              <a:gd name="connsiteY72" fmla="*/ 67 h 190500"/>
              <a:gd name="connsiteX73" fmla="*/ 95250 w 190500"/>
              <a:gd name="connsiteY73" fmla="*/ 0 h 190500"/>
              <a:gd name="connsiteX74" fmla="*/ 102327 w 190500"/>
              <a:gd name="connsiteY74" fmla="*/ 6172 h 190500"/>
              <a:gd name="connsiteX75" fmla="*/ 102394 w 190500"/>
              <a:gd name="connsiteY75" fmla="*/ 7144 h 190500"/>
              <a:gd name="connsiteX76" fmla="*/ 102384 w 190500"/>
              <a:gd name="connsiteY76" fmla="*/ 28565 h 190500"/>
              <a:gd name="connsiteX77" fmla="*/ 119063 w 190500"/>
              <a:gd name="connsiteY77" fmla="*/ 28565 h 190500"/>
              <a:gd name="connsiteX78" fmla="*/ 119063 w 190500"/>
              <a:gd name="connsiteY78" fmla="*/ 7144 h 190500"/>
              <a:gd name="connsiteX79" fmla="*/ 124301 w 190500"/>
              <a:gd name="connsiteY79" fmla="*/ 257 h 190500"/>
              <a:gd name="connsiteX80" fmla="*/ 125235 w 190500"/>
              <a:gd name="connsiteY80" fmla="*/ 67 h 190500"/>
              <a:gd name="connsiteX81" fmla="*/ 126206 w 190500"/>
              <a:gd name="connsiteY81" fmla="*/ 0 h 190500"/>
              <a:gd name="connsiteX82" fmla="*/ 95298 w 190500"/>
              <a:gd name="connsiteY82" fmla="*/ 66723 h 190500"/>
              <a:gd name="connsiteX83" fmla="*/ 66723 w 190500"/>
              <a:gd name="connsiteY83" fmla="*/ 95298 h 190500"/>
              <a:gd name="connsiteX84" fmla="*/ 95298 w 190500"/>
              <a:gd name="connsiteY84" fmla="*/ 123873 h 190500"/>
              <a:gd name="connsiteX85" fmla="*/ 123873 w 190500"/>
              <a:gd name="connsiteY85" fmla="*/ 95298 h 190500"/>
              <a:gd name="connsiteX86" fmla="*/ 95298 w 190500"/>
              <a:gd name="connsiteY86" fmla="*/ 66723 h 190500"/>
              <a:gd name="connsiteX87" fmla="*/ 95298 w 190500"/>
              <a:gd name="connsiteY87" fmla="*/ 81010 h 190500"/>
              <a:gd name="connsiteX88" fmla="*/ 109585 w 190500"/>
              <a:gd name="connsiteY88" fmla="*/ 95298 h 190500"/>
              <a:gd name="connsiteX89" fmla="*/ 95298 w 190500"/>
              <a:gd name="connsiteY89" fmla="*/ 109585 h 190500"/>
              <a:gd name="connsiteX90" fmla="*/ 81010 w 190500"/>
              <a:gd name="connsiteY90" fmla="*/ 95298 h 190500"/>
              <a:gd name="connsiteX91" fmla="*/ 95298 w 190500"/>
              <a:gd name="connsiteY91" fmla="*/ 8101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90500" h="190500">
                <a:moveTo>
                  <a:pt x="126206" y="0"/>
                </a:moveTo>
                <a:cubicBezTo>
                  <a:pt x="129776" y="0"/>
                  <a:pt x="132798" y="2636"/>
                  <a:pt x="133283" y="6172"/>
                </a:cubicBezTo>
                <a:lnTo>
                  <a:pt x="133350" y="7144"/>
                </a:lnTo>
                <a:lnTo>
                  <a:pt x="133350" y="29289"/>
                </a:lnTo>
                <a:cubicBezTo>
                  <a:pt x="147395" y="32164"/>
                  <a:pt x="158365" y="43149"/>
                  <a:pt x="161220" y="57198"/>
                </a:cubicBezTo>
                <a:lnTo>
                  <a:pt x="183356" y="57198"/>
                </a:lnTo>
                <a:cubicBezTo>
                  <a:pt x="187302" y="57199"/>
                  <a:pt x="190499" y="60398"/>
                  <a:pt x="190498" y="64344"/>
                </a:cubicBezTo>
                <a:cubicBezTo>
                  <a:pt x="190497" y="67912"/>
                  <a:pt x="187863" y="70932"/>
                  <a:pt x="184328" y="71418"/>
                </a:cubicBezTo>
                <a:lnTo>
                  <a:pt x="183356" y="71485"/>
                </a:lnTo>
                <a:lnTo>
                  <a:pt x="161925" y="71476"/>
                </a:lnTo>
                <a:lnTo>
                  <a:pt x="161925" y="88144"/>
                </a:lnTo>
                <a:lnTo>
                  <a:pt x="183356" y="88144"/>
                </a:lnTo>
                <a:cubicBezTo>
                  <a:pt x="186933" y="88146"/>
                  <a:pt x="189956" y="90791"/>
                  <a:pt x="190433" y="94336"/>
                </a:cubicBezTo>
                <a:lnTo>
                  <a:pt x="190500" y="95288"/>
                </a:lnTo>
                <a:cubicBezTo>
                  <a:pt x="190505" y="98862"/>
                  <a:pt x="187868" y="101889"/>
                  <a:pt x="184328" y="102375"/>
                </a:cubicBezTo>
                <a:lnTo>
                  <a:pt x="183356" y="102441"/>
                </a:lnTo>
                <a:lnTo>
                  <a:pt x="161925" y="102432"/>
                </a:lnTo>
                <a:lnTo>
                  <a:pt x="161925" y="119101"/>
                </a:lnTo>
                <a:lnTo>
                  <a:pt x="183356" y="119101"/>
                </a:lnTo>
                <a:cubicBezTo>
                  <a:pt x="186933" y="119103"/>
                  <a:pt x="189956" y="121748"/>
                  <a:pt x="190433" y="125292"/>
                </a:cubicBezTo>
                <a:lnTo>
                  <a:pt x="190500" y="126244"/>
                </a:lnTo>
                <a:cubicBezTo>
                  <a:pt x="190505" y="129818"/>
                  <a:pt x="187868" y="132845"/>
                  <a:pt x="184328" y="133331"/>
                </a:cubicBezTo>
                <a:lnTo>
                  <a:pt x="183356" y="133398"/>
                </a:lnTo>
                <a:lnTo>
                  <a:pt x="161201" y="133398"/>
                </a:lnTo>
                <a:cubicBezTo>
                  <a:pt x="158312" y="147402"/>
                  <a:pt x="147359" y="158341"/>
                  <a:pt x="133350" y="161211"/>
                </a:cubicBezTo>
                <a:lnTo>
                  <a:pt x="133350" y="183356"/>
                </a:lnTo>
                <a:cubicBezTo>
                  <a:pt x="133349" y="187302"/>
                  <a:pt x="130150" y="190499"/>
                  <a:pt x="126204" y="190498"/>
                </a:cubicBezTo>
                <a:cubicBezTo>
                  <a:pt x="122635" y="190497"/>
                  <a:pt x="119616" y="187863"/>
                  <a:pt x="119129" y="184328"/>
                </a:cubicBezTo>
                <a:lnTo>
                  <a:pt x="119063" y="183356"/>
                </a:lnTo>
                <a:lnTo>
                  <a:pt x="119063" y="161915"/>
                </a:lnTo>
                <a:lnTo>
                  <a:pt x="102384" y="161915"/>
                </a:lnTo>
                <a:lnTo>
                  <a:pt x="102394" y="183356"/>
                </a:lnTo>
                <a:cubicBezTo>
                  <a:pt x="102394" y="186926"/>
                  <a:pt x="99758" y="189948"/>
                  <a:pt x="96222" y="190433"/>
                </a:cubicBezTo>
                <a:lnTo>
                  <a:pt x="95250" y="190500"/>
                </a:lnTo>
                <a:cubicBezTo>
                  <a:pt x="91680" y="190500"/>
                  <a:pt x="88659" y="187864"/>
                  <a:pt x="88173" y="184328"/>
                </a:cubicBezTo>
                <a:lnTo>
                  <a:pt x="88106" y="183356"/>
                </a:lnTo>
                <a:lnTo>
                  <a:pt x="88097" y="161915"/>
                </a:lnTo>
                <a:lnTo>
                  <a:pt x="71438" y="161915"/>
                </a:lnTo>
                <a:lnTo>
                  <a:pt x="71438" y="183356"/>
                </a:lnTo>
                <a:cubicBezTo>
                  <a:pt x="71437" y="186926"/>
                  <a:pt x="68802" y="189948"/>
                  <a:pt x="65265" y="190433"/>
                </a:cubicBezTo>
                <a:lnTo>
                  <a:pt x="64294" y="190500"/>
                </a:lnTo>
                <a:cubicBezTo>
                  <a:pt x="60724" y="190500"/>
                  <a:pt x="57702" y="187864"/>
                  <a:pt x="57217" y="184328"/>
                </a:cubicBezTo>
                <a:lnTo>
                  <a:pt x="57150" y="183356"/>
                </a:lnTo>
                <a:lnTo>
                  <a:pt x="57150" y="161211"/>
                </a:lnTo>
                <a:cubicBezTo>
                  <a:pt x="43123" y="158340"/>
                  <a:pt x="32160" y="147377"/>
                  <a:pt x="29289" y="133350"/>
                </a:cubicBezTo>
                <a:lnTo>
                  <a:pt x="7144" y="133350"/>
                </a:lnTo>
                <a:cubicBezTo>
                  <a:pt x="3198" y="133349"/>
                  <a:pt x="1" y="130150"/>
                  <a:pt x="2" y="126204"/>
                </a:cubicBezTo>
                <a:cubicBezTo>
                  <a:pt x="3" y="122635"/>
                  <a:pt x="2637" y="119616"/>
                  <a:pt x="6172" y="119129"/>
                </a:cubicBezTo>
                <a:lnTo>
                  <a:pt x="7144" y="119063"/>
                </a:lnTo>
                <a:lnTo>
                  <a:pt x="28575" y="119053"/>
                </a:lnTo>
                <a:lnTo>
                  <a:pt x="28575" y="102384"/>
                </a:lnTo>
                <a:lnTo>
                  <a:pt x="7144" y="102394"/>
                </a:lnTo>
                <a:cubicBezTo>
                  <a:pt x="3574" y="102394"/>
                  <a:pt x="552" y="99758"/>
                  <a:pt x="67" y="96222"/>
                </a:cubicBezTo>
                <a:lnTo>
                  <a:pt x="0" y="95250"/>
                </a:lnTo>
                <a:cubicBezTo>
                  <a:pt x="0" y="91680"/>
                  <a:pt x="2636" y="88659"/>
                  <a:pt x="6172" y="88173"/>
                </a:cubicBezTo>
                <a:lnTo>
                  <a:pt x="7144" y="88106"/>
                </a:lnTo>
                <a:lnTo>
                  <a:pt x="28575" y="88097"/>
                </a:lnTo>
                <a:lnTo>
                  <a:pt x="28575" y="71428"/>
                </a:lnTo>
                <a:lnTo>
                  <a:pt x="7144" y="71438"/>
                </a:lnTo>
                <a:cubicBezTo>
                  <a:pt x="3574" y="71437"/>
                  <a:pt x="552" y="68802"/>
                  <a:pt x="67" y="65265"/>
                </a:cubicBezTo>
                <a:lnTo>
                  <a:pt x="0" y="64294"/>
                </a:lnTo>
                <a:cubicBezTo>
                  <a:pt x="0" y="60724"/>
                  <a:pt x="2636" y="57702"/>
                  <a:pt x="6172" y="57217"/>
                </a:cubicBezTo>
                <a:lnTo>
                  <a:pt x="7144" y="57150"/>
                </a:lnTo>
                <a:lnTo>
                  <a:pt x="29289" y="57140"/>
                </a:lnTo>
                <a:cubicBezTo>
                  <a:pt x="32164" y="43117"/>
                  <a:pt x="43125" y="32159"/>
                  <a:pt x="57150" y="29289"/>
                </a:cubicBezTo>
                <a:lnTo>
                  <a:pt x="57150" y="7144"/>
                </a:lnTo>
                <a:cubicBezTo>
                  <a:pt x="57151" y="3198"/>
                  <a:pt x="60351" y="1"/>
                  <a:pt x="64296" y="2"/>
                </a:cubicBezTo>
                <a:cubicBezTo>
                  <a:pt x="67864" y="3"/>
                  <a:pt x="70884" y="2637"/>
                  <a:pt x="71371" y="6172"/>
                </a:cubicBezTo>
                <a:lnTo>
                  <a:pt x="71438" y="7144"/>
                </a:lnTo>
                <a:lnTo>
                  <a:pt x="71438" y="28565"/>
                </a:lnTo>
                <a:lnTo>
                  <a:pt x="88097" y="28565"/>
                </a:lnTo>
                <a:lnTo>
                  <a:pt x="88106" y="7144"/>
                </a:lnTo>
                <a:cubicBezTo>
                  <a:pt x="88106" y="3574"/>
                  <a:pt x="90742" y="552"/>
                  <a:pt x="94278" y="67"/>
                </a:cubicBezTo>
                <a:lnTo>
                  <a:pt x="95250" y="0"/>
                </a:lnTo>
                <a:cubicBezTo>
                  <a:pt x="98820" y="0"/>
                  <a:pt x="101841" y="2636"/>
                  <a:pt x="102327" y="6172"/>
                </a:cubicBezTo>
                <a:lnTo>
                  <a:pt x="102394" y="7144"/>
                </a:lnTo>
                <a:lnTo>
                  <a:pt x="102384" y="28565"/>
                </a:lnTo>
                <a:lnTo>
                  <a:pt x="119063" y="28565"/>
                </a:lnTo>
                <a:lnTo>
                  <a:pt x="119063" y="7144"/>
                </a:lnTo>
                <a:cubicBezTo>
                  <a:pt x="119062" y="3931"/>
                  <a:pt x="121206" y="1114"/>
                  <a:pt x="124301" y="257"/>
                </a:cubicBezTo>
                <a:lnTo>
                  <a:pt x="125235" y="67"/>
                </a:lnTo>
                <a:lnTo>
                  <a:pt x="126206" y="0"/>
                </a:lnTo>
                <a:close/>
                <a:moveTo>
                  <a:pt x="95298" y="66723"/>
                </a:moveTo>
                <a:cubicBezTo>
                  <a:pt x="79516" y="66723"/>
                  <a:pt x="66723" y="79516"/>
                  <a:pt x="66723" y="95298"/>
                </a:cubicBezTo>
                <a:cubicBezTo>
                  <a:pt x="66723" y="111080"/>
                  <a:pt x="79516" y="123873"/>
                  <a:pt x="95298" y="123873"/>
                </a:cubicBezTo>
                <a:cubicBezTo>
                  <a:pt x="111080" y="123873"/>
                  <a:pt x="123873" y="111080"/>
                  <a:pt x="123873" y="95298"/>
                </a:cubicBezTo>
                <a:cubicBezTo>
                  <a:pt x="123873" y="79516"/>
                  <a:pt x="111080" y="66723"/>
                  <a:pt x="95298" y="66723"/>
                </a:cubicBezTo>
                <a:close/>
                <a:moveTo>
                  <a:pt x="95298" y="81010"/>
                </a:moveTo>
                <a:cubicBezTo>
                  <a:pt x="103188" y="81010"/>
                  <a:pt x="109585" y="87407"/>
                  <a:pt x="109585" y="95298"/>
                </a:cubicBezTo>
                <a:cubicBezTo>
                  <a:pt x="109585" y="103188"/>
                  <a:pt x="103188" y="109585"/>
                  <a:pt x="95298" y="109585"/>
                </a:cubicBezTo>
                <a:cubicBezTo>
                  <a:pt x="87407" y="109585"/>
                  <a:pt x="81010" y="103188"/>
                  <a:pt x="81010" y="95298"/>
                </a:cubicBezTo>
                <a:cubicBezTo>
                  <a:pt x="81010" y="87407"/>
                  <a:pt x="87407" y="81010"/>
                  <a:pt x="95298" y="8101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87" name="TextBox 86">
            <a:extLst>
              <a:ext uri="{FF2B5EF4-FFF2-40B4-BE49-F238E27FC236}">
                <a16:creationId xmlns:a16="http://schemas.microsoft.com/office/drawing/2014/main" id="{55E184A1-B9E9-2612-8CED-FE8F2D9976F1}"/>
              </a:ext>
            </a:extLst>
          </p:cNvPr>
          <p:cNvSpPr txBox="1">
            <a:spLocks/>
          </p:cNvSpPr>
          <p:nvPr/>
        </p:nvSpPr>
        <p:spPr>
          <a:xfrm>
            <a:off x="922513" y="3745062"/>
            <a:ext cx="3281332" cy="1461939"/>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F4364C"/>
                </a:solidFill>
                <a:effectLst/>
                <a:uLnTx/>
                <a:uFillTx/>
                <a:latin typeface="Segoe UI Semibold"/>
                <a:ea typeface="+mn-ea"/>
                <a:cs typeface="Segoe Sans Display Semibold" pitchFamily="2" charset="0"/>
              </a:rPr>
              <a:t>Retrieval</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Retrieve information</a:t>
            </a:r>
            <a:r>
              <a:rPr kumimoji="0" lang="en-US" sz="1800" b="0" i="0" u="none" strike="noStrike" kern="1200" cap="none" spc="0" normalizeH="0" baseline="0" noProof="0">
                <a:ln>
                  <a:noFill/>
                </a:ln>
                <a:solidFill>
                  <a:srgbClr val="000000"/>
                </a:solidFill>
                <a:effectLst/>
                <a:uLnTx/>
                <a:uFillTx/>
                <a:latin typeface="Segoe UI"/>
                <a:ea typeface="+mn-ea"/>
                <a:cs typeface="Segoe Sans Display Semibold" pitchFamily="2" charset="0"/>
              </a:rPr>
              <a:t> </a:t>
            </a: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from grounding data, reason, summarize, and answer</a:t>
            </a:r>
            <a:b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b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user questions</a:t>
            </a:r>
          </a:p>
        </p:txBody>
      </p:sp>
      <p:sp>
        <p:nvSpPr>
          <p:cNvPr id="3" name="Graphic 52" descr="Icon of three layers stacked on top of the other">
            <a:extLst>
              <a:ext uri="{FF2B5EF4-FFF2-40B4-BE49-F238E27FC236}">
                <a16:creationId xmlns:a16="http://schemas.microsoft.com/office/drawing/2014/main" id="{6C9D602C-57D7-B74B-B4D8-79EBBE983189}"/>
              </a:ext>
            </a:extLst>
          </p:cNvPr>
          <p:cNvSpPr>
            <a:spLocks/>
          </p:cNvSpPr>
          <p:nvPr/>
        </p:nvSpPr>
        <p:spPr>
          <a:xfrm>
            <a:off x="5905393" y="2774033"/>
            <a:ext cx="381212" cy="401504"/>
          </a:xfrm>
          <a:custGeom>
            <a:avLst/>
            <a:gdLst>
              <a:gd name="connsiteX0" fmla="*/ 92561 w 158693"/>
              <a:gd name="connsiteY0" fmla="*/ 4001 h 167136"/>
              <a:gd name="connsiteX1" fmla="*/ 153187 w 158693"/>
              <a:gd name="connsiteY1" fmla="*/ 44415 h 167136"/>
              <a:gd name="connsiteX2" fmla="*/ 155828 w 158693"/>
              <a:gd name="connsiteY2" fmla="*/ 57625 h 167136"/>
              <a:gd name="connsiteX3" fmla="*/ 153187 w 158693"/>
              <a:gd name="connsiteY3" fmla="*/ 60265 h 167136"/>
              <a:gd name="connsiteX4" fmla="*/ 92561 w 158693"/>
              <a:gd name="connsiteY4" fmla="*/ 100689 h 167136"/>
              <a:gd name="connsiteX5" fmla="*/ 66138 w 158693"/>
              <a:gd name="connsiteY5" fmla="*/ 100689 h 167136"/>
              <a:gd name="connsiteX6" fmla="*/ 5512 w 158693"/>
              <a:gd name="connsiteY6" fmla="*/ 60265 h 167136"/>
              <a:gd name="connsiteX7" fmla="*/ 2871 w 158693"/>
              <a:gd name="connsiteY7" fmla="*/ 47056 h 167136"/>
              <a:gd name="connsiteX8" fmla="*/ 5512 w 158693"/>
              <a:gd name="connsiteY8" fmla="*/ 44415 h 167136"/>
              <a:gd name="connsiteX9" fmla="*/ 66138 w 158693"/>
              <a:gd name="connsiteY9" fmla="*/ 4001 h 167136"/>
              <a:gd name="connsiteX10" fmla="*/ 92561 w 158693"/>
              <a:gd name="connsiteY10" fmla="*/ 4001 h 167136"/>
              <a:gd name="connsiteX11" fmla="*/ 155797 w 158693"/>
              <a:gd name="connsiteY11" fmla="*/ 87507 h 167136"/>
              <a:gd name="connsiteX12" fmla="*/ 150301 w 158693"/>
              <a:gd name="connsiteY12" fmla="*/ 93202 h 167136"/>
              <a:gd name="connsiteX13" fmla="*/ 92675 w 158693"/>
              <a:gd name="connsiteY13" fmla="*/ 132103 h 167136"/>
              <a:gd name="connsiteX14" fmla="*/ 66024 w 158693"/>
              <a:gd name="connsiteY14" fmla="*/ 132103 h 167136"/>
              <a:gd name="connsiteX15" fmla="*/ 8398 w 158693"/>
              <a:gd name="connsiteY15" fmla="*/ 93202 h 167136"/>
              <a:gd name="connsiteX16" fmla="*/ 978 w 158693"/>
              <a:gd name="connsiteY16" fmla="*/ 71390 h 167136"/>
              <a:gd name="connsiteX17" fmla="*/ 66138 w 158693"/>
              <a:gd name="connsiteY17" fmla="*/ 114824 h 167136"/>
              <a:gd name="connsiteX18" fmla="*/ 91027 w 158693"/>
              <a:gd name="connsiteY18" fmla="*/ 115758 h 167136"/>
              <a:gd name="connsiteX19" fmla="*/ 92551 w 158693"/>
              <a:gd name="connsiteY19" fmla="*/ 114824 h 167136"/>
              <a:gd name="connsiteX20" fmla="*/ 157712 w 158693"/>
              <a:gd name="connsiteY20" fmla="*/ 71390 h 167136"/>
              <a:gd name="connsiteX21" fmla="*/ 155797 w 158693"/>
              <a:gd name="connsiteY21" fmla="*/ 87507 h 167136"/>
              <a:gd name="connsiteX22" fmla="*/ 155797 w 158693"/>
              <a:gd name="connsiteY22" fmla="*/ 118463 h 167136"/>
              <a:gd name="connsiteX23" fmla="*/ 150301 w 158693"/>
              <a:gd name="connsiteY23" fmla="*/ 124159 h 167136"/>
              <a:gd name="connsiteX24" fmla="*/ 92675 w 158693"/>
              <a:gd name="connsiteY24" fmla="*/ 163059 h 167136"/>
              <a:gd name="connsiteX25" fmla="*/ 66024 w 158693"/>
              <a:gd name="connsiteY25" fmla="*/ 163059 h 167136"/>
              <a:gd name="connsiteX26" fmla="*/ 8398 w 158693"/>
              <a:gd name="connsiteY26" fmla="*/ 124159 h 167136"/>
              <a:gd name="connsiteX27" fmla="*/ 978 w 158693"/>
              <a:gd name="connsiteY27" fmla="*/ 102346 h 167136"/>
              <a:gd name="connsiteX28" fmla="*/ 66138 w 158693"/>
              <a:gd name="connsiteY28" fmla="*/ 145780 h 167136"/>
              <a:gd name="connsiteX29" fmla="*/ 91027 w 158693"/>
              <a:gd name="connsiteY29" fmla="*/ 146714 h 167136"/>
              <a:gd name="connsiteX30" fmla="*/ 92551 w 158693"/>
              <a:gd name="connsiteY30" fmla="*/ 145780 h 167136"/>
              <a:gd name="connsiteX31" fmla="*/ 157712 w 158693"/>
              <a:gd name="connsiteY31" fmla="*/ 102346 h 167136"/>
              <a:gd name="connsiteX32" fmla="*/ 155797 w 158693"/>
              <a:gd name="connsiteY32" fmla="*/ 118463 h 16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693" h="167136">
                <a:moveTo>
                  <a:pt x="92561" y="4001"/>
                </a:moveTo>
                <a:lnTo>
                  <a:pt x="153187" y="44415"/>
                </a:lnTo>
                <a:cubicBezTo>
                  <a:pt x="157564" y="47334"/>
                  <a:pt x="158746" y="53248"/>
                  <a:pt x="155828" y="57625"/>
                </a:cubicBezTo>
                <a:cubicBezTo>
                  <a:pt x="155130" y="58670"/>
                  <a:pt x="154233" y="59568"/>
                  <a:pt x="153187" y="60265"/>
                </a:cubicBezTo>
                <a:lnTo>
                  <a:pt x="92561" y="100689"/>
                </a:lnTo>
                <a:cubicBezTo>
                  <a:pt x="84561" y="106024"/>
                  <a:pt x="74138" y="106024"/>
                  <a:pt x="66138" y="100689"/>
                </a:cubicBezTo>
                <a:lnTo>
                  <a:pt x="5512" y="60265"/>
                </a:lnTo>
                <a:cubicBezTo>
                  <a:pt x="1135" y="57347"/>
                  <a:pt x="-47" y="51433"/>
                  <a:pt x="2871" y="47056"/>
                </a:cubicBezTo>
                <a:cubicBezTo>
                  <a:pt x="3568" y="46010"/>
                  <a:pt x="4466" y="45113"/>
                  <a:pt x="5512" y="44415"/>
                </a:cubicBezTo>
                <a:lnTo>
                  <a:pt x="66138" y="4001"/>
                </a:lnTo>
                <a:cubicBezTo>
                  <a:pt x="74138" y="-1334"/>
                  <a:pt x="84561" y="-1334"/>
                  <a:pt x="92561" y="4001"/>
                </a:cubicBezTo>
                <a:close/>
                <a:moveTo>
                  <a:pt x="155797" y="87507"/>
                </a:moveTo>
                <a:cubicBezTo>
                  <a:pt x="154384" y="89769"/>
                  <a:pt x="152511" y="91709"/>
                  <a:pt x="150301" y="93202"/>
                </a:cubicBezTo>
                <a:lnTo>
                  <a:pt x="92675" y="132103"/>
                </a:lnTo>
                <a:cubicBezTo>
                  <a:pt x="84623" y="137539"/>
                  <a:pt x="74075" y="137539"/>
                  <a:pt x="66024" y="132103"/>
                </a:cubicBezTo>
                <a:lnTo>
                  <a:pt x="8398" y="93202"/>
                </a:lnTo>
                <a:cubicBezTo>
                  <a:pt x="1310" y="88421"/>
                  <a:pt x="-1724" y="79503"/>
                  <a:pt x="978" y="71390"/>
                </a:cubicBezTo>
                <a:lnTo>
                  <a:pt x="66138" y="114824"/>
                </a:lnTo>
                <a:cubicBezTo>
                  <a:pt x="73597" y="119795"/>
                  <a:pt x="83217" y="120155"/>
                  <a:pt x="91027" y="115758"/>
                </a:cubicBezTo>
                <a:lnTo>
                  <a:pt x="92551" y="114824"/>
                </a:lnTo>
                <a:lnTo>
                  <a:pt x="157712" y="71390"/>
                </a:lnTo>
                <a:cubicBezTo>
                  <a:pt x="159514" y="76779"/>
                  <a:pt x="158812" y="82691"/>
                  <a:pt x="155797" y="87507"/>
                </a:cubicBezTo>
                <a:close/>
                <a:moveTo>
                  <a:pt x="155797" y="118463"/>
                </a:moveTo>
                <a:cubicBezTo>
                  <a:pt x="154384" y="120725"/>
                  <a:pt x="152511" y="122665"/>
                  <a:pt x="150301" y="124159"/>
                </a:cubicBezTo>
                <a:lnTo>
                  <a:pt x="92675" y="163059"/>
                </a:lnTo>
                <a:cubicBezTo>
                  <a:pt x="84623" y="168496"/>
                  <a:pt x="74075" y="168496"/>
                  <a:pt x="66024" y="163059"/>
                </a:cubicBezTo>
                <a:lnTo>
                  <a:pt x="8398" y="124159"/>
                </a:lnTo>
                <a:cubicBezTo>
                  <a:pt x="1310" y="119377"/>
                  <a:pt x="-1724" y="110459"/>
                  <a:pt x="978" y="102346"/>
                </a:cubicBezTo>
                <a:lnTo>
                  <a:pt x="66138" y="145780"/>
                </a:lnTo>
                <a:cubicBezTo>
                  <a:pt x="73597" y="150752"/>
                  <a:pt x="83217" y="151112"/>
                  <a:pt x="91027" y="146714"/>
                </a:cubicBezTo>
                <a:lnTo>
                  <a:pt x="92551" y="145780"/>
                </a:lnTo>
                <a:lnTo>
                  <a:pt x="157712" y="102346"/>
                </a:lnTo>
                <a:cubicBezTo>
                  <a:pt x="159514" y="107735"/>
                  <a:pt x="158812" y="113647"/>
                  <a:pt x="155797" y="118463"/>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88" name="TextBox 87">
            <a:extLst>
              <a:ext uri="{FF2B5EF4-FFF2-40B4-BE49-F238E27FC236}">
                <a16:creationId xmlns:a16="http://schemas.microsoft.com/office/drawing/2014/main" id="{E511079C-682F-2E72-2817-50BD75970A75}"/>
              </a:ext>
            </a:extLst>
          </p:cNvPr>
          <p:cNvSpPr txBox="1">
            <a:spLocks/>
          </p:cNvSpPr>
          <p:nvPr/>
        </p:nvSpPr>
        <p:spPr>
          <a:xfrm>
            <a:off x="4455333" y="3745062"/>
            <a:ext cx="3281332" cy="1184940"/>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C03BC4"/>
                </a:solidFill>
                <a:effectLst/>
                <a:uLnTx/>
                <a:uFillTx/>
                <a:latin typeface="Segoe UI Semibold"/>
                <a:ea typeface="+mn-ea"/>
                <a:cs typeface="Segoe Sans Display Semibold" pitchFamily="2" charset="0"/>
              </a:rPr>
              <a:t>Task</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Take actions when asked</a:t>
            </a:r>
            <a:r>
              <a:rPr kumimoji="0" lang="en-US" sz="1800" b="0" i="0" u="none" strike="noStrike" kern="1200" cap="none" spc="0" normalizeH="0" baseline="0" noProof="0">
                <a:ln>
                  <a:noFill/>
                </a:ln>
                <a:solidFill>
                  <a:srgbClr val="000000"/>
                </a:solidFill>
                <a:effectLst/>
                <a:uLnTx/>
                <a:uFillTx/>
                <a:latin typeface="Segoe UI"/>
                <a:ea typeface="+mn-ea"/>
                <a:cs typeface="Segoe Sans Display Semibold" pitchFamily="2" charset="0"/>
              </a:rPr>
              <a:t>, </a:t>
            </a: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automate workflows, and replace repetitive tasks for users</a:t>
            </a:r>
          </a:p>
        </p:txBody>
      </p:sp>
      <p:sp>
        <p:nvSpPr>
          <p:cNvPr id="5" name="Graphic 7" descr="Icon of a cylinder with a power plug showing an A to B connection">
            <a:extLst>
              <a:ext uri="{FF2B5EF4-FFF2-40B4-BE49-F238E27FC236}">
                <a16:creationId xmlns:a16="http://schemas.microsoft.com/office/drawing/2014/main" id="{58D4FAF2-B02D-9BEA-068C-3040128195AD}"/>
              </a:ext>
            </a:extLst>
          </p:cNvPr>
          <p:cNvSpPr>
            <a:spLocks/>
          </p:cNvSpPr>
          <p:nvPr/>
        </p:nvSpPr>
        <p:spPr>
          <a:xfrm>
            <a:off x="9458396" y="2780629"/>
            <a:ext cx="340852" cy="388312"/>
          </a:xfrm>
          <a:custGeom>
            <a:avLst/>
            <a:gdLst>
              <a:gd name="connsiteX0" fmla="*/ 76200 w 180975"/>
              <a:gd name="connsiteY0" fmla="*/ 76200 h 190500"/>
              <a:gd name="connsiteX1" fmla="*/ 152400 w 180975"/>
              <a:gd name="connsiteY1" fmla="*/ 38100 h 190500"/>
              <a:gd name="connsiteX2" fmla="*/ 76200 w 180975"/>
              <a:gd name="connsiteY2" fmla="*/ 0 h 190500"/>
              <a:gd name="connsiteX3" fmla="*/ 0 w 180975"/>
              <a:gd name="connsiteY3" fmla="*/ 38100 h 190500"/>
              <a:gd name="connsiteX4" fmla="*/ 76200 w 180975"/>
              <a:gd name="connsiteY4" fmla="*/ 76200 h 190500"/>
              <a:gd name="connsiteX5" fmla="*/ 136474 w 180975"/>
              <a:gd name="connsiteY5" fmla="*/ 77819 h 190500"/>
              <a:gd name="connsiteX6" fmla="*/ 152400 w 180975"/>
              <a:gd name="connsiteY6" fmla="*/ 67180 h 190500"/>
              <a:gd name="connsiteX7" fmla="*/ 152400 w 180975"/>
              <a:gd name="connsiteY7" fmla="*/ 105337 h 190500"/>
              <a:gd name="connsiteX8" fmla="*/ 145256 w 180975"/>
              <a:gd name="connsiteY8" fmla="*/ 104775 h 190500"/>
              <a:gd name="connsiteX9" fmla="*/ 111919 w 180975"/>
              <a:gd name="connsiteY9" fmla="*/ 104775 h 190500"/>
              <a:gd name="connsiteX10" fmla="*/ 66666 w 180975"/>
              <a:gd name="connsiteY10" fmla="*/ 150010 h 190500"/>
              <a:gd name="connsiteX11" fmla="*/ 90421 w 180975"/>
              <a:gd name="connsiteY11" fmla="*/ 189833 h 190500"/>
              <a:gd name="connsiteX12" fmla="*/ 76200 w 180975"/>
              <a:gd name="connsiteY12" fmla="*/ 190500 h 190500"/>
              <a:gd name="connsiteX13" fmla="*/ 0 w 180975"/>
              <a:gd name="connsiteY13" fmla="*/ 152400 h 190500"/>
              <a:gd name="connsiteX14" fmla="*/ 0 w 180975"/>
              <a:gd name="connsiteY14" fmla="*/ 67180 h 190500"/>
              <a:gd name="connsiteX15" fmla="*/ 15926 w 180975"/>
              <a:gd name="connsiteY15" fmla="*/ 77819 h 190500"/>
              <a:gd name="connsiteX16" fmla="*/ 76200 w 180975"/>
              <a:gd name="connsiteY16" fmla="*/ 90488 h 190500"/>
              <a:gd name="connsiteX17" fmla="*/ 136474 w 180975"/>
              <a:gd name="connsiteY17" fmla="*/ 77819 h 190500"/>
              <a:gd name="connsiteX18" fmla="*/ 180975 w 180975"/>
              <a:gd name="connsiteY18" fmla="*/ 150019 h 190500"/>
              <a:gd name="connsiteX19" fmla="*/ 145256 w 180975"/>
              <a:gd name="connsiteY19" fmla="*/ 114300 h 190500"/>
              <a:gd name="connsiteX20" fmla="*/ 144285 w 180975"/>
              <a:gd name="connsiteY20" fmla="*/ 114367 h 190500"/>
              <a:gd name="connsiteX21" fmla="*/ 138181 w 180975"/>
              <a:gd name="connsiteY21" fmla="*/ 122417 h 190500"/>
              <a:gd name="connsiteX22" fmla="*/ 145256 w 180975"/>
              <a:gd name="connsiteY22" fmla="*/ 128588 h 190500"/>
              <a:gd name="connsiteX23" fmla="*/ 146723 w 180975"/>
              <a:gd name="connsiteY23" fmla="*/ 128635 h 190500"/>
              <a:gd name="connsiteX24" fmla="*/ 166679 w 180975"/>
              <a:gd name="connsiteY24" fmla="*/ 151447 h 190500"/>
              <a:gd name="connsiteX25" fmla="*/ 145256 w 180975"/>
              <a:gd name="connsiteY25" fmla="*/ 171450 h 190500"/>
              <a:gd name="connsiteX26" fmla="*/ 145228 w 180975"/>
              <a:gd name="connsiteY26" fmla="*/ 171498 h 190500"/>
              <a:gd name="connsiteX27" fmla="*/ 144256 w 180975"/>
              <a:gd name="connsiteY27" fmla="*/ 171564 h 190500"/>
              <a:gd name="connsiteX28" fmla="*/ 138151 w 180975"/>
              <a:gd name="connsiteY28" fmla="*/ 179614 h 190500"/>
              <a:gd name="connsiteX29" fmla="*/ 145285 w 180975"/>
              <a:gd name="connsiteY29" fmla="*/ 185785 h 190500"/>
              <a:gd name="connsiteX30" fmla="*/ 145285 w 180975"/>
              <a:gd name="connsiteY30" fmla="*/ 185738 h 190500"/>
              <a:gd name="connsiteX31" fmla="*/ 147190 w 180975"/>
              <a:gd name="connsiteY31" fmla="*/ 185690 h 190500"/>
              <a:gd name="connsiteX32" fmla="*/ 180975 w 180975"/>
              <a:gd name="connsiteY32" fmla="*/ 150019 h 190500"/>
              <a:gd name="connsiteX33" fmla="*/ 119063 w 180975"/>
              <a:gd name="connsiteY33" fmla="*/ 121444 h 190500"/>
              <a:gd name="connsiteX34" fmla="*/ 111919 w 180975"/>
              <a:gd name="connsiteY34" fmla="*/ 114300 h 190500"/>
              <a:gd name="connsiteX35" fmla="*/ 110014 w 180975"/>
              <a:gd name="connsiteY35" fmla="*/ 114348 h 190500"/>
              <a:gd name="connsiteX36" fmla="*/ 76186 w 180975"/>
              <a:gd name="connsiteY36" fmla="*/ 151862 h 190500"/>
              <a:gd name="connsiteX37" fmla="*/ 111919 w 180975"/>
              <a:gd name="connsiteY37" fmla="*/ 185738 h 190500"/>
              <a:gd name="connsiteX38" fmla="*/ 112890 w 180975"/>
              <a:gd name="connsiteY38" fmla="*/ 185671 h 190500"/>
              <a:gd name="connsiteX39" fmla="*/ 118994 w 180975"/>
              <a:gd name="connsiteY39" fmla="*/ 177620 h 190500"/>
              <a:gd name="connsiteX40" fmla="*/ 111919 w 180975"/>
              <a:gd name="connsiteY40" fmla="*/ 171450 h 190500"/>
              <a:gd name="connsiteX41" fmla="*/ 110452 w 180975"/>
              <a:gd name="connsiteY41" fmla="*/ 171402 h 190500"/>
              <a:gd name="connsiteX42" fmla="*/ 90496 w 180975"/>
              <a:gd name="connsiteY42" fmla="*/ 148591 h 190500"/>
              <a:gd name="connsiteX43" fmla="*/ 111919 w 180975"/>
              <a:gd name="connsiteY43" fmla="*/ 128588 h 190500"/>
              <a:gd name="connsiteX44" fmla="*/ 112890 w 180975"/>
              <a:gd name="connsiteY44" fmla="*/ 128521 h 190500"/>
              <a:gd name="connsiteX45" fmla="*/ 119063 w 180975"/>
              <a:gd name="connsiteY45" fmla="*/ 121444 h 190500"/>
              <a:gd name="connsiteX46" fmla="*/ 152400 w 180975"/>
              <a:gd name="connsiteY46" fmla="*/ 150019 h 190500"/>
              <a:gd name="connsiteX47" fmla="*/ 145256 w 180975"/>
              <a:gd name="connsiteY47" fmla="*/ 142875 h 190500"/>
              <a:gd name="connsiteX48" fmla="*/ 111919 w 180975"/>
              <a:gd name="connsiteY48" fmla="*/ 142875 h 190500"/>
              <a:gd name="connsiteX49" fmla="*/ 110947 w 180975"/>
              <a:gd name="connsiteY49" fmla="*/ 142942 h 190500"/>
              <a:gd name="connsiteX50" fmla="*/ 104844 w 180975"/>
              <a:gd name="connsiteY50" fmla="*/ 150992 h 190500"/>
              <a:gd name="connsiteX51" fmla="*/ 111919 w 180975"/>
              <a:gd name="connsiteY51" fmla="*/ 157163 h 190500"/>
              <a:gd name="connsiteX52" fmla="*/ 145256 w 180975"/>
              <a:gd name="connsiteY52" fmla="*/ 157163 h 190500"/>
              <a:gd name="connsiteX53" fmla="*/ 146228 w 180975"/>
              <a:gd name="connsiteY53" fmla="*/ 157096 h 190500"/>
              <a:gd name="connsiteX54" fmla="*/ 152400 w 180975"/>
              <a:gd name="connsiteY54" fmla="*/ 1500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0975" h="190500">
                <a:moveTo>
                  <a:pt x="76200" y="76200"/>
                </a:moveTo>
                <a:cubicBezTo>
                  <a:pt x="118281" y="76200"/>
                  <a:pt x="152400" y="59150"/>
                  <a:pt x="152400" y="38100"/>
                </a:cubicBezTo>
                <a:cubicBezTo>
                  <a:pt x="152400" y="17050"/>
                  <a:pt x="118281" y="0"/>
                  <a:pt x="76200" y="0"/>
                </a:cubicBezTo>
                <a:cubicBezTo>
                  <a:pt x="34119" y="0"/>
                  <a:pt x="0" y="17050"/>
                  <a:pt x="0" y="38100"/>
                </a:cubicBezTo>
                <a:cubicBezTo>
                  <a:pt x="0" y="59150"/>
                  <a:pt x="34119" y="76200"/>
                  <a:pt x="76200" y="76200"/>
                </a:cubicBezTo>
                <a:close/>
                <a:moveTo>
                  <a:pt x="136474" y="77819"/>
                </a:moveTo>
                <a:cubicBezTo>
                  <a:pt x="142230" y="74993"/>
                  <a:pt x="147585" y="71415"/>
                  <a:pt x="152400" y="67180"/>
                </a:cubicBezTo>
                <a:lnTo>
                  <a:pt x="152400" y="105337"/>
                </a:lnTo>
                <a:cubicBezTo>
                  <a:pt x="150037" y="104963"/>
                  <a:pt x="147649" y="104774"/>
                  <a:pt x="145256" y="104775"/>
                </a:cubicBezTo>
                <a:lnTo>
                  <a:pt x="111919" y="104775"/>
                </a:lnTo>
                <a:cubicBezTo>
                  <a:pt x="86931" y="104770"/>
                  <a:pt x="66671" y="125023"/>
                  <a:pt x="66666" y="150010"/>
                </a:cubicBezTo>
                <a:cubicBezTo>
                  <a:pt x="66664" y="166642"/>
                  <a:pt x="75786" y="181934"/>
                  <a:pt x="90421" y="189833"/>
                </a:cubicBezTo>
                <a:cubicBezTo>
                  <a:pt x="85811" y="190271"/>
                  <a:pt x="81058" y="190500"/>
                  <a:pt x="76200" y="190500"/>
                </a:cubicBezTo>
                <a:cubicBezTo>
                  <a:pt x="34119" y="190500"/>
                  <a:pt x="0" y="173450"/>
                  <a:pt x="0" y="152400"/>
                </a:cubicBezTo>
                <a:lnTo>
                  <a:pt x="0" y="67180"/>
                </a:lnTo>
                <a:cubicBezTo>
                  <a:pt x="4815" y="71415"/>
                  <a:pt x="10170" y="74993"/>
                  <a:pt x="15926" y="77819"/>
                </a:cubicBezTo>
                <a:cubicBezTo>
                  <a:pt x="32099" y="85896"/>
                  <a:pt x="53416" y="90488"/>
                  <a:pt x="76200" y="90488"/>
                </a:cubicBezTo>
                <a:cubicBezTo>
                  <a:pt x="98984" y="90488"/>
                  <a:pt x="120301" y="85896"/>
                  <a:pt x="136474" y="77819"/>
                </a:cubicBezTo>
                <a:close/>
                <a:moveTo>
                  <a:pt x="180975" y="150019"/>
                </a:moveTo>
                <a:cubicBezTo>
                  <a:pt x="180975" y="130292"/>
                  <a:pt x="164983" y="114300"/>
                  <a:pt x="145256" y="114300"/>
                </a:cubicBezTo>
                <a:lnTo>
                  <a:pt x="144285" y="114367"/>
                </a:lnTo>
                <a:cubicBezTo>
                  <a:pt x="140377" y="114905"/>
                  <a:pt x="137644" y="118509"/>
                  <a:pt x="138181" y="122417"/>
                </a:cubicBezTo>
                <a:cubicBezTo>
                  <a:pt x="138668" y="125953"/>
                  <a:pt x="141688" y="128587"/>
                  <a:pt x="145256" y="128588"/>
                </a:cubicBezTo>
                <a:lnTo>
                  <a:pt x="146723" y="128635"/>
                </a:lnTo>
                <a:cubicBezTo>
                  <a:pt x="158533" y="129424"/>
                  <a:pt x="167468" y="139637"/>
                  <a:pt x="166679" y="151447"/>
                </a:cubicBezTo>
                <a:cubicBezTo>
                  <a:pt x="165926" y="162718"/>
                  <a:pt x="156554" y="171471"/>
                  <a:pt x="145256" y="171450"/>
                </a:cubicBezTo>
                <a:lnTo>
                  <a:pt x="145228" y="171498"/>
                </a:lnTo>
                <a:lnTo>
                  <a:pt x="144256" y="171564"/>
                </a:lnTo>
                <a:cubicBezTo>
                  <a:pt x="140347" y="172102"/>
                  <a:pt x="137614" y="175705"/>
                  <a:pt x="138151" y="179614"/>
                </a:cubicBezTo>
                <a:cubicBezTo>
                  <a:pt x="138639" y="183171"/>
                  <a:pt x="141694" y="185814"/>
                  <a:pt x="145285" y="185785"/>
                </a:cubicBezTo>
                <a:lnTo>
                  <a:pt x="145285" y="185738"/>
                </a:lnTo>
                <a:lnTo>
                  <a:pt x="147190" y="185690"/>
                </a:lnTo>
                <a:cubicBezTo>
                  <a:pt x="166140" y="184662"/>
                  <a:pt x="180978" y="168996"/>
                  <a:pt x="180975" y="150019"/>
                </a:cubicBezTo>
                <a:close/>
                <a:moveTo>
                  <a:pt x="119063" y="121444"/>
                </a:moveTo>
                <a:cubicBezTo>
                  <a:pt x="119063" y="117499"/>
                  <a:pt x="115864" y="114300"/>
                  <a:pt x="111919" y="114300"/>
                </a:cubicBezTo>
                <a:lnTo>
                  <a:pt x="110014" y="114348"/>
                </a:lnTo>
                <a:cubicBezTo>
                  <a:pt x="90313" y="115366"/>
                  <a:pt x="75167" y="132161"/>
                  <a:pt x="76186" y="151862"/>
                </a:cubicBezTo>
                <a:cubicBezTo>
                  <a:pt x="77168" y="170871"/>
                  <a:pt x="92884" y="185771"/>
                  <a:pt x="111919" y="185738"/>
                </a:cubicBezTo>
                <a:lnTo>
                  <a:pt x="112890" y="185671"/>
                </a:lnTo>
                <a:cubicBezTo>
                  <a:pt x="116798" y="185133"/>
                  <a:pt x="119531" y="181528"/>
                  <a:pt x="118994" y="177620"/>
                </a:cubicBezTo>
                <a:cubicBezTo>
                  <a:pt x="118507" y="174085"/>
                  <a:pt x="115487" y="171451"/>
                  <a:pt x="111919" y="171450"/>
                </a:cubicBezTo>
                <a:lnTo>
                  <a:pt x="110452" y="171402"/>
                </a:lnTo>
                <a:cubicBezTo>
                  <a:pt x="98642" y="170614"/>
                  <a:pt x="89707" y="160401"/>
                  <a:pt x="90496" y="148591"/>
                </a:cubicBezTo>
                <a:cubicBezTo>
                  <a:pt x="91249" y="137319"/>
                  <a:pt x="100621" y="128567"/>
                  <a:pt x="111919" y="128588"/>
                </a:cubicBezTo>
                <a:lnTo>
                  <a:pt x="112890" y="128521"/>
                </a:lnTo>
                <a:cubicBezTo>
                  <a:pt x="116427" y="128035"/>
                  <a:pt x="119063" y="125014"/>
                  <a:pt x="119063" y="121444"/>
                </a:cubicBezTo>
                <a:close/>
                <a:moveTo>
                  <a:pt x="152400" y="150019"/>
                </a:moveTo>
                <a:cubicBezTo>
                  <a:pt x="152400" y="146074"/>
                  <a:pt x="149202" y="142875"/>
                  <a:pt x="145256" y="142875"/>
                </a:cubicBezTo>
                <a:lnTo>
                  <a:pt x="111919" y="142875"/>
                </a:lnTo>
                <a:lnTo>
                  <a:pt x="110947" y="142942"/>
                </a:lnTo>
                <a:cubicBezTo>
                  <a:pt x="107039" y="143480"/>
                  <a:pt x="104306" y="147084"/>
                  <a:pt x="104844" y="150992"/>
                </a:cubicBezTo>
                <a:cubicBezTo>
                  <a:pt x="105330" y="154528"/>
                  <a:pt x="108351" y="157162"/>
                  <a:pt x="111919" y="157163"/>
                </a:cubicBezTo>
                <a:lnTo>
                  <a:pt x="145256" y="157163"/>
                </a:lnTo>
                <a:lnTo>
                  <a:pt x="146228" y="157096"/>
                </a:lnTo>
                <a:cubicBezTo>
                  <a:pt x="149764" y="156610"/>
                  <a:pt x="152400" y="153589"/>
                  <a:pt x="152400" y="150019"/>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89" name="TextBox 88">
            <a:extLst>
              <a:ext uri="{FF2B5EF4-FFF2-40B4-BE49-F238E27FC236}">
                <a16:creationId xmlns:a16="http://schemas.microsoft.com/office/drawing/2014/main" id="{AEB90455-B066-3786-9075-4A86A5EC6823}"/>
              </a:ext>
            </a:extLst>
          </p:cNvPr>
          <p:cNvSpPr txBox="1">
            <a:spLocks/>
          </p:cNvSpPr>
          <p:nvPr/>
        </p:nvSpPr>
        <p:spPr>
          <a:xfrm>
            <a:off x="7988156" y="3745062"/>
            <a:ext cx="3281332" cy="1184940"/>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Sans Display Semibold" pitchFamily="2" charset="0"/>
              </a:rPr>
              <a:t>Autonomous</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Operate independently</a:t>
            </a:r>
            <a:r>
              <a:rPr kumimoji="0" lang="en-US" sz="1800" b="0" i="0" u="none" strike="noStrike" kern="1200" cap="none" spc="0" normalizeH="0" baseline="0" noProof="0">
                <a:ln>
                  <a:noFill/>
                </a:ln>
                <a:solidFill>
                  <a:srgbClr val="000000"/>
                </a:solidFill>
                <a:effectLst/>
                <a:uLnTx/>
                <a:uFillTx/>
                <a:latin typeface="Segoe UI"/>
                <a:ea typeface="+mn-ea"/>
                <a:cs typeface="Segoe Sans Display Semibold" pitchFamily="2" charset="0"/>
              </a:rPr>
              <a:t>, </a:t>
            </a: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dynamically plan, orchestrate other agents, learn and escalate</a:t>
            </a:r>
          </a:p>
        </p:txBody>
      </p:sp>
    </p:spTree>
    <p:custDataLst>
      <p:tags r:id="rId1"/>
    </p:custDataLst>
    <p:extLst>
      <p:ext uri="{BB962C8B-B14F-4D97-AF65-F5344CB8AC3E}">
        <p14:creationId xmlns:p14="http://schemas.microsoft.com/office/powerpoint/2010/main" val="2650362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C5416A-6833-611D-75C4-5E7BCB91D1E4}"/>
            </a:ext>
          </a:extLst>
        </p:cNvPr>
        <p:cNvGrpSpPr/>
        <p:nvPr/>
      </p:nvGrpSpPr>
      <p:grpSpPr>
        <a:xfrm>
          <a:off x="0" y="0"/>
          <a:ext cx="0" cy="0"/>
          <a:chOff x="0" y="0"/>
          <a:chExt cx="0" cy="0"/>
        </a:xfrm>
      </p:grpSpPr>
      <p:grpSp>
        <p:nvGrpSpPr>
          <p:cNvPr id="9" name="Group 8">
            <a:extLst>
              <a:ext uri="{FF2B5EF4-FFF2-40B4-BE49-F238E27FC236}">
                <a16:creationId xmlns:a16="http://schemas.microsoft.com/office/drawing/2014/main" id="{D535701B-CFFD-A8ED-37E1-37F6112FEC52}"/>
              </a:ext>
              <a:ext uri="{C183D7F6-B498-43B3-948B-1728B52AA6E4}">
                <adec:decorative xmlns:adec="http://schemas.microsoft.com/office/drawing/2017/decorative" val="1"/>
              </a:ext>
            </a:extLst>
          </p:cNvPr>
          <p:cNvGrpSpPr/>
          <p:nvPr/>
        </p:nvGrpSpPr>
        <p:grpSpPr>
          <a:xfrm>
            <a:off x="591621" y="3228275"/>
            <a:ext cx="11049399" cy="1565289"/>
            <a:chOff x="591621" y="3228275"/>
            <a:chExt cx="11049399" cy="1565289"/>
          </a:xfrm>
        </p:grpSpPr>
        <p:sp>
          <p:nvSpPr>
            <p:cNvPr id="10" name="Rectangle: Rounded Corners 9">
              <a:extLst>
                <a:ext uri="{FF2B5EF4-FFF2-40B4-BE49-F238E27FC236}">
                  <a16:creationId xmlns:a16="http://schemas.microsoft.com/office/drawing/2014/main" id="{D6F7D806-311E-18B7-C50E-7C7D8A467462}"/>
                </a:ext>
              </a:extLst>
            </p:cNvPr>
            <p:cNvSpPr/>
            <p:nvPr/>
          </p:nvSpPr>
          <p:spPr bwMode="auto">
            <a:xfrm>
              <a:off x="591621" y="3711511"/>
              <a:ext cx="11049399" cy="523220"/>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Segoe UI Semibold"/>
                <a:ea typeface="+mn-ea"/>
                <a:cs typeface="+mn-cs"/>
              </a:endParaRPr>
            </a:p>
          </p:txBody>
        </p:sp>
        <p:grpSp>
          <p:nvGrpSpPr>
            <p:cNvPr id="11" name="Group 10">
              <a:extLst>
                <a:ext uri="{FF2B5EF4-FFF2-40B4-BE49-F238E27FC236}">
                  <a16:creationId xmlns:a16="http://schemas.microsoft.com/office/drawing/2014/main" id="{9CC5F165-B1B8-6339-5563-44769B21DFBF}"/>
                </a:ext>
              </a:extLst>
            </p:cNvPr>
            <p:cNvGrpSpPr/>
            <p:nvPr/>
          </p:nvGrpSpPr>
          <p:grpSpPr>
            <a:xfrm>
              <a:off x="2787259" y="3477450"/>
              <a:ext cx="991344" cy="991341"/>
              <a:chOff x="2926231" y="2534689"/>
              <a:chExt cx="991344" cy="991341"/>
            </a:xfrm>
          </p:grpSpPr>
          <p:grpSp>
            <p:nvGrpSpPr>
              <p:cNvPr id="62" name="Group 61">
                <a:extLst>
                  <a:ext uri="{FF2B5EF4-FFF2-40B4-BE49-F238E27FC236}">
                    <a16:creationId xmlns:a16="http://schemas.microsoft.com/office/drawing/2014/main" id="{93CB5EED-E785-55BD-00E7-0EEB0DA93091}"/>
                  </a:ext>
                </a:extLst>
              </p:cNvPr>
              <p:cNvGrpSpPr/>
              <p:nvPr/>
            </p:nvGrpSpPr>
            <p:grpSpPr>
              <a:xfrm>
                <a:off x="2926231" y="2534689"/>
                <a:ext cx="991344" cy="991341"/>
                <a:chOff x="3031090" y="2734209"/>
                <a:chExt cx="752625" cy="752623"/>
              </a:xfrm>
            </p:grpSpPr>
            <p:sp>
              <p:nvSpPr>
                <p:cNvPr id="64" name="Oval 63">
                  <a:extLst>
                    <a:ext uri="{FF2B5EF4-FFF2-40B4-BE49-F238E27FC236}">
                      <a16:creationId xmlns:a16="http://schemas.microsoft.com/office/drawing/2014/main" id="{0FD777BE-0DD1-01D3-DEAB-E8F8679DF552}"/>
                    </a:ext>
                  </a:extLst>
                </p:cNvPr>
                <p:cNvSpPr/>
                <p:nvPr/>
              </p:nvSpPr>
              <p:spPr bwMode="auto">
                <a:xfrm>
                  <a:off x="3031090" y="2734209"/>
                  <a:ext cx="752625" cy="752623"/>
                </a:xfrm>
                <a:prstGeom prst="ellipse">
                  <a:avLst/>
                </a:prstGeom>
                <a:solidFill>
                  <a:srgbClr val="FFFFFF">
                    <a:lumMod val="95000"/>
                    <a:alpha val="50000"/>
                  </a:srgbClr>
                </a:solidFill>
                <a:ln w="6350"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2D936FF9-3486-8557-8CDC-D752022FDAFE}"/>
                    </a:ext>
                  </a:extLst>
                </p:cNvPr>
                <p:cNvSpPr/>
                <p:nvPr/>
              </p:nvSpPr>
              <p:spPr bwMode="auto">
                <a:xfrm>
                  <a:off x="3104982" y="2808102"/>
                  <a:ext cx="604841" cy="604837"/>
                </a:xfrm>
                <a:prstGeom prst="ellipse">
                  <a:avLst/>
                </a:prstGeom>
                <a:solidFill>
                  <a:srgbClr val="FFFFFF"/>
                </a:solid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63" name="Graphic 62" descr="Chat outline">
                <a:extLst>
                  <a:ext uri="{FF2B5EF4-FFF2-40B4-BE49-F238E27FC236}">
                    <a16:creationId xmlns:a16="http://schemas.microsoft.com/office/drawing/2014/main" id="{88E907F2-68F0-1B47-818D-6C1FC693C5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23588" y="2741063"/>
                <a:ext cx="591887" cy="591887"/>
              </a:xfrm>
              <a:prstGeom prst="rect">
                <a:avLst/>
              </a:prstGeom>
            </p:spPr>
          </p:pic>
        </p:grpSp>
        <p:grpSp>
          <p:nvGrpSpPr>
            <p:cNvPr id="12" name="Group 11">
              <a:extLst>
                <a:ext uri="{FF2B5EF4-FFF2-40B4-BE49-F238E27FC236}">
                  <a16:creationId xmlns:a16="http://schemas.microsoft.com/office/drawing/2014/main" id="{0457DF1E-82C7-31DC-0AFA-F9365BFE072E}"/>
                </a:ext>
              </a:extLst>
            </p:cNvPr>
            <p:cNvGrpSpPr/>
            <p:nvPr/>
          </p:nvGrpSpPr>
          <p:grpSpPr>
            <a:xfrm>
              <a:off x="5616729" y="3462726"/>
              <a:ext cx="991344" cy="991341"/>
              <a:chOff x="5693247" y="2519965"/>
              <a:chExt cx="991344" cy="991341"/>
            </a:xfrm>
          </p:grpSpPr>
          <p:grpSp>
            <p:nvGrpSpPr>
              <p:cNvPr id="58" name="Group 57">
                <a:extLst>
                  <a:ext uri="{FF2B5EF4-FFF2-40B4-BE49-F238E27FC236}">
                    <a16:creationId xmlns:a16="http://schemas.microsoft.com/office/drawing/2014/main" id="{7686D7DD-4617-7170-6730-CB955A227AF0}"/>
                  </a:ext>
                </a:extLst>
              </p:cNvPr>
              <p:cNvGrpSpPr/>
              <p:nvPr/>
            </p:nvGrpSpPr>
            <p:grpSpPr>
              <a:xfrm>
                <a:off x="5693247" y="2519965"/>
                <a:ext cx="991344" cy="991341"/>
                <a:chOff x="3031090" y="2734209"/>
                <a:chExt cx="752625" cy="752623"/>
              </a:xfrm>
            </p:grpSpPr>
            <p:sp>
              <p:nvSpPr>
                <p:cNvPr id="60" name="Oval 59">
                  <a:extLst>
                    <a:ext uri="{FF2B5EF4-FFF2-40B4-BE49-F238E27FC236}">
                      <a16:creationId xmlns:a16="http://schemas.microsoft.com/office/drawing/2014/main" id="{D840B118-AB8F-DAB3-0D08-FC6CC4DBFC54}"/>
                    </a:ext>
                  </a:extLst>
                </p:cNvPr>
                <p:cNvSpPr/>
                <p:nvPr/>
              </p:nvSpPr>
              <p:spPr bwMode="auto">
                <a:xfrm>
                  <a:off x="3031090" y="2734209"/>
                  <a:ext cx="752625" cy="752623"/>
                </a:xfrm>
                <a:prstGeom prst="ellipse">
                  <a:avLst/>
                </a:prstGeom>
                <a:solidFill>
                  <a:srgbClr val="FFFFFF">
                    <a:lumMod val="95000"/>
                    <a:alpha val="50000"/>
                  </a:srgbClr>
                </a:solidFill>
                <a:ln w="6350"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4B2DADFE-7417-5F7B-A9DD-ED219AD9F4B1}"/>
                    </a:ext>
                  </a:extLst>
                </p:cNvPr>
                <p:cNvSpPr/>
                <p:nvPr/>
              </p:nvSpPr>
              <p:spPr bwMode="auto">
                <a:xfrm>
                  <a:off x="3104982" y="2808102"/>
                  <a:ext cx="604841" cy="604837"/>
                </a:xfrm>
                <a:prstGeom prst="ellipse">
                  <a:avLst/>
                </a:prstGeom>
                <a:solidFill>
                  <a:srgbClr val="FFFFFF"/>
                </a:solid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59" name="Graphic 58" descr="Flowchart outline">
                <a:extLst>
                  <a:ext uri="{FF2B5EF4-FFF2-40B4-BE49-F238E27FC236}">
                    <a16:creationId xmlns:a16="http://schemas.microsoft.com/office/drawing/2014/main" id="{9AEB6F86-42D1-9637-4724-EE890C9414C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14768" y="2731859"/>
                <a:ext cx="552075" cy="552075"/>
              </a:xfrm>
              <a:prstGeom prst="rect">
                <a:avLst/>
              </a:prstGeom>
            </p:spPr>
          </p:pic>
        </p:grpSp>
        <p:grpSp>
          <p:nvGrpSpPr>
            <p:cNvPr id="13" name="Group 12">
              <a:extLst>
                <a:ext uri="{FF2B5EF4-FFF2-40B4-BE49-F238E27FC236}">
                  <a16:creationId xmlns:a16="http://schemas.microsoft.com/office/drawing/2014/main" id="{ECC4B565-9CCA-5190-F5C9-91147DC533B8}"/>
                </a:ext>
              </a:extLst>
            </p:cNvPr>
            <p:cNvGrpSpPr/>
            <p:nvPr/>
          </p:nvGrpSpPr>
          <p:grpSpPr>
            <a:xfrm>
              <a:off x="8444770" y="3461914"/>
              <a:ext cx="991344" cy="991341"/>
              <a:chOff x="8326586" y="2528545"/>
              <a:chExt cx="991344" cy="991341"/>
            </a:xfrm>
          </p:grpSpPr>
          <p:grpSp>
            <p:nvGrpSpPr>
              <p:cNvPr id="54" name="Group 53">
                <a:extLst>
                  <a:ext uri="{FF2B5EF4-FFF2-40B4-BE49-F238E27FC236}">
                    <a16:creationId xmlns:a16="http://schemas.microsoft.com/office/drawing/2014/main" id="{B844D3ED-4A3F-C9ED-DFC0-F551DEA3E696}"/>
                  </a:ext>
                </a:extLst>
              </p:cNvPr>
              <p:cNvGrpSpPr/>
              <p:nvPr/>
            </p:nvGrpSpPr>
            <p:grpSpPr>
              <a:xfrm>
                <a:off x="8326586" y="2528545"/>
                <a:ext cx="991344" cy="991341"/>
                <a:chOff x="3031090" y="2734209"/>
                <a:chExt cx="752625" cy="752623"/>
              </a:xfrm>
            </p:grpSpPr>
            <p:sp>
              <p:nvSpPr>
                <p:cNvPr id="56" name="Oval 55">
                  <a:extLst>
                    <a:ext uri="{FF2B5EF4-FFF2-40B4-BE49-F238E27FC236}">
                      <a16:creationId xmlns:a16="http://schemas.microsoft.com/office/drawing/2014/main" id="{92D0C02A-5571-0397-ABDC-22453175A26D}"/>
                    </a:ext>
                  </a:extLst>
                </p:cNvPr>
                <p:cNvSpPr/>
                <p:nvPr/>
              </p:nvSpPr>
              <p:spPr bwMode="auto">
                <a:xfrm>
                  <a:off x="3031090" y="2734209"/>
                  <a:ext cx="752625" cy="752623"/>
                </a:xfrm>
                <a:prstGeom prst="ellipse">
                  <a:avLst/>
                </a:prstGeom>
                <a:solidFill>
                  <a:srgbClr val="FFFFFF">
                    <a:lumMod val="95000"/>
                    <a:alpha val="50000"/>
                  </a:srgbClr>
                </a:solidFill>
                <a:ln w="6350"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AD799FB8-608D-7C56-5C0B-8CE2745655F2}"/>
                    </a:ext>
                  </a:extLst>
                </p:cNvPr>
                <p:cNvSpPr/>
                <p:nvPr/>
              </p:nvSpPr>
              <p:spPr bwMode="auto">
                <a:xfrm>
                  <a:off x="3104982" y="2808102"/>
                  <a:ext cx="604841" cy="604837"/>
                </a:xfrm>
                <a:prstGeom prst="ellipse">
                  <a:avLst/>
                </a:prstGeom>
                <a:solidFill>
                  <a:srgbClr val="FFFFFF"/>
                </a:solid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55" name="Graphic 54" descr="Robot Hand outline">
                <a:extLst>
                  <a:ext uri="{FF2B5EF4-FFF2-40B4-BE49-F238E27FC236}">
                    <a16:creationId xmlns:a16="http://schemas.microsoft.com/office/drawing/2014/main" id="{F6E32AAB-A254-DB38-94B7-DE9CC505E4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585864" y="2737513"/>
                <a:ext cx="549697" cy="549697"/>
              </a:xfrm>
              <a:prstGeom prst="rect">
                <a:avLst/>
              </a:prstGeom>
            </p:spPr>
          </p:pic>
        </p:grpSp>
        <p:sp>
          <p:nvSpPr>
            <p:cNvPr id="14" name="TextBox 13">
              <a:extLst>
                <a:ext uri="{FF2B5EF4-FFF2-40B4-BE49-F238E27FC236}">
                  <a16:creationId xmlns:a16="http://schemas.microsoft.com/office/drawing/2014/main" id="{30B7295D-F85F-DB4D-FB7F-2271CF9F5260}"/>
                </a:ext>
              </a:extLst>
            </p:cNvPr>
            <p:cNvSpPr txBox="1"/>
            <p:nvPr/>
          </p:nvSpPr>
          <p:spPr>
            <a:xfrm>
              <a:off x="771315" y="3869498"/>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mn-cs"/>
                </a:rPr>
                <a:t>Simple</a:t>
              </a: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5" name="TextBox 14">
              <a:extLst>
                <a:ext uri="{FF2B5EF4-FFF2-40B4-BE49-F238E27FC236}">
                  <a16:creationId xmlns:a16="http://schemas.microsoft.com/office/drawing/2014/main" id="{26F9EC5A-98FE-C62A-3F0B-F17BF93C4EFB}"/>
                </a:ext>
              </a:extLst>
            </p:cNvPr>
            <p:cNvSpPr txBox="1"/>
            <p:nvPr/>
          </p:nvSpPr>
          <p:spPr>
            <a:xfrm>
              <a:off x="10224306" y="3869498"/>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mn-cs"/>
                </a:rPr>
                <a:t>Advanced</a:t>
              </a: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32" name="Straight Connector 31">
              <a:extLst>
                <a:ext uri="{FF2B5EF4-FFF2-40B4-BE49-F238E27FC236}">
                  <a16:creationId xmlns:a16="http://schemas.microsoft.com/office/drawing/2014/main" id="{9ED99FF6-3DFD-A773-7E6D-FABAC0A9578D}"/>
                </a:ext>
              </a:extLst>
            </p:cNvPr>
            <p:cNvCxnSpPr>
              <a:cxnSpLocks/>
            </p:cNvCxnSpPr>
            <p:nvPr/>
          </p:nvCxnSpPr>
          <p:spPr>
            <a:xfrm>
              <a:off x="2082569" y="3228275"/>
              <a:ext cx="0" cy="483236"/>
            </a:xfrm>
            <a:prstGeom prst="line">
              <a:avLst/>
            </a:prstGeom>
            <a:noFill/>
            <a:ln w="19050" cap="flat" cmpd="sng" algn="ctr">
              <a:solidFill>
                <a:srgbClr val="D043A0"/>
              </a:solidFill>
              <a:prstDash val="solid"/>
              <a:headEnd type="none" w="lg" len="med"/>
              <a:tailEnd type="none" w="lg" len="med"/>
            </a:ln>
            <a:effectLst/>
          </p:spPr>
        </p:cxnSp>
        <p:cxnSp>
          <p:nvCxnSpPr>
            <p:cNvPr id="33" name="Straight Connector 32">
              <a:extLst>
                <a:ext uri="{FF2B5EF4-FFF2-40B4-BE49-F238E27FC236}">
                  <a16:creationId xmlns:a16="http://schemas.microsoft.com/office/drawing/2014/main" id="{49416062-C265-F873-C199-D67CF61A14C1}"/>
                </a:ext>
              </a:extLst>
            </p:cNvPr>
            <p:cNvCxnSpPr>
              <a:cxnSpLocks/>
            </p:cNvCxnSpPr>
            <p:nvPr/>
          </p:nvCxnSpPr>
          <p:spPr>
            <a:xfrm>
              <a:off x="3778603" y="4234731"/>
              <a:ext cx="0" cy="558833"/>
            </a:xfrm>
            <a:prstGeom prst="line">
              <a:avLst/>
            </a:prstGeom>
            <a:noFill/>
            <a:ln w="19050" cap="flat" cmpd="sng" algn="ctr">
              <a:solidFill>
                <a:srgbClr val="D043A0"/>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224CD0F8-50DE-28E3-76F1-123D3C9B486B}"/>
                </a:ext>
              </a:extLst>
            </p:cNvPr>
            <p:cNvCxnSpPr>
              <a:cxnSpLocks/>
            </p:cNvCxnSpPr>
            <p:nvPr/>
          </p:nvCxnSpPr>
          <p:spPr>
            <a:xfrm>
              <a:off x="5311515" y="3238697"/>
              <a:ext cx="0" cy="475160"/>
            </a:xfrm>
            <a:prstGeom prst="line">
              <a:avLst/>
            </a:prstGeom>
            <a:noFill/>
            <a:ln w="19050" cap="flat" cmpd="sng" algn="ctr">
              <a:solidFill>
                <a:srgbClr val="595CCD"/>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3210D65-BDE9-E74D-FFC1-52666D70155A}"/>
                </a:ext>
              </a:extLst>
            </p:cNvPr>
            <p:cNvCxnSpPr>
              <a:cxnSpLocks/>
            </p:cNvCxnSpPr>
            <p:nvPr/>
          </p:nvCxnSpPr>
          <p:spPr>
            <a:xfrm>
              <a:off x="7110643" y="4234731"/>
              <a:ext cx="0" cy="558833"/>
            </a:xfrm>
            <a:prstGeom prst="line">
              <a:avLst/>
            </a:prstGeom>
            <a:noFill/>
            <a:ln w="19050" cap="flat" cmpd="sng" algn="ctr">
              <a:solidFill>
                <a:srgbClr val="595CCD"/>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EBCBB963-C881-FC20-DD69-34387E14ECD2}"/>
                </a:ext>
              </a:extLst>
            </p:cNvPr>
            <p:cNvCxnSpPr>
              <a:cxnSpLocks/>
            </p:cNvCxnSpPr>
            <p:nvPr/>
          </p:nvCxnSpPr>
          <p:spPr>
            <a:xfrm>
              <a:off x="8377338" y="3238697"/>
              <a:ext cx="0" cy="472814"/>
            </a:xfrm>
            <a:prstGeom prst="line">
              <a:avLst/>
            </a:prstGeom>
            <a:noFill/>
            <a:ln w="19050" cap="flat" cmpd="sng" algn="ctr">
              <a:solidFill>
                <a:srgbClr val="0D8ECF"/>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9CF60B9-FE9C-E5CF-ED0E-A07317A98703}"/>
                </a:ext>
              </a:extLst>
            </p:cNvPr>
            <p:cNvCxnSpPr>
              <a:cxnSpLocks/>
            </p:cNvCxnSpPr>
            <p:nvPr/>
          </p:nvCxnSpPr>
          <p:spPr>
            <a:xfrm>
              <a:off x="10418886" y="4234731"/>
              <a:ext cx="0" cy="558833"/>
            </a:xfrm>
            <a:prstGeom prst="line">
              <a:avLst/>
            </a:prstGeom>
            <a:noFill/>
            <a:ln w="19050" cap="flat" cmpd="sng" algn="ctr">
              <a:solidFill>
                <a:srgbClr val="0D8ECF"/>
              </a:solidFill>
              <a:prstDash val="solid"/>
              <a:headEnd type="none" w="lg" len="med"/>
              <a:tailEnd type="none" w="lg" len="med"/>
            </a:ln>
            <a:effectLst/>
          </p:spPr>
        </p:cxnSp>
      </p:grpSp>
      <p:grpSp>
        <p:nvGrpSpPr>
          <p:cNvPr id="66" name="Group 65">
            <a:extLst>
              <a:ext uri="{FF2B5EF4-FFF2-40B4-BE49-F238E27FC236}">
                <a16:creationId xmlns:a16="http://schemas.microsoft.com/office/drawing/2014/main" id="{405AB3F1-8FFE-E7DB-13BC-4C3B888819EE}"/>
              </a:ext>
              <a:ext uri="{C183D7F6-B498-43B3-948B-1728B52AA6E4}">
                <adec:decorative xmlns:adec="http://schemas.microsoft.com/office/drawing/2017/decorative" val="1"/>
              </a:ext>
            </a:extLst>
          </p:cNvPr>
          <p:cNvGrpSpPr/>
          <p:nvPr/>
        </p:nvGrpSpPr>
        <p:grpSpPr>
          <a:xfrm>
            <a:off x="593007" y="2347747"/>
            <a:ext cx="10353948" cy="3342510"/>
            <a:chOff x="593007" y="2347747"/>
            <a:chExt cx="10353948" cy="3342510"/>
          </a:xfrm>
        </p:grpSpPr>
        <p:sp>
          <p:nvSpPr>
            <p:cNvPr id="67" name="Rectangle: Rounded Corners 6">
              <a:extLst>
                <a:ext uri="{FF2B5EF4-FFF2-40B4-BE49-F238E27FC236}">
                  <a16:creationId xmlns:a16="http://schemas.microsoft.com/office/drawing/2014/main" id="{65F9ACF1-0EF9-1EBB-E4F8-9B6BB8582A7C}"/>
                </a:ext>
                <a:ext uri="{C183D7F6-B498-43B3-948B-1728B52AA6E4}">
                  <adec:decorative xmlns:adec="http://schemas.microsoft.com/office/drawing/2017/decorative" val="1"/>
                </a:ext>
              </a:extLst>
            </p:cNvPr>
            <p:cNvSpPr/>
            <p:nvPr/>
          </p:nvSpPr>
          <p:spPr bwMode="auto">
            <a:xfrm>
              <a:off x="7610622" y="2353071"/>
              <a:ext cx="2580170" cy="890950"/>
            </a:xfrm>
            <a:prstGeom prst="roundRect">
              <a:avLst>
                <a:gd name="adj" fmla="val 8425"/>
              </a:avLst>
            </a:prstGeom>
            <a:solidFill>
              <a:srgbClr val="FFFFFF"/>
            </a:solidFill>
            <a:ln w="19050" cap="flat" cmpd="sng" algn="ctr">
              <a:solidFill>
                <a:srgbClr val="0D8ECF"/>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8" name="Graphic 67">
              <a:extLst>
                <a:ext uri="{FF2B5EF4-FFF2-40B4-BE49-F238E27FC236}">
                  <a16:creationId xmlns:a16="http://schemas.microsoft.com/office/drawing/2014/main" id="{F16E86F8-E856-F0F1-EE0B-9787076C7B8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175910" y="3000148"/>
              <a:ext cx="117643" cy="141171"/>
            </a:xfrm>
            <a:prstGeom prst="rect">
              <a:avLst/>
            </a:prstGeom>
          </p:spPr>
        </p:pic>
        <p:pic>
          <p:nvPicPr>
            <p:cNvPr id="69" name="Graphic 68">
              <a:extLst>
                <a:ext uri="{FF2B5EF4-FFF2-40B4-BE49-F238E27FC236}">
                  <a16:creationId xmlns:a16="http://schemas.microsoft.com/office/drawing/2014/main" id="{B64ADA71-C904-5716-A52F-14F04612E36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956826" y="3000148"/>
              <a:ext cx="141171" cy="141171"/>
            </a:xfrm>
            <a:prstGeom prst="rect">
              <a:avLst/>
            </a:prstGeom>
          </p:spPr>
        </p:pic>
        <p:pic>
          <p:nvPicPr>
            <p:cNvPr id="70" name="Graphic 69">
              <a:extLst>
                <a:ext uri="{FF2B5EF4-FFF2-40B4-BE49-F238E27FC236}">
                  <a16:creationId xmlns:a16="http://schemas.microsoft.com/office/drawing/2014/main" id="{CB3027A0-21C7-FCD7-78F5-D0D0E153D06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866604" y="3009461"/>
              <a:ext cx="117643" cy="117643"/>
            </a:xfrm>
            <a:prstGeom prst="rect">
              <a:avLst/>
            </a:prstGeom>
          </p:spPr>
        </p:pic>
        <p:sp>
          <p:nvSpPr>
            <p:cNvPr id="71" name="Rectangle: Rounded Corners 6">
              <a:extLst>
                <a:ext uri="{FF2B5EF4-FFF2-40B4-BE49-F238E27FC236}">
                  <a16:creationId xmlns:a16="http://schemas.microsoft.com/office/drawing/2014/main" id="{D815D3CF-0473-50CB-E782-7F805CF3F000}"/>
                </a:ext>
                <a:ext uri="{C183D7F6-B498-43B3-948B-1728B52AA6E4}">
                  <adec:decorative xmlns:adec="http://schemas.microsoft.com/office/drawing/2017/decorative" val="1"/>
                </a:ext>
              </a:extLst>
            </p:cNvPr>
            <p:cNvSpPr/>
            <p:nvPr/>
          </p:nvSpPr>
          <p:spPr bwMode="auto">
            <a:xfrm>
              <a:off x="593007" y="2347747"/>
              <a:ext cx="2580170" cy="890950"/>
            </a:xfrm>
            <a:prstGeom prst="roundRect">
              <a:avLst>
                <a:gd name="adj" fmla="val 8425"/>
              </a:avLst>
            </a:prstGeom>
            <a:solidFill>
              <a:srgbClr val="FFFFFF"/>
            </a:solidFill>
            <a:ln w="19050" cap="flat" cmpd="sng" algn="ctr">
              <a:solidFill>
                <a:srgbClr val="D043A0"/>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2" name="Graphic 71">
              <a:extLst>
                <a:ext uri="{FF2B5EF4-FFF2-40B4-BE49-F238E27FC236}">
                  <a16:creationId xmlns:a16="http://schemas.microsoft.com/office/drawing/2014/main" id="{A9972566-ED54-3300-1789-897859870E6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58295" y="2994824"/>
              <a:ext cx="117643" cy="141171"/>
            </a:xfrm>
            <a:prstGeom prst="rect">
              <a:avLst/>
            </a:prstGeom>
          </p:spPr>
        </p:pic>
        <p:pic>
          <p:nvPicPr>
            <p:cNvPr id="73" name="Graphic 72">
              <a:extLst>
                <a:ext uri="{FF2B5EF4-FFF2-40B4-BE49-F238E27FC236}">
                  <a16:creationId xmlns:a16="http://schemas.microsoft.com/office/drawing/2014/main" id="{1ED04DB9-990C-D5BB-06E0-2DF76558709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939211" y="2994824"/>
              <a:ext cx="141171" cy="141171"/>
            </a:xfrm>
            <a:prstGeom prst="rect">
              <a:avLst/>
            </a:prstGeom>
          </p:spPr>
        </p:pic>
        <p:pic>
          <p:nvPicPr>
            <p:cNvPr id="74" name="Graphic 73">
              <a:extLst>
                <a:ext uri="{FF2B5EF4-FFF2-40B4-BE49-F238E27FC236}">
                  <a16:creationId xmlns:a16="http://schemas.microsoft.com/office/drawing/2014/main" id="{16C6C470-027D-C58A-510A-7FACCCD44EF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48989" y="3004137"/>
              <a:ext cx="117643" cy="117643"/>
            </a:xfrm>
            <a:prstGeom prst="rect">
              <a:avLst/>
            </a:prstGeom>
          </p:spPr>
        </p:pic>
        <p:sp>
          <p:nvSpPr>
            <p:cNvPr id="75" name="Rectangle: Rounded Corners 6">
              <a:extLst>
                <a:ext uri="{FF2B5EF4-FFF2-40B4-BE49-F238E27FC236}">
                  <a16:creationId xmlns:a16="http://schemas.microsoft.com/office/drawing/2014/main" id="{39811B81-B2B4-C2E4-4ACD-0F69E2E745FB}"/>
                </a:ext>
                <a:ext uri="{C183D7F6-B498-43B3-948B-1728B52AA6E4}">
                  <adec:decorative xmlns:adec="http://schemas.microsoft.com/office/drawing/2017/decorative" val="1"/>
                </a:ext>
              </a:extLst>
            </p:cNvPr>
            <p:cNvSpPr/>
            <p:nvPr/>
          </p:nvSpPr>
          <p:spPr bwMode="auto">
            <a:xfrm>
              <a:off x="1676859" y="4799307"/>
              <a:ext cx="2580170" cy="890950"/>
            </a:xfrm>
            <a:prstGeom prst="roundRect">
              <a:avLst>
                <a:gd name="adj" fmla="val 8425"/>
              </a:avLst>
            </a:prstGeom>
            <a:solidFill>
              <a:srgbClr val="FFFFFF"/>
            </a:solidFill>
            <a:ln w="19050" cap="flat" cmpd="sng" algn="ctr">
              <a:solidFill>
                <a:srgbClr val="D043A0"/>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6" name="Graphic 75">
              <a:extLst>
                <a:ext uri="{FF2B5EF4-FFF2-40B4-BE49-F238E27FC236}">
                  <a16:creationId xmlns:a16="http://schemas.microsoft.com/office/drawing/2014/main" id="{9C0BE90C-CA40-5224-00FB-E49533239E8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2147" y="5446384"/>
              <a:ext cx="117643" cy="141171"/>
            </a:xfrm>
            <a:prstGeom prst="rect">
              <a:avLst/>
            </a:prstGeom>
          </p:spPr>
        </p:pic>
        <p:pic>
          <p:nvPicPr>
            <p:cNvPr id="77" name="Graphic 76">
              <a:extLst>
                <a:ext uri="{FF2B5EF4-FFF2-40B4-BE49-F238E27FC236}">
                  <a16:creationId xmlns:a16="http://schemas.microsoft.com/office/drawing/2014/main" id="{84A2C2BC-60F1-3233-D60E-AEF43460F13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023063" y="5446384"/>
              <a:ext cx="141171" cy="141171"/>
            </a:xfrm>
            <a:prstGeom prst="rect">
              <a:avLst/>
            </a:prstGeom>
          </p:spPr>
        </p:pic>
        <p:pic>
          <p:nvPicPr>
            <p:cNvPr id="78" name="Graphic 77">
              <a:extLst>
                <a:ext uri="{FF2B5EF4-FFF2-40B4-BE49-F238E27FC236}">
                  <a16:creationId xmlns:a16="http://schemas.microsoft.com/office/drawing/2014/main" id="{678CB1A3-4EAE-D940-B29A-E2386DE9BE9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932841" y="5455697"/>
              <a:ext cx="117643" cy="117643"/>
            </a:xfrm>
            <a:prstGeom prst="rect">
              <a:avLst/>
            </a:prstGeom>
          </p:spPr>
        </p:pic>
        <p:sp>
          <p:nvSpPr>
            <p:cNvPr id="79" name="Rectangle: Rounded Corners 6">
              <a:extLst>
                <a:ext uri="{FF2B5EF4-FFF2-40B4-BE49-F238E27FC236}">
                  <a16:creationId xmlns:a16="http://schemas.microsoft.com/office/drawing/2014/main" id="{EED16D0A-E0EF-7CB1-8462-2E9665D02808}"/>
                </a:ext>
                <a:ext uri="{C183D7F6-B498-43B3-948B-1728B52AA6E4}">
                  <adec:decorative xmlns:adec="http://schemas.microsoft.com/office/drawing/2017/decorative" val="1"/>
                </a:ext>
              </a:extLst>
            </p:cNvPr>
            <p:cNvSpPr/>
            <p:nvPr/>
          </p:nvSpPr>
          <p:spPr bwMode="auto">
            <a:xfrm>
              <a:off x="4971286" y="4795667"/>
              <a:ext cx="2580170" cy="890950"/>
            </a:xfrm>
            <a:prstGeom prst="roundRect">
              <a:avLst>
                <a:gd name="adj" fmla="val 8425"/>
              </a:avLst>
            </a:prstGeom>
            <a:solidFill>
              <a:srgbClr val="FFFFFF"/>
            </a:solidFill>
            <a:ln w="19050" cap="flat" cmpd="sng" algn="ctr">
              <a:solidFill>
                <a:srgbClr val="595CCD"/>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0" name="Graphic 79">
              <a:extLst>
                <a:ext uri="{FF2B5EF4-FFF2-40B4-BE49-F238E27FC236}">
                  <a16:creationId xmlns:a16="http://schemas.microsoft.com/office/drawing/2014/main" id="{C05180D5-B3B2-E200-536C-B6E5FBF52BC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36574" y="5442744"/>
              <a:ext cx="117643" cy="141171"/>
            </a:xfrm>
            <a:prstGeom prst="rect">
              <a:avLst/>
            </a:prstGeom>
          </p:spPr>
        </p:pic>
        <p:pic>
          <p:nvPicPr>
            <p:cNvPr id="81" name="Graphic 80">
              <a:extLst>
                <a:ext uri="{FF2B5EF4-FFF2-40B4-BE49-F238E27FC236}">
                  <a16:creationId xmlns:a16="http://schemas.microsoft.com/office/drawing/2014/main" id="{18720A1C-8518-AC82-9979-7FBF5698B3A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17490" y="5442744"/>
              <a:ext cx="141171" cy="141171"/>
            </a:xfrm>
            <a:prstGeom prst="rect">
              <a:avLst/>
            </a:prstGeom>
          </p:spPr>
        </p:pic>
        <p:pic>
          <p:nvPicPr>
            <p:cNvPr id="82" name="Graphic 81">
              <a:extLst>
                <a:ext uri="{FF2B5EF4-FFF2-40B4-BE49-F238E27FC236}">
                  <a16:creationId xmlns:a16="http://schemas.microsoft.com/office/drawing/2014/main" id="{4B0EE2EF-9BAB-E0F8-4743-CD5EB11FFC8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227268" y="5452057"/>
              <a:ext cx="117643" cy="117643"/>
            </a:xfrm>
            <a:prstGeom prst="rect">
              <a:avLst/>
            </a:prstGeom>
          </p:spPr>
        </p:pic>
        <p:sp>
          <p:nvSpPr>
            <p:cNvPr id="83" name="Rectangle: Rounded Corners 6">
              <a:extLst>
                <a:ext uri="{FF2B5EF4-FFF2-40B4-BE49-F238E27FC236}">
                  <a16:creationId xmlns:a16="http://schemas.microsoft.com/office/drawing/2014/main" id="{CE5685B2-8B1F-02C6-46A6-40D076BF2EAE}"/>
                </a:ext>
                <a:ext uri="{C183D7F6-B498-43B3-948B-1728B52AA6E4}">
                  <adec:decorative xmlns:adec="http://schemas.microsoft.com/office/drawing/2017/decorative" val="1"/>
                </a:ext>
              </a:extLst>
            </p:cNvPr>
            <p:cNvSpPr/>
            <p:nvPr/>
          </p:nvSpPr>
          <p:spPr bwMode="auto">
            <a:xfrm>
              <a:off x="4149477" y="2350209"/>
              <a:ext cx="2580170" cy="890950"/>
            </a:xfrm>
            <a:prstGeom prst="roundRect">
              <a:avLst>
                <a:gd name="adj" fmla="val 8425"/>
              </a:avLst>
            </a:prstGeom>
            <a:solidFill>
              <a:srgbClr val="FFFFFF"/>
            </a:solidFill>
            <a:ln w="19050" cap="flat" cmpd="sng" algn="ctr">
              <a:solidFill>
                <a:srgbClr val="595CCD"/>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4" name="Graphic 83">
              <a:extLst>
                <a:ext uri="{FF2B5EF4-FFF2-40B4-BE49-F238E27FC236}">
                  <a16:creationId xmlns:a16="http://schemas.microsoft.com/office/drawing/2014/main" id="{3178C76F-EA6E-03FC-A137-84BB00DF98A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714765" y="2997286"/>
              <a:ext cx="117643" cy="141171"/>
            </a:xfrm>
            <a:prstGeom prst="rect">
              <a:avLst/>
            </a:prstGeom>
          </p:spPr>
        </p:pic>
        <p:pic>
          <p:nvPicPr>
            <p:cNvPr id="85" name="Graphic 84">
              <a:extLst>
                <a:ext uri="{FF2B5EF4-FFF2-40B4-BE49-F238E27FC236}">
                  <a16:creationId xmlns:a16="http://schemas.microsoft.com/office/drawing/2014/main" id="{D436F67E-0013-6907-5755-2A34DA3A265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95681" y="2997286"/>
              <a:ext cx="141171" cy="141171"/>
            </a:xfrm>
            <a:prstGeom prst="rect">
              <a:avLst/>
            </a:prstGeom>
          </p:spPr>
        </p:pic>
        <p:pic>
          <p:nvPicPr>
            <p:cNvPr id="86" name="Graphic 85">
              <a:extLst>
                <a:ext uri="{FF2B5EF4-FFF2-40B4-BE49-F238E27FC236}">
                  <a16:creationId xmlns:a16="http://schemas.microsoft.com/office/drawing/2014/main" id="{BA252DD0-3EDA-4BD5-C423-BD0B6B978E8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405459" y="3006599"/>
              <a:ext cx="117643" cy="117643"/>
            </a:xfrm>
            <a:prstGeom prst="rect">
              <a:avLst/>
            </a:prstGeom>
          </p:spPr>
        </p:pic>
        <p:sp>
          <p:nvSpPr>
            <p:cNvPr id="87" name="Rectangle: Rounded Corners 6">
              <a:extLst>
                <a:ext uri="{FF2B5EF4-FFF2-40B4-BE49-F238E27FC236}">
                  <a16:creationId xmlns:a16="http://schemas.microsoft.com/office/drawing/2014/main" id="{3D6021F6-6CAC-3CF3-B144-D7EB242F9116}"/>
                </a:ext>
                <a:ext uri="{C183D7F6-B498-43B3-948B-1728B52AA6E4}">
                  <adec:decorative xmlns:adec="http://schemas.microsoft.com/office/drawing/2017/decorative" val="1"/>
                </a:ext>
              </a:extLst>
            </p:cNvPr>
            <p:cNvSpPr/>
            <p:nvPr/>
          </p:nvSpPr>
          <p:spPr bwMode="auto">
            <a:xfrm>
              <a:off x="8366785" y="4793564"/>
              <a:ext cx="2580170" cy="890950"/>
            </a:xfrm>
            <a:prstGeom prst="roundRect">
              <a:avLst>
                <a:gd name="adj" fmla="val 8425"/>
              </a:avLst>
            </a:prstGeom>
            <a:solidFill>
              <a:srgbClr val="FFFFFF"/>
            </a:solidFill>
            <a:ln w="19050" cap="flat" cmpd="sng" algn="ctr">
              <a:solidFill>
                <a:srgbClr val="0D8ECF"/>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8" name="Graphic 87">
              <a:extLst>
                <a:ext uri="{FF2B5EF4-FFF2-40B4-BE49-F238E27FC236}">
                  <a16:creationId xmlns:a16="http://schemas.microsoft.com/office/drawing/2014/main" id="{F9A1997A-09D0-ABA9-FCD4-2F4396E508F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32073" y="5440641"/>
              <a:ext cx="117643" cy="141171"/>
            </a:xfrm>
            <a:prstGeom prst="rect">
              <a:avLst/>
            </a:prstGeom>
          </p:spPr>
        </p:pic>
        <p:pic>
          <p:nvPicPr>
            <p:cNvPr id="89" name="Graphic 88">
              <a:extLst>
                <a:ext uri="{FF2B5EF4-FFF2-40B4-BE49-F238E27FC236}">
                  <a16:creationId xmlns:a16="http://schemas.microsoft.com/office/drawing/2014/main" id="{B32441C5-A7B3-E6CF-A337-1D25407B86B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712989" y="5440641"/>
              <a:ext cx="141171" cy="141171"/>
            </a:xfrm>
            <a:prstGeom prst="rect">
              <a:avLst/>
            </a:prstGeom>
          </p:spPr>
        </p:pic>
        <p:pic>
          <p:nvPicPr>
            <p:cNvPr id="90" name="Graphic 89">
              <a:extLst>
                <a:ext uri="{FF2B5EF4-FFF2-40B4-BE49-F238E27FC236}">
                  <a16:creationId xmlns:a16="http://schemas.microsoft.com/office/drawing/2014/main" id="{5E6FADD3-71D0-FC13-75E2-55945D8A04D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622767" y="5449954"/>
              <a:ext cx="117643" cy="117643"/>
            </a:xfrm>
            <a:prstGeom prst="rect">
              <a:avLst/>
            </a:prstGeom>
          </p:spPr>
        </p:pic>
      </p:grpSp>
      <p:sp>
        <p:nvSpPr>
          <p:cNvPr id="92" name="TextBox 91">
            <a:extLst>
              <a:ext uri="{FF2B5EF4-FFF2-40B4-BE49-F238E27FC236}">
                <a16:creationId xmlns:a16="http://schemas.microsoft.com/office/drawing/2014/main" id="{22B98046-2A4F-AC20-BBBE-E5BAC76C8CDE}"/>
              </a:ext>
            </a:extLst>
          </p:cNvPr>
          <p:cNvSpPr txBox="1"/>
          <p:nvPr/>
        </p:nvSpPr>
        <p:spPr>
          <a:xfrm>
            <a:off x="604582" y="2111875"/>
            <a:ext cx="197953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mn-ea"/>
                <a:cs typeface="Segoe Sans Text Semibold" pitchFamily="2" charset="0"/>
              </a:rPr>
              <a:t>IT Helpdesk agent</a:t>
            </a:r>
          </a:p>
        </p:txBody>
      </p:sp>
      <p:sp>
        <p:nvSpPr>
          <p:cNvPr id="93" name="Title 1">
            <a:extLst>
              <a:ext uri="{FF2B5EF4-FFF2-40B4-BE49-F238E27FC236}">
                <a16:creationId xmlns:a16="http://schemas.microsoft.com/office/drawing/2014/main" id="{25F5029B-B87A-6ABA-436A-4A25DD08FAA6}"/>
              </a:ext>
            </a:extLst>
          </p:cNvPr>
          <p:cNvSpPr txBox="1">
            <a:spLocks/>
          </p:cNvSpPr>
          <p:nvPr/>
        </p:nvSpPr>
        <p:spPr>
          <a:xfrm>
            <a:off x="734689" y="2436676"/>
            <a:ext cx="2319033" cy="367088"/>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500"/>
              </a:lnSpc>
              <a:spcBef>
                <a:spcPct val="0"/>
              </a:spcBef>
              <a:spcAft>
                <a:spcPct val="0"/>
              </a:spcAft>
              <a:buClrTx/>
              <a:buSzTx/>
              <a:buFontTx/>
              <a:buNone/>
              <a:tabLst/>
              <a:defRPr/>
            </a:pPr>
            <a:r>
              <a:rPr kumimoji="0" lang="en-US" sz="1050" b="0" i="0" u="none" strike="noStrike" kern="1200" cap="none" spc="0" normalizeH="0" baseline="0" noProof="0">
                <a:ln w="3175">
                  <a:noFill/>
                </a:ln>
                <a:solidFill>
                  <a:srgbClr val="000000"/>
                </a:solidFill>
                <a:effectLst/>
                <a:uLnTx/>
                <a:uFillTx/>
                <a:latin typeface="Segoe UI"/>
                <a:ea typeface="+mn-ea"/>
                <a:cs typeface="Segoe UI" pitchFamily="34" charset="0"/>
              </a:rPr>
              <a:t>How do I </a:t>
            </a:r>
            <a:r>
              <a:rPr kumimoji="0" lang="en-US" sz="1050" b="0" i="0" u="none" strike="noStrike" kern="1200" cap="none" spc="0" normalizeH="0" baseline="0" noProof="0">
                <a:ln>
                  <a:noFill/>
                </a:ln>
                <a:solidFill>
                  <a:srgbClr val="000000"/>
                </a:solidFill>
                <a:effectLst/>
                <a:uLnTx/>
                <a:uFillTx/>
                <a:latin typeface="Segoe UI"/>
                <a:ea typeface="+mn-ea"/>
                <a:cs typeface="Segoe UI" pitchFamily="34" charset="0"/>
              </a:rPr>
              <a:t>connect to the corporate network</a:t>
            </a:r>
            <a:r>
              <a:rPr kumimoji="0" lang="en-US" sz="1050" b="0" i="0" u="none" strike="noStrike" kern="1200" cap="none" spc="0" normalizeH="0" baseline="0" noProof="0">
                <a:ln w="3175">
                  <a:noFill/>
                </a:ln>
                <a:solidFill>
                  <a:srgbClr val="000000"/>
                </a:solidFill>
                <a:effectLst/>
                <a:uLnTx/>
                <a:uFillTx/>
                <a:latin typeface="Segoe UI"/>
                <a:ea typeface="+mn-ea"/>
                <a:cs typeface="Segoe UI" pitchFamily="34" charset="0"/>
              </a:rPr>
              <a:t>?</a:t>
            </a:r>
          </a:p>
        </p:txBody>
      </p:sp>
      <p:sp>
        <p:nvSpPr>
          <p:cNvPr id="94" name="TextBox 93">
            <a:extLst>
              <a:ext uri="{FF2B5EF4-FFF2-40B4-BE49-F238E27FC236}">
                <a16:creationId xmlns:a16="http://schemas.microsoft.com/office/drawing/2014/main" id="{85D62477-9FFE-0A44-8B71-B95350E980B3}"/>
              </a:ext>
            </a:extLst>
          </p:cNvPr>
          <p:cNvSpPr txBox="1"/>
          <p:nvPr/>
        </p:nvSpPr>
        <p:spPr>
          <a:xfrm>
            <a:off x="4161052" y="2111875"/>
            <a:ext cx="198412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mn-ea"/>
                <a:cs typeface="Segoe Sans Text Semibold" pitchFamily="2" charset="0"/>
              </a:rPr>
              <a:t>Device Refresh agent</a:t>
            </a:r>
          </a:p>
        </p:txBody>
      </p:sp>
      <p:sp>
        <p:nvSpPr>
          <p:cNvPr id="95" name="Title 1">
            <a:extLst>
              <a:ext uri="{FF2B5EF4-FFF2-40B4-BE49-F238E27FC236}">
                <a16:creationId xmlns:a16="http://schemas.microsoft.com/office/drawing/2014/main" id="{C9FE2B6C-E6A2-3773-5C6F-58A024891D77}"/>
              </a:ext>
            </a:extLst>
          </p:cNvPr>
          <p:cNvSpPr txBox="1">
            <a:spLocks/>
          </p:cNvSpPr>
          <p:nvPr/>
        </p:nvSpPr>
        <p:spPr>
          <a:xfrm>
            <a:off x="4291159" y="2439138"/>
            <a:ext cx="2319033" cy="367088"/>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500"/>
              </a:lnSpc>
              <a:spcBef>
                <a:spcPct val="0"/>
              </a:spcBef>
              <a:spcAft>
                <a:spcPct val="0"/>
              </a:spcAft>
              <a:buClrTx/>
              <a:buSzTx/>
              <a:buFontTx/>
              <a:buNone/>
              <a:tabLst/>
              <a:defRPr/>
            </a:pPr>
            <a:r>
              <a:rPr kumimoji="0" lang="en-US" sz="1050" b="0" i="0" u="none" strike="noStrike" kern="1200" cap="none" spc="0" normalizeH="0" baseline="0" noProof="0">
                <a:ln w="3175">
                  <a:noFill/>
                </a:ln>
                <a:solidFill>
                  <a:srgbClr val="000000"/>
                </a:solidFill>
                <a:effectLst/>
                <a:uLnTx/>
                <a:uFillTx/>
                <a:latin typeface="Segoe UI"/>
                <a:ea typeface="+mn-ea"/>
                <a:cs typeface="Segoe UI" pitchFamily="34" charset="0"/>
              </a:rPr>
              <a:t>Request a new laptop and send approvals via IT Service tool.</a:t>
            </a:r>
          </a:p>
        </p:txBody>
      </p:sp>
      <p:sp>
        <p:nvSpPr>
          <p:cNvPr id="96" name="TextBox 95">
            <a:extLst>
              <a:ext uri="{FF2B5EF4-FFF2-40B4-BE49-F238E27FC236}">
                <a16:creationId xmlns:a16="http://schemas.microsoft.com/office/drawing/2014/main" id="{75E83068-5E17-B560-CC0D-4DF56367C2A2}"/>
              </a:ext>
            </a:extLst>
          </p:cNvPr>
          <p:cNvSpPr txBox="1"/>
          <p:nvPr/>
        </p:nvSpPr>
        <p:spPr>
          <a:xfrm>
            <a:off x="7622197" y="2111875"/>
            <a:ext cx="198412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mn-ea"/>
                <a:cs typeface="Segoe Sans Text Semibold" pitchFamily="2" charset="0"/>
              </a:rPr>
              <a:t>Lead Gen agent</a:t>
            </a:r>
          </a:p>
        </p:txBody>
      </p:sp>
      <p:sp>
        <p:nvSpPr>
          <p:cNvPr id="97" name="Title 1">
            <a:extLst>
              <a:ext uri="{FF2B5EF4-FFF2-40B4-BE49-F238E27FC236}">
                <a16:creationId xmlns:a16="http://schemas.microsoft.com/office/drawing/2014/main" id="{0A5AAE98-0B86-B9A2-8293-CB83BBB9BC31}"/>
              </a:ext>
            </a:extLst>
          </p:cNvPr>
          <p:cNvSpPr txBox="1">
            <a:spLocks/>
          </p:cNvSpPr>
          <p:nvPr/>
        </p:nvSpPr>
        <p:spPr>
          <a:xfrm>
            <a:off x="7752304" y="2442000"/>
            <a:ext cx="2438488" cy="367088"/>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500"/>
              </a:lnSpc>
              <a:spcBef>
                <a:spcPct val="0"/>
              </a:spcBef>
              <a:spcAft>
                <a:spcPct val="0"/>
              </a:spcAft>
              <a:buClrTx/>
              <a:buSzTx/>
              <a:buFontTx/>
              <a:buNone/>
              <a:tabLst/>
              <a:defRPr/>
            </a:pPr>
            <a:r>
              <a:rPr kumimoji="0" lang="en-US" sz="1050" b="0" i="0" u="none" strike="noStrike" kern="1200" cap="none" spc="0" normalizeH="0" baseline="0" noProof="0">
                <a:ln w="3175">
                  <a:noFill/>
                </a:ln>
                <a:solidFill>
                  <a:srgbClr val="000000"/>
                </a:solidFill>
                <a:effectLst/>
                <a:uLnTx/>
                <a:uFillTx/>
                <a:latin typeface="Segoe UI"/>
                <a:ea typeface="+mn-ea"/>
                <a:cs typeface="Segoe UI" pitchFamily="34" charset="0"/>
              </a:rPr>
              <a:t>The agent has identified and researched 15 new leads for you to review.</a:t>
            </a:r>
          </a:p>
        </p:txBody>
      </p:sp>
      <p:sp>
        <p:nvSpPr>
          <p:cNvPr id="98" name="TextBox 97">
            <a:extLst>
              <a:ext uri="{FF2B5EF4-FFF2-40B4-BE49-F238E27FC236}">
                <a16:creationId xmlns:a16="http://schemas.microsoft.com/office/drawing/2014/main" id="{065AE7C8-F056-527A-5C82-67C8C0E1DD57}"/>
              </a:ext>
            </a:extLst>
          </p:cNvPr>
          <p:cNvSpPr txBox="1"/>
          <p:nvPr/>
        </p:nvSpPr>
        <p:spPr>
          <a:xfrm>
            <a:off x="1688434" y="4557870"/>
            <a:ext cx="19832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mn-ea"/>
                <a:cs typeface="Segoe Sans Text Semibold" pitchFamily="2" charset="0"/>
              </a:rPr>
              <a:t>Project Tracker agent</a:t>
            </a:r>
          </a:p>
        </p:txBody>
      </p:sp>
      <p:sp>
        <p:nvSpPr>
          <p:cNvPr id="99" name="Title 1">
            <a:extLst>
              <a:ext uri="{FF2B5EF4-FFF2-40B4-BE49-F238E27FC236}">
                <a16:creationId xmlns:a16="http://schemas.microsoft.com/office/drawing/2014/main" id="{720F70A4-B90E-5C9E-8479-5AA966A93F62}"/>
              </a:ext>
            </a:extLst>
          </p:cNvPr>
          <p:cNvSpPr txBox="1">
            <a:spLocks/>
          </p:cNvSpPr>
          <p:nvPr/>
        </p:nvSpPr>
        <p:spPr>
          <a:xfrm>
            <a:off x="1818541" y="4888236"/>
            <a:ext cx="2319033" cy="367088"/>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500"/>
              </a:lnSpc>
              <a:spcBef>
                <a:spcPct val="0"/>
              </a:spcBef>
              <a:spcAft>
                <a:spcPct val="0"/>
              </a:spcAft>
              <a:buClrTx/>
              <a:buSzTx/>
              <a:buFontTx/>
              <a:buNone/>
              <a:tabLst/>
              <a:defRPr/>
            </a:pPr>
            <a:r>
              <a:rPr kumimoji="0" lang="en-US" sz="1050" b="0" i="0" u="none" strike="noStrike" kern="1200" cap="none" spc="0" normalizeH="0" baseline="0" noProof="0">
                <a:ln w="3175">
                  <a:noFill/>
                </a:ln>
                <a:solidFill>
                  <a:srgbClr val="000000"/>
                </a:solidFill>
                <a:effectLst/>
                <a:uLnTx/>
                <a:uFillTx/>
                <a:latin typeface="Segoe UI"/>
                <a:ea typeface="+mn-ea"/>
                <a:cs typeface="Segoe UI" pitchFamily="34" charset="0"/>
              </a:rPr>
              <a:t>What is the status of phase 2 for project X and the remaining budget?</a:t>
            </a:r>
          </a:p>
        </p:txBody>
      </p:sp>
      <p:sp>
        <p:nvSpPr>
          <p:cNvPr id="100" name="TextBox 99">
            <a:extLst>
              <a:ext uri="{FF2B5EF4-FFF2-40B4-BE49-F238E27FC236}">
                <a16:creationId xmlns:a16="http://schemas.microsoft.com/office/drawing/2014/main" id="{DDF8992D-A290-4397-5D87-36721DE31B6A}"/>
              </a:ext>
            </a:extLst>
          </p:cNvPr>
          <p:cNvSpPr txBox="1"/>
          <p:nvPr/>
        </p:nvSpPr>
        <p:spPr>
          <a:xfrm>
            <a:off x="4981937" y="4557870"/>
            <a:ext cx="19832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mn-ea"/>
                <a:cs typeface="Segoe Sans Text Semibold" pitchFamily="2" charset="0"/>
              </a:rPr>
              <a:t>Budget Management agent</a:t>
            </a:r>
          </a:p>
        </p:txBody>
      </p:sp>
      <p:sp>
        <p:nvSpPr>
          <p:cNvPr id="101" name="Title 1">
            <a:extLst>
              <a:ext uri="{FF2B5EF4-FFF2-40B4-BE49-F238E27FC236}">
                <a16:creationId xmlns:a16="http://schemas.microsoft.com/office/drawing/2014/main" id="{BC7B9BE6-68E9-CC0B-23A9-D7511F3AD306}"/>
              </a:ext>
            </a:extLst>
          </p:cNvPr>
          <p:cNvSpPr txBox="1">
            <a:spLocks/>
          </p:cNvSpPr>
          <p:nvPr/>
        </p:nvSpPr>
        <p:spPr>
          <a:xfrm>
            <a:off x="5112968" y="4884596"/>
            <a:ext cx="2319033" cy="367088"/>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500"/>
              </a:lnSpc>
              <a:spcBef>
                <a:spcPct val="0"/>
              </a:spcBef>
              <a:spcAft>
                <a:spcPct val="0"/>
              </a:spcAft>
              <a:buClrTx/>
              <a:buSzTx/>
              <a:buFontTx/>
              <a:buNone/>
              <a:tabLst/>
              <a:defRPr/>
            </a:pPr>
            <a:r>
              <a:rPr kumimoji="0" lang="en-US" sz="1050" b="0" i="0" u="none" strike="noStrike" kern="1200" cap="none" spc="0" normalizeH="0" baseline="0" noProof="0">
                <a:ln w="3175">
                  <a:noFill/>
                </a:ln>
                <a:solidFill>
                  <a:srgbClr val="000000"/>
                </a:solidFill>
                <a:effectLst/>
                <a:uLnTx/>
                <a:uFillTx/>
                <a:latin typeface="Segoe UI"/>
                <a:ea typeface="+mn-ea"/>
                <a:cs typeface="Segoe UI" pitchFamily="34" charset="0"/>
              </a:rPr>
              <a:t>Review outstanding open POs and begin financial planning.</a:t>
            </a:r>
          </a:p>
        </p:txBody>
      </p:sp>
      <p:sp>
        <p:nvSpPr>
          <p:cNvPr id="102" name="TextBox 101">
            <a:extLst>
              <a:ext uri="{FF2B5EF4-FFF2-40B4-BE49-F238E27FC236}">
                <a16:creationId xmlns:a16="http://schemas.microsoft.com/office/drawing/2014/main" id="{789A30E1-252E-D83F-B682-021A48B93384}"/>
              </a:ext>
            </a:extLst>
          </p:cNvPr>
          <p:cNvSpPr txBox="1"/>
          <p:nvPr/>
        </p:nvSpPr>
        <p:spPr>
          <a:xfrm>
            <a:off x="8378360" y="4557870"/>
            <a:ext cx="201945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mn-ea"/>
                <a:cs typeface="Segoe Sans Text Semibold" pitchFamily="2" charset="0"/>
              </a:rPr>
              <a:t>Customer Support agent</a:t>
            </a:r>
          </a:p>
        </p:txBody>
      </p:sp>
      <p:sp>
        <p:nvSpPr>
          <p:cNvPr id="103" name="Title 1">
            <a:extLst>
              <a:ext uri="{FF2B5EF4-FFF2-40B4-BE49-F238E27FC236}">
                <a16:creationId xmlns:a16="http://schemas.microsoft.com/office/drawing/2014/main" id="{7416BBEA-8993-05C5-BF23-261B1746CA7E}"/>
              </a:ext>
            </a:extLst>
          </p:cNvPr>
          <p:cNvSpPr txBox="1">
            <a:spLocks/>
          </p:cNvSpPr>
          <p:nvPr/>
        </p:nvSpPr>
        <p:spPr>
          <a:xfrm>
            <a:off x="8508467" y="4882493"/>
            <a:ext cx="2319033" cy="367088"/>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500"/>
              </a:lnSpc>
              <a:spcBef>
                <a:spcPct val="0"/>
              </a:spcBef>
              <a:spcAft>
                <a:spcPct val="0"/>
              </a:spcAft>
              <a:buClrTx/>
              <a:buSzTx/>
              <a:buFontTx/>
              <a:buNone/>
              <a:tabLst/>
              <a:defRPr/>
            </a:pPr>
            <a:r>
              <a:rPr kumimoji="0" lang="en-US" sz="1050" b="0" i="0" u="none" strike="noStrike" kern="1200" cap="none" spc="0" normalizeH="0" baseline="0" noProof="0">
                <a:ln w="3175">
                  <a:noFill/>
                </a:ln>
                <a:solidFill>
                  <a:srgbClr val="000000"/>
                </a:solidFill>
                <a:effectLst/>
                <a:uLnTx/>
                <a:uFillTx/>
                <a:latin typeface="Segoe UI"/>
                <a:ea typeface="+mn-ea"/>
                <a:cs typeface="Segoe UI" pitchFamily="34" charset="0"/>
              </a:rPr>
              <a:t>The agent has identified new support issues and triaged to other agents.</a:t>
            </a:r>
          </a:p>
        </p:txBody>
      </p:sp>
      <p:pic>
        <p:nvPicPr>
          <p:cNvPr id="1026" name="Picture 2">
            <a:extLst>
              <a:ext uri="{FF2B5EF4-FFF2-40B4-BE49-F238E27FC236}">
                <a16:creationId xmlns:a16="http://schemas.microsoft.com/office/drawing/2014/main" id="{FD4AD7E5-E3B5-C745-B304-ECCE756D487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883" y="2149236"/>
            <a:ext cx="466725" cy="43815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7D6C2C7E-89B8-02FE-2CAA-B0A944BC8F8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43909" y="2065116"/>
            <a:ext cx="482176" cy="49453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842E6DB9-4987-947E-A775-ECBF09A0D87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761217" y="4478274"/>
            <a:ext cx="493145" cy="50579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logo with a black background&#10;&#10;AI-generated content may be incorrect.">
            <a:extLst>
              <a:ext uri="{FF2B5EF4-FFF2-40B4-BE49-F238E27FC236}">
                <a16:creationId xmlns:a16="http://schemas.microsoft.com/office/drawing/2014/main" id="{7C60F618-C86F-8BD0-72C3-FDB54C3711CB}"/>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667107" y="2383063"/>
            <a:ext cx="991344" cy="991344"/>
          </a:xfrm>
          <a:prstGeom prst="rect">
            <a:avLst/>
          </a:prstGeom>
        </p:spPr>
      </p:pic>
      <p:pic>
        <p:nvPicPr>
          <p:cNvPr id="5" name="Picture 8">
            <a:extLst>
              <a:ext uri="{FF2B5EF4-FFF2-40B4-BE49-F238E27FC236}">
                <a16:creationId xmlns:a16="http://schemas.microsoft.com/office/drawing/2014/main" id="{D4519D4B-CFF9-8DD5-C377-DCE92C3406A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361452" y="4478274"/>
            <a:ext cx="505152" cy="51810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zure logo">
            <a:extLst>
              <a:ext uri="{FF2B5EF4-FFF2-40B4-BE49-F238E27FC236}">
                <a16:creationId xmlns:a16="http://schemas.microsoft.com/office/drawing/2014/main" id="{682CDDDC-E5A0-9A42-8467-F886B87DC772}"/>
              </a:ext>
            </a:extLst>
          </p:cNvPr>
          <p:cNvPicPr>
            <a:picLocks noChangeAspect="1"/>
          </p:cNvPicPr>
          <p:nvPr/>
        </p:nvPicPr>
        <p:blipFill>
          <a:blip r:embed="rId19"/>
          <a:stretch>
            <a:fillRect/>
          </a:stretch>
        </p:blipFill>
        <p:spPr>
          <a:xfrm>
            <a:off x="9949704" y="1957318"/>
            <a:ext cx="482176" cy="482176"/>
          </a:xfrm>
          <a:prstGeom prst="rect">
            <a:avLst/>
          </a:prstGeom>
          <a:ln w="7441" cap="flat">
            <a:noFill/>
            <a:prstDash val="solid"/>
            <a:miter/>
          </a:ln>
          <a:effectLst>
            <a:outerShdw blurRad="50800" dist="38100" dir="5400000" algn="t" rotWithShape="0">
              <a:prstClr val="black">
                <a:alpha val="40000"/>
              </a:prstClr>
            </a:outerShdw>
          </a:effectLst>
        </p:spPr>
      </p:pic>
      <p:pic>
        <p:nvPicPr>
          <p:cNvPr id="7" name="Picture 2">
            <a:extLst>
              <a:ext uri="{FF2B5EF4-FFF2-40B4-BE49-F238E27FC236}">
                <a16:creationId xmlns:a16="http://schemas.microsoft.com/office/drawing/2014/main" id="{DCDF3ECC-7E2A-B8FA-64CA-859020F90B7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960136" y="4622520"/>
            <a:ext cx="466725" cy="43815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BF6029D4-531D-25EF-EBAB-775BCB2ADC0A}"/>
              </a:ext>
            </a:extLst>
          </p:cNvPr>
          <p:cNvSpPr txBox="1">
            <a:spLocks/>
          </p:cNvSpPr>
          <p:nvPr/>
        </p:nvSpPr>
        <p:spPr>
          <a:xfrm>
            <a:off x="659219" y="365126"/>
            <a:ext cx="11025680" cy="1072072"/>
          </a:xfrm>
          <a:prstGeom prst="rect">
            <a:avLst/>
          </a:prstGeom>
        </p:spPr>
        <p:txBody>
          <a:bodyPr/>
          <a:lstStyle>
            <a:lvl1pPr algn="ctr" defTabSz="914400" rtl="0" eaLnBrk="1" latinLnBrk="0" hangingPunct="1">
              <a:lnSpc>
                <a:spcPct val="90000"/>
              </a:lnSpc>
              <a:spcBef>
                <a:spcPct val="0"/>
              </a:spcBef>
              <a:buNone/>
              <a:defRPr sz="4200" b="1" kern="1200">
                <a:solidFill>
                  <a:srgbClr val="091F2C"/>
                </a:solidFill>
                <a:latin typeface="Segoe UI" panose="020B0502040204020203" pitchFamily="34" charset="0"/>
                <a:ea typeface="+mj-ea"/>
                <a:cs typeface="Segoe UI" panose="020B0502040204020203"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0" normalizeH="0" baseline="0" noProof="0">
                <a:ln>
                  <a:noFill/>
                </a:ln>
                <a:solidFill>
                  <a:srgbClr val="091F2C"/>
                </a:solidFill>
                <a:effectLst/>
                <a:uLnTx/>
                <a:uFillTx/>
                <a:latin typeface="Segoe UI" panose="020B0502040204020203" pitchFamily="34" charset="0"/>
                <a:ea typeface="+mj-ea"/>
                <a:cs typeface="Segoe UI" panose="020B0502040204020203" pitchFamily="34" charset="0"/>
              </a:rPr>
              <a:t>Spectrum of agents</a:t>
            </a:r>
          </a:p>
        </p:txBody>
      </p:sp>
    </p:spTree>
    <p:custDataLst>
      <p:tags r:id="rId1"/>
    </p:custDataLst>
    <p:extLst>
      <p:ext uri="{BB962C8B-B14F-4D97-AF65-F5344CB8AC3E}">
        <p14:creationId xmlns:p14="http://schemas.microsoft.com/office/powerpoint/2010/main" val="198729019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87E2A4-7678-40DB-560A-9D852A24C59A}"/>
            </a:ext>
          </a:extLst>
        </p:cNvPr>
        <p:cNvGrpSpPr/>
        <p:nvPr/>
      </p:nvGrpSpPr>
      <p:grpSpPr>
        <a:xfrm>
          <a:off x="0" y="0"/>
          <a:ext cx="0" cy="0"/>
          <a:chOff x="0" y="0"/>
          <a:chExt cx="0" cy="0"/>
        </a:xfrm>
      </p:grpSpPr>
      <p:sp>
        <p:nvSpPr>
          <p:cNvPr id="49" name="Rectangle: Rounded Corners 48">
            <a:extLst>
              <a:ext uri="{FF2B5EF4-FFF2-40B4-BE49-F238E27FC236}">
                <a16:creationId xmlns:a16="http://schemas.microsoft.com/office/drawing/2014/main" id="{C6B86E4D-EFDD-A098-C8D3-0F7088523C34}"/>
              </a:ext>
            </a:extLst>
          </p:cNvPr>
          <p:cNvSpPr/>
          <p:nvPr/>
        </p:nvSpPr>
        <p:spPr bwMode="auto">
          <a:xfrm>
            <a:off x="4536439" y="1186026"/>
            <a:ext cx="3424178" cy="608533"/>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effectLst/>
                <a:uLnTx/>
                <a:uFillTx/>
                <a:latin typeface="Segoe UI Semibold"/>
                <a:ea typeface="+mn-ea"/>
                <a:cs typeface="Segoe UI" pitchFamily="34" charset="0"/>
              </a:rPr>
              <a:t>Workflow instructions</a:t>
            </a:r>
          </a:p>
        </p:txBody>
      </p:sp>
      <p:sp>
        <p:nvSpPr>
          <p:cNvPr id="50" name="Rectangle: Rounded Corners 49">
            <a:extLst>
              <a:ext uri="{FF2B5EF4-FFF2-40B4-BE49-F238E27FC236}">
                <a16:creationId xmlns:a16="http://schemas.microsoft.com/office/drawing/2014/main" id="{26DAAEF5-51B9-3C0B-FA2C-592D36AEAD2D}"/>
              </a:ext>
            </a:extLst>
          </p:cNvPr>
          <p:cNvSpPr/>
          <p:nvPr/>
        </p:nvSpPr>
        <p:spPr bwMode="auto">
          <a:xfrm>
            <a:off x="4536439" y="2693297"/>
            <a:ext cx="3424178" cy="608533"/>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effectLst/>
                <a:uLnTx/>
                <a:uFillTx/>
                <a:latin typeface="Segoe UI Semibold"/>
                <a:ea typeface="+mn-ea"/>
                <a:cs typeface="Segoe UI" pitchFamily="34" charset="0"/>
              </a:rPr>
              <a:t>Triggers</a:t>
            </a:r>
          </a:p>
        </p:txBody>
      </p:sp>
      <p:sp>
        <p:nvSpPr>
          <p:cNvPr id="51" name="Rectangle: Rounded Corners 50">
            <a:extLst>
              <a:ext uri="{FF2B5EF4-FFF2-40B4-BE49-F238E27FC236}">
                <a16:creationId xmlns:a16="http://schemas.microsoft.com/office/drawing/2014/main" id="{E9EBC02B-1545-803F-5CFC-7B34FA43B571}"/>
              </a:ext>
            </a:extLst>
          </p:cNvPr>
          <p:cNvSpPr/>
          <p:nvPr/>
        </p:nvSpPr>
        <p:spPr bwMode="auto">
          <a:xfrm>
            <a:off x="4536439" y="1925942"/>
            <a:ext cx="3424178" cy="612648"/>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effectLst/>
                <a:uLnTx/>
                <a:uFillTx/>
                <a:latin typeface="Segoe UI Semibold"/>
                <a:ea typeface="+mn-ea"/>
                <a:cs typeface="Segoe UI" pitchFamily="34" charset="0"/>
              </a:rPr>
              <a:t>Actions</a:t>
            </a:r>
          </a:p>
        </p:txBody>
      </p:sp>
      <p:sp>
        <p:nvSpPr>
          <p:cNvPr id="52" name="Rectangle: Rounded Corners 51">
            <a:extLst>
              <a:ext uri="{FF2B5EF4-FFF2-40B4-BE49-F238E27FC236}">
                <a16:creationId xmlns:a16="http://schemas.microsoft.com/office/drawing/2014/main" id="{00250E05-ECEE-1D4C-862F-98F2A5FE402C}"/>
              </a:ext>
            </a:extLst>
          </p:cNvPr>
          <p:cNvSpPr/>
          <p:nvPr/>
        </p:nvSpPr>
        <p:spPr bwMode="auto">
          <a:xfrm>
            <a:off x="4536439" y="3596552"/>
            <a:ext cx="3424178" cy="612648"/>
          </a:xfrm>
          <a:prstGeom prst="roundRect">
            <a:avLst>
              <a:gd name="adj" fmla="val 16696"/>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effectLst/>
                <a:uLnTx/>
                <a:uFillTx/>
                <a:latin typeface="Segoe UI Semibold"/>
                <a:ea typeface="+mn-ea"/>
                <a:cs typeface="Segoe UI" pitchFamily="34" charset="0"/>
              </a:rPr>
              <a:t>Knowledge</a:t>
            </a:r>
          </a:p>
        </p:txBody>
      </p:sp>
      <p:sp>
        <p:nvSpPr>
          <p:cNvPr id="53" name="Rectangle: Rounded Corners 52">
            <a:extLst>
              <a:ext uri="{FF2B5EF4-FFF2-40B4-BE49-F238E27FC236}">
                <a16:creationId xmlns:a16="http://schemas.microsoft.com/office/drawing/2014/main" id="{9043133B-AE8E-1B73-855D-51309533D06A}"/>
              </a:ext>
            </a:extLst>
          </p:cNvPr>
          <p:cNvSpPr/>
          <p:nvPr/>
        </p:nvSpPr>
        <p:spPr bwMode="auto">
          <a:xfrm>
            <a:off x="4536439" y="4402804"/>
            <a:ext cx="3424178" cy="608533"/>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effectLst/>
                <a:uLnTx/>
                <a:uFillTx/>
                <a:latin typeface="Segoe UI Semibold"/>
                <a:ea typeface="+mn-ea"/>
                <a:cs typeface="Segoe UI" pitchFamily="34" charset="0"/>
              </a:rPr>
              <a:t>Orchestrator</a:t>
            </a:r>
          </a:p>
        </p:txBody>
      </p:sp>
      <p:sp>
        <p:nvSpPr>
          <p:cNvPr id="54" name="Rectangle: Rounded Corners 53">
            <a:extLst>
              <a:ext uri="{FF2B5EF4-FFF2-40B4-BE49-F238E27FC236}">
                <a16:creationId xmlns:a16="http://schemas.microsoft.com/office/drawing/2014/main" id="{66FCF56C-889D-F9E7-F3E6-A3DEE6589E44}"/>
              </a:ext>
            </a:extLst>
          </p:cNvPr>
          <p:cNvSpPr/>
          <p:nvPr/>
        </p:nvSpPr>
        <p:spPr bwMode="auto">
          <a:xfrm>
            <a:off x="4536439" y="5204941"/>
            <a:ext cx="3424178" cy="608533"/>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40" normalizeH="0" baseline="0" noProof="0">
                <a:ln>
                  <a:noFill/>
                </a:ln>
                <a:effectLst/>
                <a:uLnTx/>
                <a:uFillTx/>
                <a:latin typeface="Segoe UI Semibold"/>
                <a:ea typeface="+mn-ea"/>
                <a:cs typeface="Segoe UI" pitchFamily="34" charset="0"/>
              </a:rPr>
              <a:t>Foundational</a:t>
            </a:r>
            <a:r>
              <a:rPr kumimoji="0" lang="en-US" sz="2000" b="0" i="0" u="none" strike="noStrike" kern="1200" cap="none" spc="-40" normalizeH="0" baseline="0" noProof="0">
                <a:ln>
                  <a:noFill/>
                </a:ln>
                <a:solidFill>
                  <a:srgbClr val="FFFFFF"/>
                </a:solidFill>
                <a:effectLst/>
                <a:uLnTx/>
                <a:uFillTx/>
                <a:latin typeface="Segoe UI Semibold"/>
                <a:ea typeface="+mn-ea"/>
                <a:cs typeface="Segoe UI" pitchFamily="34" charset="0"/>
              </a:rPr>
              <a:t> </a:t>
            </a:r>
            <a:r>
              <a:rPr kumimoji="0" lang="en-US" sz="2000" b="0" i="0" u="none" strike="noStrike" kern="1200" cap="none" spc="-40" normalizeH="0" baseline="0" noProof="0">
                <a:ln>
                  <a:noFill/>
                </a:ln>
                <a:effectLst/>
                <a:uLnTx/>
                <a:uFillTx/>
                <a:latin typeface="Segoe UI Semibold"/>
                <a:ea typeface="+mn-ea"/>
                <a:cs typeface="Segoe UI" pitchFamily="34" charset="0"/>
              </a:rPr>
              <a:t>Models</a:t>
            </a:r>
          </a:p>
        </p:txBody>
      </p:sp>
      <p:sp>
        <p:nvSpPr>
          <p:cNvPr id="2" name="Title 1">
            <a:extLst>
              <a:ext uri="{FF2B5EF4-FFF2-40B4-BE49-F238E27FC236}">
                <a16:creationId xmlns:a16="http://schemas.microsoft.com/office/drawing/2014/main" id="{99207698-B431-7154-FC6C-0D323A2B07B1}"/>
              </a:ext>
            </a:extLst>
          </p:cNvPr>
          <p:cNvSpPr>
            <a:spLocks noGrp="1"/>
          </p:cNvSpPr>
          <p:nvPr>
            <p:ph type="title"/>
          </p:nvPr>
        </p:nvSpPr>
        <p:spPr>
          <a:xfrm>
            <a:off x="588263" y="2534776"/>
            <a:ext cx="4089754" cy="1107996"/>
          </a:xfrm>
        </p:spPr>
        <p:txBody>
          <a:bodyPr>
            <a:normAutofit fontScale="90000"/>
          </a:bodyPr>
          <a:lstStyle/>
          <a:p>
            <a:r>
              <a:rPr lang="en-US">
                <a:solidFill>
                  <a:schemeClr val="tx1"/>
                </a:solidFill>
                <a:cs typeface="Segoe UI"/>
              </a:rPr>
              <a:t>The bones of an</a:t>
            </a:r>
            <a:br>
              <a:rPr lang="en-US">
                <a:solidFill>
                  <a:schemeClr val="tx1"/>
                </a:solidFill>
                <a:cs typeface="Segoe UI"/>
              </a:rPr>
            </a:br>
            <a:r>
              <a:rPr lang="en-US">
                <a:solidFill>
                  <a:schemeClr val="tx1"/>
                </a:solidFill>
                <a:cs typeface="Segoe UI"/>
              </a:rPr>
              <a:t>agent</a:t>
            </a:r>
            <a:endParaRPr lang="en-AU">
              <a:solidFill>
                <a:schemeClr val="tx1"/>
              </a:solidFill>
              <a:cs typeface="Segoe UI"/>
            </a:endParaRPr>
          </a:p>
        </p:txBody>
      </p:sp>
      <p:sp>
        <p:nvSpPr>
          <p:cNvPr id="3" name="Rectangle: Rounded Corners 19">
            <a:extLst>
              <a:ext uri="{FF2B5EF4-FFF2-40B4-BE49-F238E27FC236}">
                <a16:creationId xmlns:a16="http://schemas.microsoft.com/office/drawing/2014/main" id="{61C95489-C150-84D6-2C2D-1A8424E7FAB6}"/>
              </a:ext>
            </a:extLst>
          </p:cNvPr>
          <p:cNvSpPr/>
          <p:nvPr/>
        </p:nvSpPr>
        <p:spPr bwMode="auto">
          <a:xfrm>
            <a:off x="4218910" y="862584"/>
            <a:ext cx="4059237" cy="5285232"/>
          </a:xfrm>
          <a:prstGeom prst="roundRect">
            <a:avLst>
              <a:gd name="adj" fmla="val 6526"/>
            </a:avLst>
          </a:prstGeom>
          <a:ln w="19050" cap="rnd">
            <a:gradFill flip="none" rotWithShape="1">
              <a:gsLst>
                <a:gs pos="0">
                  <a:srgbClr val="C03BC4"/>
                </a:gs>
                <a:gs pos="80000">
                  <a:srgbClr val="0078D4"/>
                </a:gs>
              </a:gsLst>
              <a:path path="circle">
                <a:fillToRect l="100000" t="100000"/>
              </a:path>
              <a:tileRect r="-100000" b="-100000"/>
            </a:gradFill>
            <a:headEnd type="none" w="lg" len="sm"/>
            <a:tailEnd type="none" w="lg" len="sm"/>
          </a:ln>
          <a:effectLst>
            <a:outerShdw blurRad="63500" dist="63500" dir="2700000" algn="tl" rotWithShape="0">
              <a:srgbClr val="000000">
                <a:alpha val="5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cxnSp>
        <p:nvCxnSpPr>
          <p:cNvPr id="4" name="!!1">
            <a:extLst>
              <a:ext uri="{FF2B5EF4-FFF2-40B4-BE49-F238E27FC236}">
                <a16:creationId xmlns:a16="http://schemas.microsoft.com/office/drawing/2014/main" id="{38B63FD5-1DFD-7FF2-851C-3B17F6E55881}"/>
              </a:ext>
            </a:extLst>
          </p:cNvPr>
          <p:cNvCxnSpPr/>
          <p:nvPr/>
        </p:nvCxnSpPr>
        <p:spPr>
          <a:xfrm>
            <a:off x="5642808" y="1074420"/>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5" name="!!2">
            <a:extLst>
              <a:ext uri="{FF2B5EF4-FFF2-40B4-BE49-F238E27FC236}">
                <a16:creationId xmlns:a16="http://schemas.microsoft.com/office/drawing/2014/main" id="{4618DB38-1230-E230-3CE2-47781B7F25EE}"/>
              </a:ext>
            </a:extLst>
          </p:cNvPr>
          <p:cNvCxnSpPr/>
          <p:nvPr/>
        </p:nvCxnSpPr>
        <p:spPr>
          <a:xfrm>
            <a:off x="5642808" y="1883409"/>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6" name="!!3">
            <a:extLst>
              <a:ext uri="{FF2B5EF4-FFF2-40B4-BE49-F238E27FC236}">
                <a16:creationId xmlns:a16="http://schemas.microsoft.com/office/drawing/2014/main" id="{E872260E-8796-55A5-2EE4-4922798E38FA}"/>
              </a:ext>
            </a:extLst>
          </p:cNvPr>
          <p:cNvCxnSpPr/>
          <p:nvPr/>
        </p:nvCxnSpPr>
        <p:spPr>
          <a:xfrm>
            <a:off x="5642808" y="2692399"/>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7" name="!!4">
            <a:extLst>
              <a:ext uri="{FF2B5EF4-FFF2-40B4-BE49-F238E27FC236}">
                <a16:creationId xmlns:a16="http://schemas.microsoft.com/office/drawing/2014/main" id="{9D00DFE9-7DF3-3622-2FC5-D681270E58CD}"/>
              </a:ext>
            </a:extLst>
          </p:cNvPr>
          <p:cNvCxnSpPr/>
          <p:nvPr/>
        </p:nvCxnSpPr>
        <p:spPr>
          <a:xfrm>
            <a:off x="5642808" y="3501388"/>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8" name="!!5">
            <a:extLst>
              <a:ext uri="{FF2B5EF4-FFF2-40B4-BE49-F238E27FC236}">
                <a16:creationId xmlns:a16="http://schemas.microsoft.com/office/drawing/2014/main" id="{48960C03-43D9-FC55-BFDA-7D1C64783E1D}"/>
              </a:ext>
            </a:extLst>
          </p:cNvPr>
          <p:cNvCxnSpPr/>
          <p:nvPr/>
        </p:nvCxnSpPr>
        <p:spPr>
          <a:xfrm>
            <a:off x="5642808" y="4310378"/>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9" name="!!6">
            <a:extLst>
              <a:ext uri="{FF2B5EF4-FFF2-40B4-BE49-F238E27FC236}">
                <a16:creationId xmlns:a16="http://schemas.microsoft.com/office/drawing/2014/main" id="{AEDD4B49-10F2-BB47-4BF5-166FC3994DF2}"/>
              </a:ext>
            </a:extLst>
          </p:cNvPr>
          <p:cNvCxnSpPr/>
          <p:nvPr/>
        </p:nvCxnSpPr>
        <p:spPr>
          <a:xfrm>
            <a:off x="5642808" y="5119367"/>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4B368360-45A5-FF87-9A87-F1E1A7D4D828}"/>
              </a:ext>
            </a:extLst>
          </p:cNvPr>
          <p:cNvPicPr>
            <a:picLocks noChangeAspect="1"/>
          </p:cNvPicPr>
          <p:nvPr/>
        </p:nvPicPr>
        <p:blipFill>
          <a:blip r:embed="rId3"/>
          <a:stretch>
            <a:fillRect/>
          </a:stretch>
        </p:blipFill>
        <p:spPr>
          <a:xfrm>
            <a:off x="5266416" y="5862645"/>
            <a:ext cx="1946846" cy="570342"/>
          </a:xfrm>
          <a:prstGeom prst="rect">
            <a:avLst/>
          </a:prstGeom>
        </p:spPr>
      </p:pic>
      <p:cxnSp>
        <p:nvCxnSpPr>
          <p:cNvPr id="10" name="Straight Connector 9">
            <a:extLst>
              <a:ext uri="{FF2B5EF4-FFF2-40B4-BE49-F238E27FC236}">
                <a16:creationId xmlns:a16="http://schemas.microsoft.com/office/drawing/2014/main" id="{478F2EC4-72D1-9276-E30E-EB6232E4C006}"/>
              </a:ext>
            </a:extLst>
          </p:cNvPr>
          <p:cNvCxnSpPr>
            <a:cxnSpLocks/>
          </p:cNvCxnSpPr>
          <p:nvPr/>
        </p:nvCxnSpPr>
        <p:spPr>
          <a:xfrm>
            <a:off x="4581276" y="3501388"/>
            <a:ext cx="337934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74491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904F8E-0E1F-F98A-C063-2F4B2CF492F9}"/>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C820D290-8440-E62E-BB48-F87AFC29B8E8}"/>
              </a:ext>
            </a:extLst>
          </p:cNvPr>
          <p:cNvSpPr/>
          <p:nvPr/>
        </p:nvSpPr>
        <p:spPr bwMode="auto">
          <a:xfrm>
            <a:off x="575220" y="2519678"/>
            <a:ext cx="11049399" cy="523220"/>
          </a:xfrm>
          <a:prstGeom prst="roundRect">
            <a:avLst>
              <a:gd name="adj" fmla="val 50000"/>
            </a:avLst>
          </a:prstGeom>
          <a:gradFill>
            <a:gsLst>
              <a:gs pos="100000">
                <a:srgbClr val="286BD1"/>
              </a:gs>
              <a:gs pos="0">
                <a:srgbClr val="00B0F0"/>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Segoe UI Semibold"/>
              <a:ea typeface="+mn-ea"/>
              <a:cs typeface="+mn-cs"/>
            </a:endParaRPr>
          </a:p>
        </p:txBody>
      </p:sp>
      <p:sp>
        <p:nvSpPr>
          <p:cNvPr id="42" name="Oval 41">
            <a:extLst>
              <a:ext uri="{FF2B5EF4-FFF2-40B4-BE49-F238E27FC236}">
                <a16:creationId xmlns:a16="http://schemas.microsoft.com/office/drawing/2014/main" id="{10E85FDA-7BDC-409D-9A90-6C4CBEEC067D}"/>
              </a:ext>
            </a:extLst>
          </p:cNvPr>
          <p:cNvSpPr/>
          <p:nvPr/>
        </p:nvSpPr>
        <p:spPr bwMode="auto">
          <a:xfrm>
            <a:off x="9114169" y="2270081"/>
            <a:ext cx="991344" cy="991341"/>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6ADAAC6E-8095-DB18-FC67-1089C980F5AC}"/>
              </a:ext>
            </a:extLst>
          </p:cNvPr>
          <p:cNvSpPr/>
          <p:nvPr/>
        </p:nvSpPr>
        <p:spPr bwMode="auto">
          <a:xfrm>
            <a:off x="9211498" y="2367411"/>
            <a:ext cx="796686" cy="796680"/>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nvGrpSpPr>
          <p:cNvPr id="39" name="Group 38">
            <a:extLst>
              <a:ext uri="{FF2B5EF4-FFF2-40B4-BE49-F238E27FC236}">
                <a16:creationId xmlns:a16="http://schemas.microsoft.com/office/drawing/2014/main" id="{E4D4A9A7-CBEE-7C43-4CDD-CB0AD5DD669B}"/>
              </a:ext>
            </a:extLst>
          </p:cNvPr>
          <p:cNvGrpSpPr/>
          <p:nvPr/>
        </p:nvGrpSpPr>
        <p:grpSpPr>
          <a:xfrm>
            <a:off x="2039338" y="2285617"/>
            <a:ext cx="991346" cy="991341"/>
            <a:chOff x="3031083" y="2734209"/>
            <a:chExt cx="752625" cy="752623"/>
          </a:xfrm>
        </p:grpSpPr>
        <p:sp>
          <p:nvSpPr>
            <p:cNvPr id="40" name="Oval 39">
              <a:extLst>
                <a:ext uri="{FF2B5EF4-FFF2-40B4-BE49-F238E27FC236}">
                  <a16:creationId xmlns:a16="http://schemas.microsoft.com/office/drawing/2014/main" id="{221CE249-9599-A8BE-BD1F-56F3F2A54F8C}"/>
                </a:ext>
              </a:extLst>
            </p:cNvPr>
            <p:cNvSpPr/>
            <p:nvPr/>
          </p:nvSpPr>
          <p:spPr bwMode="auto">
            <a:xfrm>
              <a:off x="3031083"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01D04F06-6036-1709-8AB2-775893BC4002}"/>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sp>
        <p:nvSpPr>
          <p:cNvPr id="9" name="TextBox 8">
            <a:extLst>
              <a:ext uri="{FF2B5EF4-FFF2-40B4-BE49-F238E27FC236}">
                <a16:creationId xmlns:a16="http://schemas.microsoft.com/office/drawing/2014/main" id="{7B5265C4-9E0A-5460-A371-02C90C558A1C}"/>
              </a:ext>
            </a:extLst>
          </p:cNvPr>
          <p:cNvSpPr txBox="1"/>
          <p:nvPr/>
        </p:nvSpPr>
        <p:spPr>
          <a:xfrm>
            <a:off x="754914" y="2677665"/>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No code</a:t>
            </a:r>
          </a:p>
        </p:txBody>
      </p:sp>
      <p:sp>
        <p:nvSpPr>
          <p:cNvPr id="10" name="TextBox 9">
            <a:extLst>
              <a:ext uri="{FF2B5EF4-FFF2-40B4-BE49-F238E27FC236}">
                <a16:creationId xmlns:a16="http://schemas.microsoft.com/office/drawing/2014/main" id="{88D1ED77-FA55-F594-E1A3-2D029B606015}"/>
              </a:ext>
            </a:extLst>
          </p:cNvPr>
          <p:cNvSpPr txBox="1"/>
          <p:nvPr/>
        </p:nvSpPr>
        <p:spPr>
          <a:xfrm>
            <a:off x="10207905" y="2677665"/>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Pro code</a:t>
            </a:r>
          </a:p>
        </p:txBody>
      </p:sp>
      <p:pic>
        <p:nvPicPr>
          <p:cNvPr id="11" name="Picture 10" descr="Azure logo">
            <a:extLst>
              <a:ext uri="{FF2B5EF4-FFF2-40B4-BE49-F238E27FC236}">
                <a16:creationId xmlns:a16="http://schemas.microsoft.com/office/drawing/2014/main" id="{4D528AFB-8377-5D90-4622-036573456F58}"/>
              </a:ext>
            </a:extLst>
          </p:cNvPr>
          <p:cNvPicPr>
            <a:picLocks noChangeAspect="1"/>
          </p:cNvPicPr>
          <p:nvPr/>
        </p:nvPicPr>
        <p:blipFill>
          <a:blip r:embed="rId3"/>
          <a:stretch>
            <a:fillRect/>
          </a:stretch>
        </p:blipFill>
        <p:spPr>
          <a:xfrm>
            <a:off x="9358090" y="2526752"/>
            <a:ext cx="482176" cy="482176"/>
          </a:xfrm>
          <a:prstGeom prst="rect">
            <a:avLst/>
          </a:prstGeom>
          <a:ln w="7441" cap="flat">
            <a:noFill/>
            <a:prstDash val="solid"/>
            <a:miter/>
          </a:ln>
          <a:effectLst>
            <a:outerShdw blurRad="50800" dist="38100" dir="5400000" algn="t" rotWithShape="0">
              <a:prstClr val="black">
                <a:alpha val="40000"/>
              </a:prstClr>
            </a:outerShdw>
          </a:effectLst>
        </p:spPr>
      </p:pic>
      <p:pic>
        <p:nvPicPr>
          <p:cNvPr id="12" name="Picture 11">
            <a:extLst>
              <a:ext uri="{FF2B5EF4-FFF2-40B4-BE49-F238E27FC236}">
                <a16:creationId xmlns:a16="http://schemas.microsoft.com/office/drawing/2014/main" id="{ADB5EC0F-ED3D-1CF7-9D80-CA83121BCFCD}"/>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t="2923" b="2923"/>
          <a:stretch/>
        </p:blipFill>
        <p:spPr>
          <a:xfrm>
            <a:off x="2256794" y="2526326"/>
            <a:ext cx="538849" cy="507350"/>
          </a:xfrm>
          <a:prstGeom prst="rect">
            <a:avLst/>
          </a:prstGeom>
          <a:ln w="7441" cap="flat">
            <a:noFill/>
            <a:prstDash val="solid"/>
            <a:miter/>
          </a:ln>
          <a:effectLst>
            <a:outerShdw blurRad="50800" dist="38100" dir="5400000" algn="t" rotWithShape="0">
              <a:prstClr val="black">
                <a:alpha val="40000"/>
              </a:prstClr>
            </a:outerShdw>
          </a:effectLst>
        </p:spPr>
      </p:pic>
      <p:grpSp>
        <p:nvGrpSpPr>
          <p:cNvPr id="13" name="Group 12">
            <a:extLst>
              <a:ext uri="{FF2B5EF4-FFF2-40B4-BE49-F238E27FC236}">
                <a16:creationId xmlns:a16="http://schemas.microsoft.com/office/drawing/2014/main" id="{12E1F5EE-0AF3-1E65-0D12-E258F909C44A}"/>
              </a:ext>
            </a:extLst>
          </p:cNvPr>
          <p:cNvGrpSpPr/>
          <p:nvPr/>
        </p:nvGrpSpPr>
        <p:grpSpPr>
          <a:xfrm>
            <a:off x="5605957" y="2301199"/>
            <a:ext cx="991344" cy="991341"/>
            <a:chOff x="5600328" y="2260733"/>
            <a:chExt cx="991344" cy="991341"/>
          </a:xfrm>
        </p:grpSpPr>
        <p:grpSp>
          <p:nvGrpSpPr>
            <p:cNvPr id="166" name="Group 165">
              <a:extLst>
                <a:ext uri="{FF2B5EF4-FFF2-40B4-BE49-F238E27FC236}">
                  <a16:creationId xmlns:a16="http://schemas.microsoft.com/office/drawing/2014/main" id="{993BF4EF-4F88-3A62-B330-54D2CF540A2E}"/>
                </a:ext>
              </a:extLst>
            </p:cNvPr>
            <p:cNvGrpSpPr/>
            <p:nvPr/>
          </p:nvGrpSpPr>
          <p:grpSpPr>
            <a:xfrm>
              <a:off x="5600328" y="2260733"/>
              <a:ext cx="991344" cy="991341"/>
              <a:chOff x="3031090" y="2734209"/>
              <a:chExt cx="752625" cy="752623"/>
            </a:xfrm>
          </p:grpSpPr>
          <p:sp>
            <p:nvSpPr>
              <p:cNvPr id="168" name="Oval 167">
                <a:extLst>
                  <a:ext uri="{FF2B5EF4-FFF2-40B4-BE49-F238E27FC236}">
                    <a16:creationId xmlns:a16="http://schemas.microsoft.com/office/drawing/2014/main" id="{EF218D1B-7048-2FA4-D859-5AD8DBC6E7D3}"/>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69" name="Oval 168">
                <a:extLst>
                  <a:ext uri="{FF2B5EF4-FFF2-40B4-BE49-F238E27FC236}">
                    <a16:creationId xmlns:a16="http://schemas.microsoft.com/office/drawing/2014/main" id="{C6E6805F-DADE-B5E8-FF4C-21ACF12FF9A1}"/>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167" name="Graphic 166">
              <a:extLst>
                <a:ext uri="{FF2B5EF4-FFF2-40B4-BE49-F238E27FC236}">
                  <a16:creationId xmlns:a16="http://schemas.microsoft.com/office/drawing/2014/main" id="{A01F6A9C-B48A-6F1B-9399-3BA05FCFC1CF}"/>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35399" y="2488972"/>
              <a:ext cx="521199" cy="521199"/>
            </a:xfrm>
            <a:prstGeom prst="rect">
              <a:avLst/>
            </a:prstGeom>
            <a:effectLst>
              <a:outerShdw blurRad="50800" dist="38100" dir="5400000" algn="t" rotWithShape="0">
                <a:prstClr val="black">
                  <a:alpha val="40000"/>
                </a:prstClr>
              </a:outerShdw>
            </a:effectLst>
          </p:spPr>
        </p:pic>
      </p:grpSp>
      <p:sp>
        <p:nvSpPr>
          <p:cNvPr id="27" name="Rectangle: Rounded Corners 26">
            <a:extLst>
              <a:ext uri="{FF2B5EF4-FFF2-40B4-BE49-F238E27FC236}">
                <a16:creationId xmlns:a16="http://schemas.microsoft.com/office/drawing/2014/main" id="{85A6D24D-BBBC-6C15-2A83-79D14366D22D}"/>
              </a:ext>
            </a:extLst>
          </p:cNvPr>
          <p:cNvSpPr/>
          <p:nvPr/>
        </p:nvSpPr>
        <p:spPr bwMode="auto">
          <a:xfrm>
            <a:off x="1497798" y="3447288"/>
            <a:ext cx="2070684" cy="329724"/>
          </a:xfrm>
          <a:prstGeom prst="roundRect">
            <a:avLst>
              <a:gd name="adj" fmla="val 50000"/>
            </a:avLst>
          </a:prstGeom>
          <a:solidFill>
            <a:srgbClr val="0078D4"/>
          </a:solidFill>
          <a:ln>
            <a:noFill/>
            <a:headEnd type="none" w="med" len="med"/>
            <a:tailEnd type="none" w="med" len="med"/>
          </a:ln>
          <a:effectLst>
            <a:outerShdw blurRad="76200" sx="102000" sy="1020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For End Users</a:t>
            </a:r>
          </a:p>
        </p:txBody>
      </p:sp>
      <p:sp>
        <p:nvSpPr>
          <p:cNvPr id="29" name="TextBox 28">
            <a:extLst>
              <a:ext uri="{FF2B5EF4-FFF2-40B4-BE49-F238E27FC236}">
                <a16:creationId xmlns:a16="http://schemas.microsoft.com/office/drawing/2014/main" id="{FD20ABA9-FCA3-B6FB-589B-6FBFFB8C1A89}"/>
              </a:ext>
            </a:extLst>
          </p:cNvPr>
          <p:cNvSpPr txBox="1"/>
          <p:nvPr/>
        </p:nvSpPr>
        <p:spPr>
          <a:xfrm>
            <a:off x="1600990" y="5805956"/>
            <a:ext cx="1801554" cy="353943"/>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gent builder</a:t>
            </a:r>
          </a:p>
        </p:txBody>
      </p:sp>
      <p:pic>
        <p:nvPicPr>
          <p:cNvPr id="30" name="Picture 29" descr="A screenshot of a computer&#10;&#10;Description automatically generated">
            <a:extLst>
              <a:ext uri="{FF2B5EF4-FFF2-40B4-BE49-F238E27FC236}">
                <a16:creationId xmlns:a16="http://schemas.microsoft.com/office/drawing/2014/main" id="{6F2DB1C6-08B3-40E8-C4DE-A6F95F3304A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8038" y="3745507"/>
            <a:ext cx="3450204" cy="2145126"/>
          </a:xfrm>
          <a:prstGeom prst="rect">
            <a:avLst/>
          </a:prstGeom>
        </p:spPr>
      </p:pic>
      <p:sp>
        <p:nvSpPr>
          <p:cNvPr id="23" name="Rectangle: Rounded Corners 22">
            <a:extLst>
              <a:ext uri="{FF2B5EF4-FFF2-40B4-BE49-F238E27FC236}">
                <a16:creationId xmlns:a16="http://schemas.microsoft.com/office/drawing/2014/main" id="{BF7EDDC1-7CA5-7EE0-837F-439677D5C284}"/>
              </a:ext>
            </a:extLst>
          </p:cNvPr>
          <p:cNvSpPr/>
          <p:nvPr/>
        </p:nvSpPr>
        <p:spPr bwMode="auto">
          <a:xfrm>
            <a:off x="8572668" y="3441915"/>
            <a:ext cx="2070684" cy="329724"/>
          </a:xfrm>
          <a:prstGeom prst="roundRect">
            <a:avLst>
              <a:gd name="adj" fmla="val 50000"/>
            </a:avLst>
          </a:prstGeom>
          <a:solidFill>
            <a:srgbClr val="0078D4"/>
          </a:solidFill>
          <a:ln>
            <a:noFill/>
            <a:headEnd type="none" w="med" len="med"/>
            <a:tailEnd type="none" w="med" len="med"/>
          </a:ln>
          <a:effectLst>
            <a:outerShdw blurRad="76200" sx="102000" sy="1020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itchFamily="34" charset="0"/>
              </a:rPr>
              <a:t>For Developers</a:t>
            </a:r>
          </a:p>
        </p:txBody>
      </p:sp>
      <p:sp>
        <p:nvSpPr>
          <p:cNvPr id="25" name="TextBox 24">
            <a:extLst>
              <a:ext uri="{FF2B5EF4-FFF2-40B4-BE49-F238E27FC236}">
                <a16:creationId xmlns:a16="http://schemas.microsoft.com/office/drawing/2014/main" id="{2E9D3F36-B5DF-0AF6-5BD1-6527ED2F092B}"/>
              </a:ext>
            </a:extLst>
          </p:cNvPr>
          <p:cNvSpPr txBox="1"/>
          <p:nvPr/>
        </p:nvSpPr>
        <p:spPr>
          <a:xfrm>
            <a:off x="7900392" y="5800393"/>
            <a:ext cx="3415235" cy="6155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VS Code, Copilot Studio, </a:t>
            </a:r>
            <a:br>
              <a:rPr kumimoji="0" lang="en-US" sz="1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zure AI Foundry</a:t>
            </a:r>
          </a:p>
        </p:txBody>
      </p:sp>
      <p:pic>
        <p:nvPicPr>
          <p:cNvPr id="26" name="Picture 25">
            <a:extLst>
              <a:ext uri="{FF2B5EF4-FFF2-40B4-BE49-F238E27FC236}">
                <a16:creationId xmlns:a16="http://schemas.microsoft.com/office/drawing/2014/main" id="{3605FBA4-2939-64A0-F615-83CD5A76B93B}"/>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8219067" y="3941868"/>
            <a:ext cx="2777886" cy="1723380"/>
          </a:xfrm>
          <a:prstGeom prst="rect">
            <a:avLst/>
          </a:prstGeom>
        </p:spPr>
      </p:pic>
      <p:sp>
        <p:nvSpPr>
          <p:cNvPr id="21" name="TextBox 20">
            <a:extLst>
              <a:ext uri="{FF2B5EF4-FFF2-40B4-BE49-F238E27FC236}">
                <a16:creationId xmlns:a16="http://schemas.microsoft.com/office/drawing/2014/main" id="{4DAFF6FC-92D9-45D7-156A-9B252990650F}"/>
              </a:ext>
            </a:extLst>
          </p:cNvPr>
          <p:cNvSpPr txBox="1"/>
          <p:nvPr/>
        </p:nvSpPr>
        <p:spPr>
          <a:xfrm>
            <a:off x="5193002" y="5800393"/>
            <a:ext cx="1801762" cy="35394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Studio</a:t>
            </a:r>
          </a:p>
        </p:txBody>
      </p:sp>
      <p:pic>
        <p:nvPicPr>
          <p:cNvPr id="22" name="Picture 21" descr="A screenshot showing the in product experience of copilot studio">
            <a:extLst>
              <a:ext uri="{FF2B5EF4-FFF2-40B4-BE49-F238E27FC236}">
                <a16:creationId xmlns:a16="http://schemas.microsoft.com/office/drawing/2014/main" id="{2E509080-5FF1-5213-8118-131771B80855}"/>
              </a:ext>
              <a:ext uri="{C183D7F6-B498-43B3-948B-1728B52AA6E4}">
                <adec:decorative xmlns:adec="http://schemas.microsoft.com/office/drawing/2017/decorative" val="0"/>
              </a:ext>
            </a:extLst>
          </p:cNvPr>
          <p:cNvPicPr>
            <a:picLocks/>
          </p:cNvPicPr>
          <p:nvPr/>
        </p:nvPicPr>
        <p:blipFill rotWithShape="1">
          <a:blip r:embed="rId9">
            <a:extLst>
              <a:ext uri="{28A0092B-C50C-407E-A947-70E740481C1C}">
                <a14:useLocalDpi xmlns:a14="http://schemas.microsoft.com/office/drawing/2010/main" val="0"/>
              </a:ext>
            </a:extLst>
          </a:blip>
          <a:srcRect/>
          <a:stretch/>
        </p:blipFill>
        <p:spPr>
          <a:xfrm>
            <a:off x="4873217" y="4036240"/>
            <a:ext cx="2441332" cy="1552534"/>
          </a:xfrm>
          <a:prstGeom prst="roundRect">
            <a:avLst>
              <a:gd name="adj" fmla="val 2856"/>
            </a:avLst>
          </a:prstGeom>
          <a:noFill/>
          <a:effectLst>
            <a:outerShdw blurRad="279400" algn="ctr" rotWithShape="0">
              <a:prstClr val="black">
                <a:alpha val="20000"/>
              </a:prstClr>
            </a:outerShdw>
          </a:effectLst>
        </p:spPr>
      </p:pic>
      <p:sp>
        <p:nvSpPr>
          <p:cNvPr id="20" name="Rectangle: Rounded Corners 19">
            <a:extLst>
              <a:ext uri="{FF2B5EF4-FFF2-40B4-BE49-F238E27FC236}">
                <a16:creationId xmlns:a16="http://schemas.microsoft.com/office/drawing/2014/main" id="{288A7118-7D52-A5BB-681C-B5F3BD42804B}"/>
              </a:ext>
            </a:extLst>
          </p:cNvPr>
          <p:cNvSpPr/>
          <p:nvPr/>
        </p:nvSpPr>
        <p:spPr bwMode="auto">
          <a:xfrm>
            <a:off x="5034786" y="3444572"/>
            <a:ext cx="2122428" cy="326966"/>
          </a:xfrm>
          <a:prstGeom prst="roundRect">
            <a:avLst>
              <a:gd name="adj" fmla="val 50000"/>
            </a:avLst>
          </a:prstGeom>
          <a:solidFill>
            <a:srgbClr val="0078D4"/>
          </a:solidFill>
          <a:ln>
            <a:noFill/>
            <a:headEnd type="none" w="med" len="med"/>
            <a:tailEnd type="none" w="med" len="med"/>
          </a:ln>
          <a:effectLst>
            <a:outerShdw blurRad="76200" sx="102000" sy="1020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itchFamily="34" charset="0"/>
              </a:rPr>
              <a:t>For Makers</a:t>
            </a:r>
          </a:p>
        </p:txBody>
      </p:sp>
      <p:sp>
        <p:nvSpPr>
          <p:cNvPr id="3" name="Title 35">
            <a:extLst>
              <a:ext uri="{FF2B5EF4-FFF2-40B4-BE49-F238E27FC236}">
                <a16:creationId xmlns:a16="http://schemas.microsoft.com/office/drawing/2014/main" id="{43106AF3-78FC-3D6F-8F48-9D03F9EAA8D9}"/>
              </a:ext>
            </a:extLst>
          </p:cNvPr>
          <p:cNvSpPr txBox="1">
            <a:spLocks/>
          </p:cNvSpPr>
          <p:nvPr/>
        </p:nvSpPr>
        <p:spPr>
          <a:xfrm>
            <a:off x="882459" y="826963"/>
            <a:ext cx="11017250" cy="5816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tab pos="1490663" algn="l"/>
              </a:tabLst>
              <a:defRPr/>
            </a:pPr>
            <a:r>
              <a:rPr kumimoji="0" lang="en-US" sz="4200" b="0" i="0" u="none" strike="noStrike" kern="1200" cap="none" spc="-70" normalizeH="0" baseline="0" noProof="0">
                <a:ln>
                  <a:noFill/>
                </a:ln>
                <a:solidFill>
                  <a:prstClr val="black"/>
                </a:solidFill>
                <a:effectLst/>
                <a:uLnTx/>
                <a:uFillTx/>
                <a:latin typeface="Segoe UI Semibold"/>
                <a:ea typeface="+mn-ea"/>
                <a:cs typeface="Segoe UI" pitchFamily="34" charset="0"/>
              </a:rPr>
              <a:t>A range of tools for Agent creation</a:t>
            </a:r>
            <a:endParaRPr kumimoji="0" lang="en-US" sz="4000" b="1" i="0" u="none" strike="noStrike" kern="1200" cap="none" spc="-80" normalizeH="0" baseline="0" noProof="0">
              <a:ln>
                <a:noFill/>
              </a:ln>
              <a:gradFill flip="none" rotWithShape="1">
                <a:gsLst>
                  <a:gs pos="66000">
                    <a:srgbClr val="0078D4"/>
                  </a:gs>
                  <a:gs pos="93000">
                    <a:srgbClr val="C03BC4"/>
                  </a:gs>
                  <a:gs pos="100000">
                    <a:srgbClr val="FF5C39"/>
                  </a:gs>
                </a:gsLst>
                <a:lin ang="2700000" scaled="0"/>
                <a:tileRect/>
              </a:gradFill>
              <a:effectLst/>
              <a:uLnTx/>
              <a:uFillTx/>
              <a:latin typeface="Segoe Sans Display Semibold" pitchFamily="2" charset="0"/>
              <a:ea typeface="+mn-ea"/>
              <a:cs typeface="Segoe Sans Display Semibold" pitchFamily="2" charset="0"/>
            </a:endParaRPr>
          </a:p>
        </p:txBody>
      </p:sp>
      <p:sp>
        <p:nvSpPr>
          <p:cNvPr id="2" name="Rectangle 1">
            <a:extLst>
              <a:ext uri="{FF2B5EF4-FFF2-40B4-BE49-F238E27FC236}">
                <a16:creationId xmlns:a16="http://schemas.microsoft.com/office/drawing/2014/main" id="{FB1EB669-B65D-6A96-F856-4EEAE17765D2}"/>
              </a:ext>
            </a:extLst>
          </p:cNvPr>
          <p:cNvSpPr/>
          <p:nvPr/>
        </p:nvSpPr>
        <p:spPr bwMode="auto">
          <a:xfrm>
            <a:off x="993531" y="3877408"/>
            <a:ext cx="3112477" cy="1922985"/>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700001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196DA3-079A-DF81-1D1D-38494EAAFDC7}"/>
            </a:ext>
          </a:extLst>
        </p:cNvPr>
        <p:cNvGrpSpPr/>
        <p:nvPr/>
      </p:nvGrpSpPr>
      <p:grpSpPr>
        <a:xfrm>
          <a:off x="0" y="0"/>
          <a:ext cx="0" cy="0"/>
          <a:chOff x="0" y="0"/>
          <a:chExt cx="0" cy="0"/>
        </a:xfrm>
      </p:grpSpPr>
      <p:sp>
        <p:nvSpPr>
          <p:cNvPr id="118" name="Rectangle: Rounded Corners 117">
            <a:extLst>
              <a:ext uri="{FF2B5EF4-FFF2-40B4-BE49-F238E27FC236}">
                <a16:creationId xmlns:a16="http://schemas.microsoft.com/office/drawing/2014/main" id="{98620DDF-9C73-D162-283F-F4A35B7AADFD}"/>
              </a:ext>
              <a:ext uri="{C183D7F6-B498-43B3-948B-1728B52AA6E4}">
                <adec:decorative xmlns:adec="http://schemas.microsoft.com/office/drawing/2017/decorative" val="1"/>
              </a:ext>
            </a:extLst>
          </p:cNvPr>
          <p:cNvSpPr/>
          <p:nvPr/>
        </p:nvSpPr>
        <p:spPr bwMode="auto">
          <a:xfrm>
            <a:off x="289242" y="1518307"/>
            <a:ext cx="11613515" cy="4954336"/>
          </a:xfrm>
          <a:prstGeom prst="roundRect">
            <a:avLst>
              <a:gd name="adj" fmla="val 3686"/>
            </a:avLst>
          </a:prstGeom>
          <a:solidFill>
            <a:schemeClr val="bg1"/>
          </a:solidFill>
          <a:ln w="6350">
            <a:noFill/>
            <a:headEnd type="none" w="med" len="med"/>
            <a:tailEnd type="none" w="med" len="med"/>
          </a:ln>
          <a:effectLst>
            <a:outerShdw blurRad="127000" sx="102000" sy="1020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9" name="TextBox 78">
            <a:extLst>
              <a:ext uri="{FF2B5EF4-FFF2-40B4-BE49-F238E27FC236}">
                <a16:creationId xmlns:a16="http://schemas.microsoft.com/office/drawing/2014/main" id="{2D010693-536C-156B-EBAF-14B85ECBD152}"/>
              </a:ext>
            </a:extLst>
          </p:cNvPr>
          <p:cNvSpPr txBox="1"/>
          <p:nvPr/>
        </p:nvSpPr>
        <p:spPr>
          <a:xfrm>
            <a:off x="4326849" y="1700803"/>
            <a:ext cx="3538300" cy="4459820"/>
          </a:xfrm>
          <a:prstGeom prst="roundRect">
            <a:avLst>
              <a:gd name="adj" fmla="val 5592"/>
            </a:avLst>
          </a:prstGeom>
          <a:solidFill>
            <a:schemeClr val="bg1"/>
          </a:solidFill>
          <a:ln w="6350">
            <a:solidFill>
              <a:srgbClr val="EAEAEA"/>
            </a:solidFill>
            <a:headEnd type="none" w="med" len="med"/>
            <a:tailEnd type="none" w="med" len="med"/>
          </a:ln>
          <a:effectLst>
            <a:outerShdw blurRad="254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defPPr>
              <a:defRPr lang="en-US"/>
            </a:defPPr>
            <a:lvl1pPr algn="ctr">
              <a:defRPr kern="0">
                <a:solidFill>
                  <a:schemeClr val="tx1"/>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97" name="TextBox 96">
            <a:extLst>
              <a:ext uri="{FF2B5EF4-FFF2-40B4-BE49-F238E27FC236}">
                <a16:creationId xmlns:a16="http://schemas.microsoft.com/office/drawing/2014/main" id="{622CE8EF-C76A-4B30-ED01-1B3106808947}"/>
              </a:ext>
            </a:extLst>
          </p:cNvPr>
          <p:cNvSpPr txBox="1"/>
          <p:nvPr/>
        </p:nvSpPr>
        <p:spPr>
          <a:xfrm>
            <a:off x="8054931" y="1700803"/>
            <a:ext cx="3538300" cy="4459820"/>
          </a:xfrm>
          <a:prstGeom prst="roundRect">
            <a:avLst>
              <a:gd name="adj" fmla="val 5592"/>
            </a:avLst>
          </a:prstGeom>
          <a:solidFill>
            <a:schemeClr val="bg1"/>
          </a:solidFill>
          <a:ln w="6350">
            <a:solidFill>
              <a:srgbClr val="EAEAEA"/>
            </a:solidFill>
            <a:headEnd type="none" w="med" len="med"/>
            <a:tailEnd type="none" w="med" len="med"/>
          </a:ln>
          <a:effectLst>
            <a:outerShdw blurRad="254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defPPr>
              <a:defRPr lang="en-US"/>
            </a:defPPr>
            <a:lvl1pPr algn="ctr">
              <a:defRPr kern="0">
                <a:solidFill>
                  <a:schemeClr val="tx1"/>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2" name="Title 1">
            <a:extLst>
              <a:ext uri="{FF2B5EF4-FFF2-40B4-BE49-F238E27FC236}">
                <a16:creationId xmlns:a16="http://schemas.microsoft.com/office/drawing/2014/main" id="{434F4D2A-7ECE-2A1B-E349-0AC6064EAD0A}"/>
              </a:ext>
            </a:extLst>
          </p:cNvPr>
          <p:cNvSpPr>
            <a:spLocks noGrp="1"/>
          </p:cNvSpPr>
          <p:nvPr>
            <p:ph type="title"/>
          </p:nvPr>
        </p:nvSpPr>
        <p:spPr/>
        <p:txBody>
          <a:bodyPr/>
          <a:lstStyle/>
          <a:p>
            <a:r>
              <a:rPr lang="en-US">
                <a:cs typeface="Segoe UI"/>
              </a:rPr>
              <a:t>Choose your path</a:t>
            </a:r>
            <a:endParaRPr lang="en-US"/>
          </a:p>
        </p:txBody>
      </p:sp>
      <p:sp>
        <p:nvSpPr>
          <p:cNvPr id="3" name="Title 13">
            <a:extLst>
              <a:ext uri="{FF2B5EF4-FFF2-40B4-BE49-F238E27FC236}">
                <a16:creationId xmlns:a16="http://schemas.microsoft.com/office/drawing/2014/main" id="{1F890480-9F27-D21C-B48E-2DE1FABD395C}"/>
              </a:ext>
            </a:extLst>
          </p:cNvPr>
          <p:cNvSpPr txBox="1">
            <a:spLocks/>
          </p:cNvSpPr>
          <p:nvPr/>
        </p:nvSpPr>
        <p:spPr>
          <a:xfrm>
            <a:off x="588263" y="1067476"/>
            <a:ext cx="11018520"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Sans Display Semibold" pitchFamily="2" charset="0"/>
                <a:ea typeface="+mj-lt"/>
                <a:cs typeface="Segoe Sans Display Semibold" pitchFamily="2" charset="0"/>
              </a:rPr>
              <a:t>Whether you're a beginner or a pro, agents enhance Copilot to better fit your business needs</a:t>
            </a:r>
            <a:endParaRPr kumimoji="0" lang="en-US" sz="3600" b="1" i="0" u="none" strike="noStrike" kern="1200" cap="none" spc="-50" normalizeH="0" baseline="0" noProof="0">
              <a:ln w="3175">
                <a:noFill/>
              </a:ln>
              <a:solidFill>
                <a:srgbClr val="0078D4"/>
              </a:solidFill>
              <a:effectLst/>
              <a:uLnTx/>
              <a:uFillTx/>
              <a:latin typeface="Segoe Sans Display Semibold" pitchFamily="2" charset="0"/>
              <a:ea typeface="+mj-lt"/>
              <a:cs typeface="Segoe Sans Display Semibold" pitchFamily="2" charset="0"/>
            </a:endParaRPr>
          </a:p>
        </p:txBody>
      </p:sp>
      <p:sp>
        <p:nvSpPr>
          <p:cNvPr id="12" name="TextBox 11">
            <a:extLst>
              <a:ext uri="{FF2B5EF4-FFF2-40B4-BE49-F238E27FC236}">
                <a16:creationId xmlns:a16="http://schemas.microsoft.com/office/drawing/2014/main" id="{F10F3EB8-A948-3C79-FBEC-5F52F0E62B91}"/>
              </a:ext>
            </a:extLst>
          </p:cNvPr>
          <p:cNvSpPr txBox="1"/>
          <p:nvPr/>
        </p:nvSpPr>
        <p:spPr>
          <a:xfrm>
            <a:off x="598767" y="1700803"/>
            <a:ext cx="3538300" cy="4459820"/>
          </a:xfrm>
          <a:prstGeom prst="roundRect">
            <a:avLst>
              <a:gd name="adj" fmla="val 5592"/>
            </a:avLst>
          </a:prstGeom>
          <a:solidFill>
            <a:schemeClr val="bg1"/>
          </a:solidFill>
          <a:ln w="6350">
            <a:solidFill>
              <a:srgbClr val="EAEAEA"/>
            </a:solidFill>
            <a:headEnd type="none" w="med" len="med"/>
            <a:tailEnd type="none" w="med" len="med"/>
          </a:ln>
          <a:effectLst>
            <a:outerShdw blurRad="254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defPPr>
              <a:defRPr lang="en-US"/>
            </a:defPPr>
            <a:lvl1pPr algn="ctr">
              <a:defRPr kern="0">
                <a:solidFill>
                  <a:schemeClr val="tx1"/>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16" name="Rectangle: Rounded Corners 15">
            <a:extLst>
              <a:ext uri="{FF2B5EF4-FFF2-40B4-BE49-F238E27FC236}">
                <a16:creationId xmlns:a16="http://schemas.microsoft.com/office/drawing/2014/main" id="{1EBC3626-68BF-5CEE-B515-702A29B3D1E9}"/>
              </a:ext>
            </a:extLst>
          </p:cNvPr>
          <p:cNvSpPr/>
          <p:nvPr/>
        </p:nvSpPr>
        <p:spPr bwMode="auto">
          <a:xfrm>
            <a:off x="859978" y="1936694"/>
            <a:ext cx="3015879" cy="547901"/>
          </a:xfrm>
          <a:prstGeom prst="roundRect">
            <a:avLst>
              <a:gd name="adj" fmla="val 50000"/>
            </a:avLst>
          </a:prstGeom>
          <a:gradFill flip="none" rotWithShape="1">
            <a:gsLst>
              <a:gs pos="4000">
                <a:srgbClr val="0078D4"/>
              </a:gs>
              <a:gs pos="100000">
                <a:srgbClr val="C03BC4"/>
              </a:gs>
            </a:gsLst>
            <a:lin ang="2700000" scaled="1"/>
            <a:tileRect/>
          </a:gra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Sans Text Semibold" pitchFamily="2" charset="0"/>
              </a:rPr>
              <a:t>Start with a pre-built agent</a:t>
            </a:r>
          </a:p>
        </p:txBody>
      </p:sp>
      <p:sp>
        <p:nvSpPr>
          <p:cNvPr id="33" name="TextBox 32">
            <a:extLst>
              <a:ext uri="{FF2B5EF4-FFF2-40B4-BE49-F238E27FC236}">
                <a16:creationId xmlns:a16="http://schemas.microsoft.com/office/drawing/2014/main" id="{3D6FE610-67BF-619A-F343-FB8A841A99A1}"/>
              </a:ext>
            </a:extLst>
          </p:cNvPr>
          <p:cNvSpPr txBox="1"/>
          <p:nvPr/>
        </p:nvSpPr>
        <p:spPr>
          <a:xfrm>
            <a:off x="859978" y="4201405"/>
            <a:ext cx="3015879" cy="92333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Looking for immediate impact?</a:t>
            </a:r>
            <a:br>
              <a:rPr kumimoji="0" lang="en-US" sz="1200" b="1"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br>
            <a:endParaRPr kumimoji="0" lang="en-US" sz="1200" b="1"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Pick from a variety of pre-built agents designed to automate common business tasks in the Agent Store or Copilot Studio.</a:t>
            </a:r>
          </a:p>
        </p:txBody>
      </p:sp>
      <p:sp>
        <p:nvSpPr>
          <p:cNvPr id="76" name="Rectangle: Rounded Corners 75">
            <a:extLst>
              <a:ext uri="{FF2B5EF4-FFF2-40B4-BE49-F238E27FC236}">
                <a16:creationId xmlns:a16="http://schemas.microsoft.com/office/drawing/2014/main" id="{D9AEF354-7E1D-6405-F1C9-361E10818CF4}"/>
              </a:ext>
            </a:extLst>
          </p:cNvPr>
          <p:cNvSpPr/>
          <p:nvPr/>
        </p:nvSpPr>
        <p:spPr bwMode="auto">
          <a:xfrm>
            <a:off x="859978" y="5619126"/>
            <a:ext cx="3015879" cy="367934"/>
          </a:xfrm>
          <a:prstGeom prst="roundRect">
            <a:avLst>
              <a:gd name="adj" fmla="val 50000"/>
            </a:avLst>
          </a:prstGeom>
          <a:solidFill>
            <a:schemeClr val="bg1">
              <a:lumMod val="95000"/>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View more in the Agent Store. Copilot Chat, and Copilot Studio </a:t>
            </a:r>
          </a:p>
        </p:txBody>
      </p:sp>
      <p:sp>
        <p:nvSpPr>
          <p:cNvPr id="80" name="Rectangle: Rounded Corners 79">
            <a:extLst>
              <a:ext uri="{FF2B5EF4-FFF2-40B4-BE49-F238E27FC236}">
                <a16:creationId xmlns:a16="http://schemas.microsoft.com/office/drawing/2014/main" id="{98066FDF-BF3A-8784-36BF-CD2DA4FDD67C}"/>
              </a:ext>
            </a:extLst>
          </p:cNvPr>
          <p:cNvSpPr/>
          <p:nvPr/>
        </p:nvSpPr>
        <p:spPr bwMode="auto">
          <a:xfrm>
            <a:off x="4588060" y="1936694"/>
            <a:ext cx="3015879" cy="547901"/>
          </a:xfrm>
          <a:prstGeom prst="roundRect">
            <a:avLst>
              <a:gd name="adj" fmla="val 50000"/>
            </a:avLst>
          </a:prstGeom>
          <a:gradFill flip="none" rotWithShape="1">
            <a:gsLst>
              <a:gs pos="4000">
                <a:srgbClr val="0078D4"/>
              </a:gs>
              <a:gs pos="100000">
                <a:srgbClr val="C03BC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a:rPr>
              <a:t>Build an agent from scratch or from a customizable template</a:t>
            </a:r>
            <a:endPar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98" name="Rectangle: Rounded Corners 97">
            <a:extLst>
              <a:ext uri="{FF2B5EF4-FFF2-40B4-BE49-F238E27FC236}">
                <a16:creationId xmlns:a16="http://schemas.microsoft.com/office/drawing/2014/main" id="{5A58A936-34CE-2AED-1B9D-03E6AE768435}"/>
              </a:ext>
            </a:extLst>
          </p:cNvPr>
          <p:cNvSpPr/>
          <p:nvPr/>
        </p:nvSpPr>
        <p:spPr bwMode="auto">
          <a:xfrm>
            <a:off x="8316142" y="1936694"/>
            <a:ext cx="3015879" cy="547901"/>
          </a:xfrm>
          <a:prstGeom prst="roundRect">
            <a:avLst>
              <a:gd name="adj" fmla="val 50000"/>
            </a:avLst>
          </a:prstGeom>
          <a:gradFill flip="none" rotWithShape="1">
            <a:gsLst>
              <a:gs pos="4000">
                <a:srgbClr val="0078D4"/>
              </a:gs>
              <a:gs pos="100000">
                <a:srgbClr val="C03BC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a:rPr>
              <a:t>Bring your own agent</a:t>
            </a:r>
            <a:endPar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56" name="TextBox 55">
            <a:extLst>
              <a:ext uri="{FF2B5EF4-FFF2-40B4-BE49-F238E27FC236}">
                <a16:creationId xmlns:a16="http://schemas.microsoft.com/office/drawing/2014/main" id="{7AB35ABC-7ECA-12C3-D727-04DCD71CF8EB}"/>
              </a:ext>
            </a:extLst>
          </p:cNvPr>
          <p:cNvSpPr txBox="1"/>
          <p:nvPr/>
        </p:nvSpPr>
        <p:spPr>
          <a:xfrm>
            <a:off x="4588060" y="4201405"/>
            <a:ext cx="3015879" cy="109260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Have a specific vis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Quickly build your agent using natural language in </a:t>
            </a:r>
            <a:r>
              <a:rPr lang="en-US" sz="1200">
                <a:solidFill>
                  <a:srgbClr val="000000"/>
                </a:solidFill>
                <a:latin typeface="Segoe Sans Display" pitchFamily="2" charset="0"/>
                <a:cs typeface="Segoe Sans Display" pitchFamily="2" charset="0"/>
              </a:rPr>
              <a:t>Agent Builder or </a:t>
            </a:r>
            <a:r>
              <a:rPr kumimoji="0" lang="en-US"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via Copilot Chat Start faster with a customizable template tailored to your business.</a:t>
            </a:r>
          </a:p>
        </p:txBody>
      </p:sp>
      <p:grpSp>
        <p:nvGrpSpPr>
          <p:cNvPr id="57" name="Group 56">
            <a:extLst>
              <a:ext uri="{FF2B5EF4-FFF2-40B4-BE49-F238E27FC236}">
                <a16:creationId xmlns:a16="http://schemas.microsoft.com/office/drawing/2014/main" id="{0D62C7CD-03B7-E5B2-7533-099F9099EDF9}"/>
              </a:ext>
            </a:extLst>
          </p:cNvPr>
          <p:cNvGrpSpPr/>
          <p:nvPr/>
        </p:nvGrpSpPr>
        <p:grpSpPr>
          <a:xfrm>
            <a:off x="4588058" y="2891000"/>
            <a:ext cx="3015879" cy="1000680"/>
            <a:chOff x="859979" y="3356603"/>
            <a:chExt cx="3015879" cy="1000680"/>
          </a:xfrm>
        </p:grpSpPr>
        <p:grpSp>
          <p:nvGrpSpPr>
            <p:cNvPr id="58" name="Group 57">
              <a:extLst>
                <a:ext uri="{FF2B5EF4-FFF2-40B4-BE49-F238E27FC236}">
                  <a16:creationId xmlns:a16="http://schemas.microsoft.com/office/drawing/2014/main" id="{38E62581-D7B0-BD10-68F3-925E5521B388}"/>
                </a:ext>
              </a:extLst>
            </p:cNvPr>
            <p:cNvGrpSpPr/>
            <p:nvPr/>
          </p:nvGrpSpPr>
          <p:grpSpPr>
            <a:xfrm>
              <a:off x="859979" y="3356604"/>
              <a:ext cx="914401" cy="1000679"/>
              <a:chOff x="3361364" y="3552085"/>
              <a:chExt cx="914401" cy="1000679"/>
            </a:xfrm>
          </p:grpSpPr>
          <p:sp>
            <p:nvSpPr>
              <p:cNvPr id="94" name="Rectangle: Rounded Corners 110">
                <a:extLst>
                  <a:ext uri="{FF2B5EF4-FFF2-40B4-BE49-F238E27FC236}">
                    <a16:creationId xmlns:a16="http://schemas.microsoft.com/office/drawing/2014/main" id="{46C6D99C-941D-A152-76C0-25A55AF07DCA}"/>
                  </a:ext>
                </a:extLst>
              </p:cNvPr>
              <p:cNvSpPr/>
              <p:nvPr/>
            </p:nvSpPr>
            <p:spPr bwMode="auto">
              <a:xfrm>
                <a:off x="3361364" y="3552085"/>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4" name="TextBox 113">
                <a:extLst>
                  <a:ext uri="{FF2B5EF4-FFF2-40B4-BE49-F238E27FC236}">
                    <a16:creationId xmlns:a16="http://schemas.microsoft.com/office/drawing/2014/main" id="{34DB3E5E-A905-D4D4-DCA3-D2D9BCD85600}"/>
                  </a:ext>
                </a:extLst>
              </p:cNvPr>
              <p:cNvSpPr txBox="1"/>
              <p:nvPr/>
            </p:nvSpPr>
            <p:spPr>
              <a:xfrm>
                <a:off x="3361365" y="4189341"/>
                <a:ext cx="914400" cy="261610"/>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Customer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50">
                    <a:solidFill>
                      <a:srgbClr val="000000"/>
                    </a:solidFill>
                    <a:latin typeface="Segoe Sans Display" pitchFamily="2" charset="0"/>
                    <a:cs typeface="Segoe Sans Display" pitchFamily="2" charset="0"/>
                  </a:rPr>
                  <a:t>Insights </a:t>
                </a:r>
                <a:endParaRPr kumimoji="0" lang="en-US"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p:txBody>
          </p:sp>
        </p:grpSp>
        <p:grpSp>
          <p:nvGrpSpPr>
            <p:cNvPr id="59" name="Group 58">
              <a:extLst>
                <a:ext uri="{FF2B5EF4-FFF2-40B4-BE49-F238E27FC236}">
                  <a16:creationId xmlns:a16="http://schemas.microsoft.com/office/drawing/2014/main" id="{4B8DA7CA-C9A3-3446-973A-2BC4C04543EF}"/>
                </a:ext>
              </a:extLst>
            </p:cNvPr>
            <p:cNvGrpSpPr/>
            <p:nvPr/>
          </p:nvGrpSpPr>
          <p:grpSpPr>
            <a:xfrm>
              <a:off x="2961457" y="3356603"/>
              <a:ext cx="914401" cy="1000679"/>
              <a:chOff x="4417825" y="4677538"/>
              <a:chExt cx="914401" cy="1000679"/>
            </a:xfrm>
          </p:grpSpPr>
          <p:sp>
            <p:nvSpPr>
              <p:cNvPr id="78" name="Rectangle: Rounded Corners 107">
                <a:extLst>
                  <a:ext uri="{FF2B5EF4-FFF2-40B4-BE49-F238E27FC236}">
                    <a16:creationId xmlns:a16="http://schemas.microsoft.com/office/drawing/2014/main" id="{60AAF3B9-5730-DD58-48F4-9E91EB5CAABD}"/>
                  </a:ext>
                </a:extLst>
              </p:cNvPr>
              <p:cNvSpPr/>
              <p:nvPr/>
            </p:nvSpPr>
            <p:spPr bwMode="auto">
              <a:xfrm>
                <a:off x="4417825" y="4677538"/>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1" name="TextBox 90">
                <a:extLst>
                  <a:ext uri="{FF2B5EF4-FFF2-40B4-BE49-F238E27FC236}">
                    <a16:creationId xmlns:a16="http://schemas.microsoft.com/office/drawing/2014/main" id="{22ECAD59-5247-C8BB-1B7C-D58F3E23FD0E}"/>
                  </a:ext>
                </a:extLst>
              </p:cNvPr>
              <p:cNvSpPr txBox="1"/>
              <p:nvPr/>
            </p:nvSpPr>
            <p:spPr>
              <a:xfrm>
                <a:off x="4417826" y="5314794"/>
                <a:ext cx="914400" cy="261610"/>
              </a:xfrm>
              <a:prstGeom prst="rect">
                <a:avLst/>
              </a:prstGeom>
              <a:noFill/>
            </p:spPr>
            <p:txBody>
              <a:bodyPr wrap="square" lIns="0" tIns="0" rIns="0" bIns="0" rtlCol="0" anchor="ctr">
                <a:spAutoFit/>
              </a:bodyPr>
              <a:lstStyle/>
              <a:p>
                <a:pPr lvl="0" algn="ctr" defTabSz="914400">
                  <a:defRPr/>
                </a:pPr>
                <a:r>
                  <a:rPr kumimoji="0" lang="en-US"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Quiz</a:t>
                </a:r>
              </a:p>
              <a:p>
                <a:pPr lvl="0" algn="ctr" defTabSz="914400">
                  <a:defRPr/>
                </a:pPr>
                <a:r>
                  <a:rPr lang="en-US" sz="850">
                    <a:solidFill>
                      <a:srgbClr val="000000"/>
                    </a:solidFill>
                    <a:latin typeface="Segoe Sans Display" pitchFamily="2" charset="0"/>
                    <a:cs typeface="Segoe Sans Display" pitchFamily="2" charset="0"/>
                  </a:rPr>
                  <a:t>Tutor </a:t>
                </a:r>
                <a:endParaRPr kumimoji="0" lang="en-US"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p:txBody>
          </p:sp>
        </p:grpSp>
        <p:grpSp>
          <p:nvGrpSpPr>
            <p:cNvPr id="60" name="Group 59">
              <a:extLst>
                <a:ext uri="{FF2B5EF4-FFF2-40B4-BE49-F238E27FC236}">
                  <a16:creationId xmlns:a16="http://schemas.microsoft.com/office/drawing/2014/main" id="{27AB4113-65A8-B3E0-DF31-482659CFBEB6}"/>
                </a:ext>
              </a:extLst>
            </p:cNvPr>
            <p:cNvGrpSpPr/>
            <p:nvPr/>
          </p:nvGrpSpPr>
          <p:grpSpPr>
            <a:xfrm>
              <a:off x="1910718" y="3356603"/>
              <a:ext cx="914401" cy="1000679"/>
              <a:chOff x="4417825" y="4677538"/>
              <a:chExt cx="914401" cy="1000679"/>
            </a:xfrm>
          </p:grpSpPr>
          <p:sp>
            <p:nvSpPr>
              <p:cNvPr id="61" name="Rectangle: Rounded Corners 104">
                <a:extLst>
                  <a:ext uri="{FF2B5EF4-FFF2-40B4-BE49-F238E27FC236}">
                    <a16:creationId xmlns:a16="http://schemas.microsoft.com/office/drawing/2014/main" id="{06E1B0B8-9F74-7077-E03F-B794AB25A7A5}"/>
                  </a:ext>
                </a:extLst>
              </p:cNvPr>
              <p:cNvSpPr/>
              <p:nvPr/>
            </p:nvSpPr>
            <p:spPr bwMode="auto">
              <a:xfrm>
                <a:off x="4417825" y="4677538"/>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TextBox 76">
                <a:extLst>
                  <a:ext uri="{FF2B5EF4-FFF2-40B4-BE49-F238E27FC236}">
                    <a16:creationId xmlns:a16="http://schemas.microsoft.com/office/drawing/2014/main" id="{2487219C-4593-68DF-46E0-B52E03AE4246}"/>
                  </a:ext>
                </a:extLst>
              </p:cNvPr>
              <p:cNvSpPr txBox="1"/>
              <p:nvPr/>
            </p:nvSpPr>
            <p:spPr>
              <a:xfrm>
                <a:off x="4417826" y="5314794"/>
                <a:ext cx="914400" cy="261610"/>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Interview</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50">
                    <a:solidFill>
                      <a:srgbClr val="000000"/>
                    </a:solidFill>
                    <a:latin typeface="Segoe Sans Display" pitchFamily="2" charset="0"/>
                    <a:cs typeface="Segoe Sans Display" pitchFamily="2" charset="0"/>
                  </a:rPr>
                  <a:t>Questions</a:t>
                </a:r>
                <a:endParaRPr kumimoji="0" lang="en-US"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p:txBody>
          </p:sp>
        </p:grpSp>
      </p:grpSp>
      <p:sp>
        <p:nvSpPr>
          <p:cNvPr id="115" name="Rectangle: Rounded Corners 100">
            <a:extLst>
              <a:ext uri="{FF2B5EF4-FFF2-40B4-BE49-F238E27FC236}">
                <a16:creationId xmlns:a16="http://schemas.microsoft.com/office/drawing/2014/main" id="{9858003D-089F-67D3-2F46-105DE80FF141}"/>
              </a:ext>
            </a:extLst>
          </p:cNvPr>
          <p:cNvSpPr/>
          <p:nvPr/>
        </p:nvSpPr>
        <p:spPr bwMode="auto">
          <a:xfrm>
            <a:off x="4588060" y="5619126"/>
            <a:ext cx="3015879" cy="367934"/>
          </a:xfrm>
          <a:prstGeom prst="roundRect">
            <a:avLst>
              <a:gd name="adj" fmla="val 50000"/>
            </a:avLst>
          </a:prstGeom>
          <a:solidFill>
            <a:schemeClr val="bg1">
              <a:lumMod val="95000"/>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View more in Copilot Chat and Copilot Studio</a:t>
            </a:r>
          </a:p>
        </p:txBody>
      </p:sp>
      <p:sp>
        <p:nvSpPr>
          <p:cNvPr id="116" name="TextBox 115">
            <a:extLst>
              <a:ext uri="{FF2B5EF4-FFF2-40B4-BE49-F238E27FC236}">
                <a16:creationId xmlns:a16="http://schemas.microsoft.com/office/drawing/2014/main" id="{10EE6655-DA0D-2F3A-B8F6-7F79748C099F}"/>
              </a:ext>
            </a:extLst>
          </p:cNvPr>
          <p:cNvSpPr txBox="1"/>
          <p:nvPr/>
        </p:nvSpPr>
        <p:spPr>
          <a:xfrm>
            <a:off x="8316142" y="4201405"/>
            <a:ext cx="3015879" cy="110799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Looking to build on what you hav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Bring existing agents into Copilot Studio to unlock the benefits of a fully managed enterprise-grade platform that is governed, compliant, and extensible. </a:t>
            </a:r>
          </a:p>
        </p:txBody>
      </p:sp>
      <p:grpSp>
        <p:nvGrpSpPr>
          <p:cNvPr id="117" name="Group 116">
            <a:extLst>
              <a:ext uri="{FF2B5EF4-FFF2-40B4-BE49-F238E27FC236}">
                <a16:creationId xmlns:a16="http://schemas.microsoft.com/office/drawing/2014/main" id="{9FA095AF-0C6F-1864-A6E3-28B399A1B0E6}"/>
              </a:ext>
            </a:extLst>
          </p:cNvPr>
          <p:cNvGrpSpPr/>
          <p:nvPr/>
        </p:nvGrpSpPr>
        <p:grpSpPr>
          <a:xfrm>
            <a:off x="8316142" y="2891000"/>
            <a:ext cx="3015879" cy="1000680"/>
            <a:chOff x="859979" y="3356603"/>
            <a:chExt cx="3015879" cy="1000680"/>
          </a:xfrm>
        </p:grpSpPr>
        <p:grpSp>
          <p:nvGrpSpPr>
            <p:cNvPr id="119" name="Group 118">
              <a:extLst>
                <a:ext uri="{FF2B5EF4-FFF2-40B4-BE49-F238E27FC236}">
                  <a16:creationId xmlns:a16="http://schemas.microsoft.com/office/drawing/2014/main" id="{B1CB4308-A26A-F9DD-A1A5-AB6A3FC83D54}"/>
                </a:ext>
              </a:extLst>
            </p:cNvPr>
            <p:cNvGrpSpPr/>
            <p:nvPr/>
          </p:nvGrpSpPr>
          <p:grpSpPr>
            <a:xfrm>
              <a:off x="859979" y="3356604"/>
              <a:ext cx="914401" cy="1000679"/>
              <a:chOff x="3361364" y="3552085"/>
              <a:chExt cx="914401" cy="1000679"/>
            </a:xfrm>
          </p:grpSpPr>
          <p:sp>
            <p:nvSpPr>
              <p:cNvPr id="126" name="Rectangle: Rounded Corners 92">
                <a:extLst>
                  <a:ext uri="{FF2B5EF4-FFF2-40B4-BE49-F238E27FC236}">
                    <a16:creationId xmlns:a16="http://schemas.microsoft.com/office/drawing/2014/main" id="{D9CC9A0A-8AF6-1C01-48C8-E6FC242BC0D0}"/>
                  </a:ext>
                </a:extLst>
              </p:cNvPr>
              <p:cNvSpPr/>
              <p:nvPr/>
            </p:nvSpPr>
            <p:spPr bwMode="auto">
              <a:xfrm>
                <a:off x="3361364" y="3552085"/>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7" name="TextBox 126">
                <a:extLst>
                  <a:ext uri="{FF2B5EF4-FFF2-40B4-BE49-F238E27FC236}">
                    <a16:creationId xmlns:a16="http://schemas.microsoft.com/office/drawing/2014/main" id="{4AB53B29-7EE7-5818-CAEC-E30DC22FB098}"/>
                  </a:ext>
                </a:extLst>
              </p:cNvPr>
              <p:cNvSpPr txBox="1"/>
              <p:nvPr/>
            </p:nvSpPr>
            <p:spPr>
              <a:xfrm>
                <a:off x="3361365" y="4254743"/>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M365 Agents SDK</a:t>
                </a:r>
              </a:p>
            </p:txBody>
          </p:sp>
        </p:grpSp>
        <p:grpSp>
          <p:nvGrpSpPr>
            <p:cNvPr id="120" name="Group 119">
              <a:extLst>
                <a:ext uri="{FF2B5EF4-FFF2-40B4-BE49-F238E27FC236}">
                  <a16:creationId xmlns:a16="http://schemas.microsoft.com/office/drawing/2014/main" id="{3B424186-2201-0CBA-0B66-FEA601877D32}"/>
                </a:ext>
              </a:extLst>
            </p:cNvPr>
            <p:cNvGrpSpPr/>
            <p:nvPr/>
          </p:nvGrpSpPr>
          <p:grpSpPr>
            <a:xfrm>
              <a:off x="2961457" y="3356603"/>
              <a:ext cx="914401" cy="1000679"/>
              <a:chOff x="4417825" y="4677538"/>
              <a:chExt cx="914401" cy="1000679"/>
            </a:xfrm>
          </p:grpSpPr>
          <p:sp>
            <p:nvSpPr>
              <p:cNvPr id="124" name="Rectangle: Rounded Corners 89">
                <a:extLst>
                  <a:ext uri="{FF2B5EF4-FFF2-40B4-BE49-F238E27FC236}">
                    <a16:creationId xmlns:a16="http://schemas.microsoft.com/office/drawing/2014/main" id="{54532572-2927-5A1B-A7D4-209412A61026}"/>
                  </a:ext>
                </a:extLst>
              </p:cNvPr>
              <p:cNvSpPr/>
              <p:nvPr/>
            </p:nvSpPr>
            <p:spPr bwMode="auto">
              <a:xfrm>
                <a:off x="4417825" y="4677538"/>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5" name="TextBox 124">
                <a:extLst>
                  <a:ext uri="{FF2B5EF4-FFF2-40B4-BE49-F238E27FC236}">
                    <a16:creationId xmlns:a16="http://schemas.microsoft.com/office/drawing/2014/main" id="{A0A1D60D-E104-3879-CF16-DC62925B0334}"/>
                  </a:ext>
                </a:extLst>
              </p:cNvPr>
              <p:cNvSpPr txBox="1"/>
              <p:nvPr/>
            </p:nvSpPr>
            <p:spPr>
              <a:xfrm>
                <a:off x="4417826" y="5380196"/>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Visual Studio</a:t>
                </a:r>
              </a:p>
            </p:txBody>
          </p:sp>
        </p:grpSp>
        <p:grpSp>
          <p:nvGrpSpPr>
            <p:cNvPr id="121" name="Group 120">
              <a:extLst>
                <a:ext uri="{FF2B5EF4-FFF2-40B4-BE49-F238E27FC236}">
                  <a16:creationId xmlns:a16="http://schemas.microsoft.com/office/drawing/2014/main" id="{CB275346-BE05-11F6-9C69-836F7AF6076F}"/>
                </a:ext>
              </a:extLst>
            </p:cNvPr>
            <p:cNvGrpSpPr/>
            <p:nvPr/>
          </p:nvGrpSpPr>
          <p:grpSpPr>
            <a:xfrm>
              <a:off x="1910718" y="3356603"/>
              <a:ext cx="914401" cy="1000679"/>
              <a:chOff x="4417825" y="4677538"/>
              <a:chExt cx="914401" cy="1000679"/>
            </a:xfrm>
          </p:grpSpPr>
          <p:sp>
            <p:nvSpPr>
              <p:cNvPr id="122" name="Rectangle: Rounded Corners 86">
                <a:extLst>
                  <a:ext uri="{FF2B5EF4-FFF2-40B4-BE49-F238E27FC236}">
                    <a16:creationId xmlns:a16="http://schemas.microsoft.com/office/drawing/2014/main" id="{3ABDC248-04E2-D8C1-6536-94DDED67F674}"/>
                  </a:ext>
                </a:extLst>
              </p:cNvPr>
              <p:cNvSpPr/>
              <p:nvPr/>
            </p:nvSpPr>
            <p:spPr bwMode="auto">
              <a:xfrm>
                <a:off x="4417825" y="4677538"/>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463A96AC-E92D-A2D2-F000-7DD1A4B350AB}"/>
                  </a:ext>
                </a:extLst>
              </p:cNvPr>
              <p:cNvSpPr txBox="1"/>
              <p:nvPr/>
            </p:nvSpPr>
            <p:spPr>
              <a:xfrm>
                <a:off x="4417826" y="5380196"/>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Azure AI Foundry</a:t>
                </a:r>
              </a:p>
            </p:txBody>
          </p:sp>
        </p:grpSp>
      </p:grpSp>
      <p:sp>
        <p:nvSpPr>
          <p:cNvPr id="128" name="Rectangle: Rounded Corners 82">
            <a:extLst>
              <a:ext uri="{FF2B5EF4-FFF2-40B4-BE49-F238E27FC236}">
                <a16:creationId xmlns:a16="http://schemas.microsoft.com/office/drawing/2014/main" id="{C7E0B0FB-5938-47B7-5AE9-36A52537FFC6}"/>
              </a:ext>
            </a:extLst>
          </p:cNvPr>
          <p:cNvSpPr/>
          <p:nvPr/>
        </p:nvSpPr>
        <p:spPr bwMode="auto">
          <a:xfrm>
            <a:off x="8316142" y="5619126"/>
            <a:ext cx="3015879" cy="367934"/>
          </a:xfrm>
          <a:prstGeom prst="roundRect">
            <a:avLst>
              <a:gd name="adj" fmla="val 50000"/>
            </a:avLst>
          </a:prstGeom>
          <a:solidFill>
            <a:schemeClr val="bg1">
              <a:lumMod val="95000"/>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View with M365 Agents SDK, Azure AI Foundry, or where you build your agents</a:t>
            </a:r>
          </a:p>
        </p:txBody>
      </p:sp>
      <p:pic>
        <p:nvPicPr>
          <p:cNvPr id="129" name="Picture 128">
            <a:extLst>
              <a:ext uri="{FF2B5EF4-FFF2-40B4-BE49-F238E27FC236}">
                <a16:creationId xmlns:a16="http://schemas.microsoft.com/office/drawing/2014/main" id="{E1B2E7C9-F3A8-7D6F-5472-D8E6852BE386}"/>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66736" y="3087501"/>
            <a:ext cx="654078" cy="408797"/>
          </a:xfrm>
          <a:prstGeom prst="rect">
            <a:avLst/>
          </a:prstGeom>
        </p:spPr>
      </p:pic>
      <p:pic>
        <p:nvPicPr>
          <p:cNvPr id="130" name="!! business central">
            <a:extLst>
              <a:ext uri="{FF2B5EF4-FFF2-40B4-BE49-F238E27FC236}">
                <a16:creationId xmlns:a16="http://schemas.microsoft.com/office/drawing/2014/main" id="{0ACAC55D-058A-8ECA-F32A-8E02910BCA9E}"/>
              </a:ext>
              <a:ext uri="{C183D7F6-B498-43B3-948B-1728B52AA6E4}">
                <adec:decorative xmlns:adec="http://schemas.microsoft.com/office/drawing/2017/decorative" val="1"/>
              </a:ext>
            </a:extLst>
          </p:cNvPr>
          <p:cNvPicPr>
            <a:picLocks noChangeAspect="1"/>
          </p:cNvPicPr>
          <p:nvPr/>
        </p:nvPicPr>
        <p:blipFill>
          <a:blip r:embed="rId4"/>
          <a:srcRect l="2503" r="2503"/>
          <a:stretch/>
        </p:blipFill>
        <p:spPr>
          <a:xfrm>
            <a:off x="9613478" y="3064858"/>
            <a:ext cx="463370" cy="463398"/>
          </a:xfrm>
          <a:prstGeom prst="rect">
            <a:avLst/>
          </a:prstGeom>
        </p:spPr>
      </p:pic>
      <p:pic>
        <p:nvPicPr>
          <p:cNvPr id="131" name="Picture 2" descr="Copilot Logo and symbol, meaning, history, PNG, brand">
            <a:extLst>
              <a:ext uri="{FF2B5EF4-FFF2-40B4-BE49-F238E27FC236}">
                <a16:creationId xmlns:a16="http://schemas.microsoft.com/office/drawing/2014/main" id="{A933BF46-17D3-5728-D66B-2499264500A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9049" r="19049"/>
          <a:stretch/>
        </p:blipFill>
        <p:spPr bwMode="auto">
          <a:xfrm>
            <a:off x="8582588" y="3122601"/>
            <a:ext cx="405390" cy="36838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7A336003-572C-C775-A788-28BBA3B3D016}"/>
              </a:ext>
            </a:extLst>
          </p:cNvPr>
          <p:cNvSpPr/>
          <p:nvPr/>
        </p:nvSpPr>
        <p:spPr bwMode="auto">
          <a:xfrm>
            <a:off x="855978" y="2888706"/>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C6D9D3DF-F413-570B-8265-47F895FE2F4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080860" y="2983674"/>
            <a:ext cx="464639" cy="464639"/>
          </a:xfrm>
          <a:prstGeom prst="rect">
            <a:avLst/>
          </a:prstGeom>
        </p:spPr>
      </p:pic>
      <p:sp>
        <p:nvSpPr>
          <p:cNvPr id="6" name="TextBox 5">
            <a:extLst>
              <a:ext uri="{FF2B5EF4-FFF2-40B4-BE49-F238E27FC236}">
                <a16:creationId xmlns:a16="http://schemas.microsoft.com/office/drawing/2014/main" id="{17BE496F-FB2B-3300-BCC0-FAD6A8368380}"/>
              </a:ext>
            </a:extLst>
          </p:cNvPr>
          <p:cNvSpPr txBox="1"/>
          <p:nvPr/>
        </p:nvSpPr>
        <p:spPr>
          <a:xfrm>
            <a:off x="855979" y="3591364"/>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Segoe UI"/>
                <a:ea typeface="+mn-ea"/>
                <a:cs typeface="+mn-cs"/>
              </a:rPr>
              <a:t>Researcher</a:t>
            </a:r>
          </a:p>
        </p:txBody>
      </p:sp>
      <p:sp>
        <p:nvSpPr>
          <p:cNvPr id="7" name="Rectangle: Rounded Corners 6">
            <a:extLst>
              <a:ext uri="{FF2B5EF4-FFF2-40B4-BE49-F238E27FC236}">
                <a16:creationId xmlns:a16="http://schemas.microsoft.com/office/drawing/2014/main" id="{6B01BC8C-317A-72B1-DAFB-45C85B153CB8}"/>
              </a:ext>
            </a:extLst>
          </p:cNvPr>
          <p:cNvSpPr/>
          <p:nvPr/>
        </p:nvSpPr>
        <p:spPr bwMode="auto">
          <a:xfrm>
            <a:off x="2957456" y="2888705"/>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4DE908C0-6244-BB07-66D1-3683758E7BF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3182338" y="2983673"/>
            <a:ext cx="464639" cy="464639"/>
          </a:xfrm>
          <a:prstGeom prst="rect">
            <a:avLst/>
          </a:prstGeom>
        </p:spPr>
      </p:pic>
      <p:sp>
        <p:nvSpPr>
          <p:cNvPr id="9" name="TextBox 8">
            <a:extLst>
              <a:ext uri="{FF2B5EF4-FFF2-40B4-BE49-F238E27FC236}">
                <a16:creationId xmlns:a16="http://schemas.microsoft.com/office/drawing/2014/main" id="{B1447A87-12D9-46B1-B01F-E25929D11468}"/>
              </a:ext>
            </a:extLst>
          </p:cNvPr>
          <p:cNvSpPr txBox="1"/>
          <p:nvPr/>
        </p:nvSpPr>
        <p:spPr>
          <a:xfrm>
            <a:off x="2957457" y="3591363"/>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Segoe UI"/>
                <a:ea typeface="+mn-ea"/>
                <a:cs typeface="+mn-cs"/>
              </a:rPr>
              <a:t>Meeting agent</a:t>
            </a:r>
          </a:p>
        </p:txBody>
      </p:sp>
      <p:sp>
        <p:nvSpPr>
          <p:cNvPr id="10" name="Rectangle: Rounded Corners 9">
            <a:extLst>
              <a:ext uri="{FF2B5EF4-FFF2-40B4-BE49-F238E27FC236}">
                <a16:creationId xmlns:a16="http://schemas.microsoft.com/office/drawing/2014/main" id="{9574421C-535F-8EB4-1209-8A303CF17457}"/>
              </a:ext>
            </a:extLst>
          </p:cNvPr>
          <p:cNvSpPr/>
          <p:nvPr/>
        </p:nvSpPr>
        <p:spPr bwMode="auto">
          <a:xfrm>
            <a:off x="1906717" y="2888705"/>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1" name="Picture 10">
            <a:extLst>
              <a:ext uri="{FF2B5EF4-FFF2-40B4-BE49-F238E27FC236}">
                <a16:creationId xmlns:a16="http://schemas.microsoft.com/office/drawing/2014/main" id="{3190DF76-02B1-2A66-32D6-F2C4D88304DF}"/>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2132115" y="2984190"/>
            <a:ext cx="463606" cy="463606"/>
          </a:xfrm>
          <a:prstGeom prst="rect">
            <a:avLst/>
          </a:prstGeom>
        </p:spPr>
      </p:pic>
      <p:sp>
        <p:nvSpPr>
          <p:cNvPr id="13" name="TextBox 12">
            <a:extLst>
              <a:ext uri="{FF2B5EF4-FFF2-40B4-BE49-F238E27FC236}">
                <a16:creationId xmlns:a16="http://schemas.microsoft.com/office/drawing/2014/main" id="{6757B784-A97D-5CCF-7549-96424842320F}"/>
              </a:ext>
            </a:extLst>
          </p:cNvPr>
          <p:cNvSpPr txBox="1"/>
          <p:nvPr/>
        </p:nvSpPr>
        <p:spPr>
          <a:xfrm>
            <a:off x="1906718" y="3591363"/>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uLnTx/>
                <a:uFillTx/>
                <a:latin typeface="Segoe UI"/>
                <a:ea typeface="+mn-ea"/>
                <a:cs typeface="+mn-cs"/>
              </a:rPr>
              <a:t>Analyst</a:t>
            </a:r>
          </a:p>
        </p:txBody>
      </p:sp>
      <p:cxnSp>
        <p:nvCxnSpPr>
          <p:cNvPr id="15" name="Straight Arrow Connector 14">
            <a:extLst>
              <a:ext uri="{FF2B5EF4-FFF2-40B4-BE49-F238E27FC236}">
                <a16:creationId xmlns:a16="http://schemas.microsoft.com/office/drawing/2014/main" id="{D8DD6931-E351-8A9D-99F7-EEF8DE2E1450}"/>
              </a:ext>
            </a:extLst>
          </p:cNvPr>
          <p:cNvCxnSpPr/>
          <p:nvPr/>
        </p:nvCxnSpPr>
        <p:spPr>
          <a:xfrm>
            <a:off x="426720" y="6601096"/>
            <a:ext cx="11338560" cy="0"/>
          </a:xfrm>
          <a:prstGeom prst="straightConnector1">
            <a:avLst/>
          </a:prstGeom>
          <a:ln w="19050">
            <a:headEnd type="triangle"/>
            <a:tailEnd type="triangle"/>
          </a:ln>
        </p:spPr>
        <p:style>
          <a:lnRef idx="1">
            <a:schemeClr val="accent6"/>
          </a:lnRef>
          <a:fillRef idx="0">
            <a:schemeClr val="accent6"/>
          </a:fillRef>
          <a:effectRef idx="0">
            <a:schemeClr val="accent6"/>
          </a:effectRef>
          <a:fontRef idx="minor">
            <a:schemeClr val="tx1"/>
          </a:fontRef>
        </p:style>
      </p:cxnSp>
      <p:sp>
        <p:nvSpPr>
          <p:cNvPr id="17" name="TextBox 16">
            <a:extLst>
              <a:ext uri="{FF2B5EF4-FFF2-40B4-BE49-F238E27FC236}">
                <a16:creationId xmlns:a16="http://schemas.microsoft.com/office/drawing/2014/main" id="{F169E777-E38B-DBAD-8B79-96073FE769E7}"/>
              </a:ext>
            </a:extLst>
          </p:cNvPr>
          <p:cNvSpPr txBox="1"/>
          <p:nvPr/>
        </p:nvSpPr>
        <p:spPr>
          <a:xfrm>
            <a:off x="10910529" y="6635355"/>
            <a:ext cx="863460"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Agent Pro</a:t>
            </a:r>
          </a:p>
        </p:txBody>
      </p:sp>
      <p:sp>
        <p:nvSpPr>
          <p:cNvPr id="21" name="TextBox 20">
            <a:extLst>
              <a:ext uri="{FF2B5EF4-FFF2-40B4-BE49-F238E27FC236}">
                <a16:creationId xmlns:a16="http://schemas.microsoft.com/office/drawing/2014/main" id="{700FC5CD-FF51-15C6-5D23-115829A5FF6E}"/>
              </a:ext>
            </a:extLst>
          </p:cNvPr>
          <p:cNvSpPr txBox="1"/>
          <p:nvPr/>
        </p:nvSpPr>
        <p:spPr>
          <a:xfrm>
            <a:off x="424904" y="6602556"/>
            <a:ext cx="951050"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Beginner </a:t>
            </a:r>
          </a:p>
        </p:txBody>
      </p:sp>
      <p:pic>
        <p:nvPicPr>
          <p:cNvPr id="14" name="Picture 13">
            <a:extLst>
              <a:ext uri="{FF2B5EF4-FFF2-40B4-BE49-F238E27FC236}">
                <a16:creationId xmlns:a16="http://schemas.microsoft.com/office/drawing/2014/main" id="{84807CF3-0508-CBB0-EB31-A652FA0EAB4E}"/>
              </a:ext>
            </a:extLst>
          </p:cNvPr>
          <p:cNvPicPr>
            <a:picLocks noChangeAspect="1"/>
          </p:cNvPicPr>
          <p:nvPr/>
        </p:nvPicPr>
        <p:blipFill>
          <a:blip r:embed="rId9">
            <a:clrChange>
              <a:clrFrom>
                <a:srgbClr val="FDFDFD"/>
              </a:clrFrom>
              <a:clrTo>
                <a:srgbClr val="FDFDFD">
                  <a:alpha val="0"/>
                </a:srgbClr>
              </a:clrTo>
            </a:clrChange>
          </a:blip>
          <a:stretch>
            <a:fillRect/>
          </a:stretch>
        </p:blipFill>
        <p:spPr>
          <a:xfrm>
            <a:off x="4586392" y="2888193"/>
            <a:ext cx="847971" cy="712296"/>
          </a:xfrm>
          <a:prstGeom prst="rect">
            <a:avLst/>
          </a:prstGeom>
        </p:spPr>
      </p:pic>
      <p:pic>
        <p:nvPicPr>
          <p:cNvPr id="18" name="Picture 17">
            <a:extLst>
              <a:ext uri="{FF2B5EF4-FFF2-40B4-BE49-F238E27FC236}">
                <a16:creationId xmlns:a16="http://schemas.microsoft.com/office/drawing/2014/main" id="{723133EE-A126-A499-F741-FBC2E86C1A27}"/>
              </a:ext>
            </a:extLst>
          </p:cNvPr>
          <p:cNvPicPr>
            <a:picLocks noChangeAspect="1"/>
          </p:cNvPicPr>
          <p:nvPr/>
        </p:nvPicPr>
        <p:blipFill>
          <a:blip r:embed="rId10">
            <a:clrChange>
              <a:clrFrom>
                <a:srgbClr val="FDFDFD"/>
              </a:clrFrom>
              <a:clrTo>
                <a:srgbClr val="FDFDFD">
                  <a:alpha val="0"/>
                </a:srgbClr>
              </a:clrTo>
            </a:clrChange>
          </a:blip>
          <a:stretch>
            <a:fillRect/>
          </a:stretch>
        </p:blipFill>
        <p:spPr>
          <a:xfrm>
            <a:off x="5680960" y="2850515"/>
            <a:ext cx="790697" cy="669052"/>
          </a:xfrm>
          <a:prstGeom prst="rect">
            <a:avLst/>
          </a:prstGeom>
        </p:spPr>
      </p:pic>
      <p:pic>
        <p:nvPicPr>
          <p:cNvPr id="19" name="Picture 18">
            <a:extLst>
              <a:ext uri="{FF2B5EF4-FFF2-40B4-BE49-F238E27FC236}">
                <a16:creationId xmlns:a16="http://schemas.microsoft.com/office/drawing/2014/main" id="{D0EB891E-38B6-8B44-CF26-A0594F4DEA99}"/>
              </a:ext>
            </a:extLst>
          </p:cNvPr>
          <p:cNvPicPr>
            <a:picLocks noChangeAspect="1"/>
          </p:cNvPicPr>
          <p:nvPr/>
        </p:nvPicPr>
        <p:blipFill>
          <a:blip r:embed="rId11">
            <a:clrChange>
              <a:clrFrom>
                <a:srgbClr val="FDFDFD"/>
              </a:clrFrom>
              <a:clrTo>
                <a:srgbClr val="FDFDFD">
                  <a:alpha val="0"/>
                </a:srgbClr>
              </a:clrTo>
            </a:clrChange>
          </a:blip>
          <a:stretch>
            <a:fillRect/>
          </a:stretch>
        </p:blipFill>
        <p:spPr>
          <a:xfrm>
            <a:off x="6787875" y="2868148"/>
            <a:ext cx="717721" cy="717721"/>
          </a:xfrm>
          <a:prstGeom prst="rect">
            <a:avLst/>
          </a:prstGeom>
        </p:spPr>
      </p:pic>
    </p:spTree>
    <p:extLst>
      <p:ext uri="{BB962C8B-B14F-4D97-AF65-F5344CB8AC3E}">
        <p14:creationId xmlns:p14="http://schemas.microsoft.com/office/powerpoint/2010/main" val="253795766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FCDF9C-2643-CCDD-355E-9EBEF26A53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56C5C0-3900-2EE7-D5FB-AC420390856C}"/>
              </a:ext>
            </a:extLst>
          </p:cNvPr>
          <p:cNvSpPr>
            <a:spLocks noGrp="1"/>
          </p:cNvSpPr>
          <p:nvPr>
            <p:ph type="title"/>
          </p:nvPr>
        </p:nvSpPr>
        <p:spPr>
          <a:xfrm>
            <a:off x="571500" y="2792795"/>
            <a:ext cx="4179404" cy="2308324"/>
          </a:xfrm>
          <a:prstGeom prst="rect">
            <a:avLst/>
          </a:prstGeom>
        </p:spPr>
        <p:txBody>
          <a:bodyPr/>
          <a:lstStyle/>
          <a:p>
            <a:r>
              <a:rPr lang="en-US" spc="0"/>
              <a:t>Prebuilt agents available to you on Microsoft 365 Copilot</a:t>
            </a:r>
          </a:p>
        </p:txBody>
      </p:sp>
    </p:spTree>
    <p:extLst>
      <p:ext uri="{BB962C8B-B14F-4D97-AF65-F5344CB8AC3E}">
        <p14:creationId xmlns:p14="http://schemas.microsoft.com/office/powerpoint/2010/main" val="128327067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0AAA62-39A3-A389-8C2A-F52AB59A2A19}"/>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72011EB9-65F6-0FE0-799A-58BB31DD9580}"/>
              </a:ext>
              <a:ext uri="{C183D7F6-B498-43B3-948B-1728B52AA6E4}">
                <adec:decorative xmlns:adec="http://schemas.microsoft.com/office/drawing/2017/decorative" val="1"/>
              </a:ext>
            </a:extLst>
          </p:cNvPr>
          <p:cNvPicPr>
            <a:picLocks/>
          </p:cNvPicPr>
          <p:nvPr/>
        </p:nvPicPr>
        <p:blipFill>
          <a:blip r:embed="rId3">
            <a:extLst>
              <a:ext uri="{28A0092B-C50C-407E-A947-70E740481C1C}">
                <a14:useLocalDpi xmlns:a14="http://schemas.microsoft.com/office/drawing/2010/main" val="0"/>
              </a:ext>
            </a:extLst>
          </a:blip>
          <a:srcRect/>
          <a:stretch/>
        </p:blipFill>
        <p:spPr>
          <a:xfrm>
            <a:off x="0" y="0"/>
            <a:ext cx="4801612" cy="6858000"/>
          </a:xfrm>
          <a:custGeom>
            <a:avLst/>
            <a:gdLst>
              <a:gd name="connsiteX0" fmla="*/ 0 w 4310743"/>
              <a:gd name="connsiteY0" fmla="*/ 0 h 6858000"/>
              <a:gd name="connsiteX1" fmla="*/ 4310743 w 4310743"/>
              <a:gd name="connsiteY1" fmla="*/ 0 h 6858000"/>
              <a:gd name="connsiteX2" fmla="*/ 4310743 w 4310743"/>
              <a:gd name="connsiteY2" fmla="*/ 6858000 h 6858000"/>
              <a:gd name="connsiteX3" fmla="*/ 0 w 43107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0743" h="6858000">
                <a:moveTo>
                  <a:pt x="0" y="0"/>
                </a:moveTo>
                <a:lnTo>
                  <a:pt x="4310743" y="0"/>
                </a:lnTo>
                <a:lnTo>
                  <a:pt x="4310743" y="6858000"/>
                </a:lnTo>
                <a:lnTo>
                  <a:pt x="0" y="6858000"/>
                </a:lnTo>
                <a:close/>
              </a:path>
            </a:pathLst>
          </a:custGeom>
          <a:solidFill>
            <a:srgbClr val="FFF9F3"/>
          </a:solidFill>
        </p:spPr>
      </p:pic>
      <p:sp>
        <p:nvSpPr>
          <p:cNvPr id="16" name="Freeform: Shape 15">
            <a:extLst>
              <a:ext uri="{FF2B5EF4-FFF2-40B4-BE49-F238E27FC236}">
                <a16:creationId xmlns:a16="http://schemas.microsoft.com/office/drawing/2014/main" id="{CA4E89D2-69A0-6660-960F-D838E59661AC}"/>
              </a:ext>
              <a:ext uri="{C183D7F6-B498-43B3-948B-1728B52AA6E4}">
                <adec:decorative xmlns:adec="http://schemas.microsoft.com/office/drawing/2017/decorative" val="1"/>
              </a:ext>
            </a:extLst>
          </p:cNvPr>
          <p:cNvSpPr>
            <a:spLocks/>
          </p:cNvSpPr>
          <p:nvPr/>
        </p:nvSpPr>
        <p:spPr bwMode="auto">
          <a:xfrm>
            <a:off x="-1" y="0"/>
            <a:ext cx="4801611" cy="6858000"/>
          </a:xfrm>
          <a:custGeom>
            <a:avLst/>
            <a:gdLst>
              <a:gd name="connsiteX0" fmla="*/ 0 w 3136902"/>
              <a:gd name="connsiteY0" fmla="*/ 0 h 6858000"/>
              <a:gd name="connsiteX1" fmla="*/ 3136902 w 3136902"/>
              <a:gd name="connsiteY1" fmla="*/ 0 h 6858000"/>
              <a:gd name="connsiteX2" fmla="*/ 3136902 w 3136902"/>
              <a:gd name="connsiteY2" fmla="*/ 6858000 h 6858000"/>
              <a:gd name="connsiteX3" fmla="*/ 0 w 3136902"/>
              <a:gd name="connsiteY3" fmla="*/ 6858000 h 6858000"/>
              <a:gd name="connsiteX4" fmla="*/ 0 w 313690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2" h="6858000">
                <a:moveTo>
                  <a:pt x="0" y="0"/>
                </a:moveTo>
                <a:lnTo>
                  <a:pt x="3136902" y="0"/>
                </a:lnTo>
                <a:lnTo>
                  <a:pt x="3136902" y="6858000"/>
                </a:lnTo>
                <a:lnTo>
                  <a:pt x="0" y="6858000"/>
                </a:lnTo>
                <a:lnTo>
                  <a:pt x="0" y="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7" name="Rectangle 16">
            <a:extLst>
              <a:ext uri="{FF2B5EF4-FFF2-40B4-BE49-F238E27FC236}">
                <a16:creationId xmlns:a16="http://schemas.microsoft.com/office/drawing/2014/main" id="{FD61923B-F21F-7EFC-88F7-587F349537EF}"/>
              </a:ext>
              <a:ext uri="{C183D7F6-B498-43B3-948B-1728B52AA6E4}">
                <adec:decorative xmlns:adec="http://schemas.microsoft.com/office/drawing/2017/decorative" val="1"/>
              </a:ext>
            </a:extLst>
          </p:cNvPr>
          <p:cNvSpPr>
            <a:spLocks/>
          </p:cNvSpPr>
          <p:nvPr/>
        </p:nvSpPr>
        <p:spPr bwMode="auto">
          <a:xfrm>
            <a:off x="0" y="1771679"/>
            <a:ext cx="4801609" cy="3896300"/>
          </a:xfrm>
          <a:prstGeom prst="rect">
            <a:avLst/>
          </a:prstGeom>
          <a:solidFill>
            <a:schemeClr val="bg1">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20" name="Picture 19">
            <a:extLst>
              <a:ext uri="{FF2B5EF4-FFF2-40B4-BE49-F238E27FC236}">
                <a16:creationId xmlns:a16="http://schemas.microsoft.com/office/drawing/2014/main" id="{720535E9-5467-4D98-D91F-57FA80F4018A}"/>
              </a:ext>
              <a:ext uri="{C183D7F6-B498-43B3-948B-1728B52AA6E4}">
                <adec:decorative xmlns:adec="http://schemas.microsoft.com/office/drawing/2017/decorative" val="1"/>
              </a:ext>
            </a:extLst>
          </p:cNvPr>
          <p:cNvPicPr>
            <a:picLocks noChangeAspect="1"/>
          </p:cNvPicPr>
          <p:nvPr/>
        </p:nvPicPr>
        <p:blipFill>
          <a:blip r:embed="rId4"/>
          <a:srcRect b="48531"/>
          <a:stretch>
            <a:fillRect/>
          </a:stretch>
        </p:blipFill>
        <p:spPr>
          <a:xfrm rot="5400000" flipH="1">
            <a:off x="1353561" y="3409949"/>
            <a:ext cx="6857999" cy="38099"/>
          </a:xfrm>
          <a:custGeom>
            <a:avLst/>
            <a:gdLst>
              <a:gd name="connsiteX0" fmla="*/ 6857999 w 6857999"/>
              <a:gd name="connsiteY0" fmla="*/ 38099 h 38099"/>
              <a:gd name="connsiteX1" fmla="*/ 6857999 w 6857999"/>
              <a:gd name="connsiteY1" fmla="*/ 0 h 38099"/>
              <a:gd name="connsiteX2" fmla="*/ 0 w 6857999"/>
              <a:gd name="connsiteY2" fmla="*/ 0 h 38099"/>
              <a:gd name="connsiteX3" fmla="*/ 0 w 6857999"/>
              <a:gd name="connsiteY3" fmla="*/ 38099 h 38099"/>
            </a:gdLst>
            <a:ahLst/>
            <a:cxnLst>
              <a:cxn ang="0">
                <a:pos x="connsiteX0" y="connsiteY0"/>
              </a:cxn>
              <a:cxn ang="0">
                <a:pos x="connsiteX1" y="connsiteY1"/>
              </a:cxn>
              <a:cxn ang="0">
                <a:pos x="connsiteX2" y="connsiteY2"/>
              </a:cxn>
              <a:cxn ang="0">
                <a:pos x="connsiteX3" y="connsiteY3"/>
              </a:cxn>
            </a:cxnLst>
            <a:rect l="l" t="t" r="r" b="b"/>
            <a:pathLst>
              <a:path w="6857999" h="38099">
                <a:moveTo>
                  <a:pt x="6857999" y="38099"/>
                </a:moveTo>
                <a:lnTo>
                  <a:pt x="6857999" y="0"/>
                </a:lnTo>
                <a:lnTo>
                  <a:pt x="0" y="0"/>
                </a:lnTo>
                <a:lnTo>
                  <a:pt x="0" y="38099"/>
                </a:lnTo>
                <a:close/>
              </a:path>
            </a:pathLst>
          </a:custGeom>
        </p:spPr>
      </p:pic>
      <p:sp>
        <p:nvSpPr>
          <p:cNvPr id="23" name="Rectangle: Rounded Corners 22">
            <a:extLst>
              <a:ext uri="{FF2B5EF4-FFF2-40B4-BE49-F238E27FC236}">
                <a16:creationId xmlns:a16="http://schemas.microsoft.com/office/drawing/2014/main" id="{3EFBEA86-81CD-15BE-D890-8E162053D27A}"/>
              </a:ext>
              <a:ext uri="{C183D7F6-B498-43B3-948B-1728B52AA6E4}">
                <adec:decorative xmlns:adec="http://schemas.microsoft.com/office/drawing/2017/decorative" val="1"/>
              </a:ext>
            </a:extLst>
          </p:cNvPr>
          <p:cNvSpPr>
            <a:spLocks/>
          </p:cNvSpPr>
          <p:nvPr/>
        </p:nvSpPr>
        <p:spPr bwMode="auto">
          <a:xfrm>
            <a:off x="4994680" y="1190020"/>
            <a:ext cx="6613725" cy="4477960"/>
          </a:xfrm>
          <a:prstGeom prst="roundRect">
            <a:avLst>
              <a:gd name="adj" fmla="val 2642"/>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3" name="Title 12">
            <a:extLst>
              <a:ext uri="{FF2B5EF4-FFF2-40B4-BE49-F238E27FC236}">
                <a16:creationId xmlns:a16="http://schemas.microsoft.com/office/drawing/2014/main" id="{E01FB0C5-2245-6C69-6470-662DA12B4E9B}"/>
              </a:ext>
            </a:extLst>
          </p:cNvPr>
          <p:cNvSpPr>
            <a:spLocks noGrp="1"/>
          </p:cNvSpPr>
          <p:nvPr>
            <p:ph type="title"/>
          </p:nvPr>
        </p:nvSpPr>
        <p:spPr>
          <a:xfrm>
            <a:off x="571500" y="986994"/>
            <a:ext cx="3933824" cy="492443"/>
          </a:xfrm>
        </p:spPr>
        <p:txBody>
          <a:bodyPr/>
          <a:lstStyle/>
          <a:p>
            <a:pPr>
              <a:spcAft>
                <a:spcPts val="600"/>
              </a:spcAft>
            </a:pPr>
            <a:r>
              <a:rPr lang="en-US" sz="3200">
                <a:gradFill>
                  <a:gsLst>
                    <a:gs pos="2874">
                      <a:schemeClr val="accent1"/>
                    </a:gs>
                    <a:gs pos="71000">
                      <a:schemeClr val="accent4"/>
                    </a:gs>
                    <a:gs pos="100000">
                      <a:schemeClr val="accent2"/>
                    </a:gs>
                  </a:gsLst>
                  <a:lin ang="0" scaled="1"/>
                </a:gradFill>
                <a:ea typeface="+mj-ea"/>
                <a:cs typeface="+mj-cs"/>
              </a:rPr>
              <a:t>Researcher</a:t>
            </a:r>
          </a:p>
        </p:txBody>
      </p:sp>
      <p:sp>
        <p:nvSpPr>
          <p:cNvPr id="4" name="Text Placeholder 12_1">
            <a:extLst>
              <a:ext uri="{FF2B5EF4-FFF2-40B4-BE49-F238E27FC236}">
                <a16:creationId xmlns:a16="http://schemas.microsoft.com/office/drawing/2014/main" id="{0ACBB799-AA3D-77F7-33DD-29BE62C646AD}"/>
              </a:ext>
            </a:extLst>
          </p:cNvPr>
          <p:cNvSpPr txBox="1">
            <a:spLocks/>
          </p:cNvSpPr>
          <p:nvPr/>
        </p:nvSpPr>
        <p:spPr>
          <a:xfrm>
            <a:off x="571500" y="723854"/>
            <a:ext cx="1037528" cy="215444"/>
          </a:xfrm>
          <a:prstGeom prst="rect">
            <a:avLst/>
          </a:prstGeom>
        </p:spPr>
        <p:txBody>
          <a:bodyPr vert="horz" wrap="square" lIns="0" tIns="0" rIns="0" bIns="0" rtlCol="0" anchor="b">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cap="all" spc="0" baseline="0">
                <a:solidFill>
                  <a:schemeClr val="tx1"/>
                </a:solidFill>
                <a:latin typeface="+mn-lt"/>
                <a:ea typeface="+mn-ea"/>
                <a:cs typeface="Segoe Sans Display" pitchFamily="2"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Display" pitchFamily="2" charset="0"/>
              </a:rPr>
              <a:t>Copilot Chat</a:t>
            </a:r>
          </a:p>
        </p:txBody>
      </p:sp>
      <p:sp>
        <p:nvSpPr>
          <p:cNvPr id="18" name="TextBox 17">
            <a:extLst>
              <a:ext uri="{FF2B5EF4-FFF2-40B4-BE49-F238E27FC236}">
                <a16:creationId xmlns:a16="http://schemas.microsoft.com/office/drawing/2014/main" id="{790D913D-E90B-2711-00BF-82D9CE9B7B64}"/>
              </a:ext>
            </a:extLst>
          </p:cNvPr>
          <p:cNvSpPr txBox="1">
            <a:spLocks/>
          </p:cNvSpPr>
          <p:nvPr/>
        </p:nvSpPr>
        <p:spPr>
          <a:xfrm>
            <a:off x="571500" y="1894666"/>
            <a:ext cx="3844089" cy="3650326"/>
          </a:xfrm>
          <a:prstGeom prst="rect">
            <a:avLst/>
          </a:prstGeom>
          <a:noFill/>
        </p:spPr>
        <p:txBody>
          <a:bodyPr vert="horz" wrap="square" lIns="0" tIns="0" rIns="0" bIns="0" rtlCol="0">
            <a:noAutofit/>
          </a:bodyPr>
          <a:lstStyle/>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en-US" sz="1400" b="0" i="0" u="none" strike="noStrike" kern="1200" cap="none" spc="0" normalizeH="0" baseline="0" noProof="0">
                <a:ln>
                  <a:noFill/>
                </a:ln>
                <a:solidFill>
                  <a:srgbClr val="C03BC4"/>
                </a:solidFill>
                <a:effectLst/>
                <a:uLnTx/>
                <a:uFillTx/>
                <a:latin typeface="Segoe Sans Display Semibold"/>
                <a:ea typeface="+mn-ea"/>
                <a:cs typeface="+mn-cs"/>
              </a:rPr>
              <a:t>The Researcher agent </a:t>
            </a:r>
            <a:r>
              <a:rPr kumimoji="0" lang="en-US" sz="1400" b="0" i="0" u="none" strike="noStrike" kern="1200" cap="none" spc="0" normalizeH="0" baseline="0" noProof="0">
                <a:ln>
                  <a:noFill/>
                </a:ln>
                <a:solidFill>
                  <a:srgbClr val="091F2C"/>
                </a:solidFill>
                <a:effectLst/>
                <a:uLnTx/>
                <a:uFillTx/>
                <a:latin typeface="Segoe Sans Display"/>
                <a:ea typeface="+mn-ea"/>
                <a:cs typeface="+mn-cs"/>
              </a:rPr>
              <a:t>gives organizations the capability they’d expect from a highly paid strategist or researcher</a:t>
            </a:r>
          </a:p>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Combines the most advanced deep reasoning models with Copilot Chat’s web- and work-grounding, as well as its agent ecosystem,</a:t>
            </a:r>
          </a:p>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en-US" sz="1400" b="0" i="0" u="none" strike="noStrike" kern="1200" cap="none" spc="0" normalizeH="0" baseline="0" noProof="0">
                <a:ln>
                  <a:noFill/>
                </a:ln>
                <a:solidFill>
                  <a:srgbClr val="C03BC4"/>
                </a:solidFill>
                <a:effectLst/>
                <a:uLnTx/>
                <a:uFillTx/>
                <a:latin typeface="Segoe Sans Display Semibold"/>
                <a:ea typeface="+mn-ea"/>
                <a:cs typeface="+mn-cs"/>
              </a:rPr>
              <a:t>Provides</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well-reasoned responses to complex prompts with the data that matters most.​</a:t>
            </a:r>
          </a:p>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Gives users </a:t>
            </a:r>
            <a:r>
              <a:rPr kumimoji="0" lang="en-US" sz="1400" b="0" i="0" u="none" strike="noStrike" kern="1200" cap="none" spc="0" normalizeH="0" baseline="0" noProof="0">
                <a:ln>
                  <a:noFill/>
                </a:ln>
                <a:solidFill>
                  <a:srgbClr val="C03BC4"/>
                </a:solidFill>
                <a:effectLst/>
                <a:uLnTx/>
                <a:uFillTx/>
                <a:latin typeface="Segoe Sans Display Semibold"/>
                <a:ea typeface="+mn-ea"/>
                <a:cs typeface="+mn-cs"/>
              </a:rPr>
              <a:t>a thought partner </a:t>
            </a:r>
            <a:r>
              <a:rPr kumimoji="0" lang="en-US" sz="1400" b="0" i="0" u="none" strike="noStrike" kern="1200" cap="none" spc="0" normalizeH="0" baseline="0" noProof="0">
                <a:ln>
                  <a:noFill/>
                </a:ln>
                <a:solidFill>
                  <a:srgbClr val="091F2C"/>
                </a:solidFill>
                <a:effectLst/>
                <a:uLnTx/>
                <a:uFillTx/>
                <a:latin typeface="Segoe Sans Display"/>
                <a:ea typeface="+mn-ea"/>
                <a:cs typeface="+mn-cs"/>
              </a:rPr>
              <a:t>that can perform advanced reasoning grounded in their unique context</a:t>
            </a:r>
          </a:p>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Gives organizations </a:t>
            </a:r>
            <a:r>
              <a:rPr kumimoji="0" lang="en-US" sz="1400" b="0" i="0" u="none" strike="noStrike" kern="1200" cap="none" spc="0" normalizeH="0" baseline="0" noProof="0">
                <a:ln>
                  <a:noFill/>
                </a:ln>
                <a:solidFill>
                  <a:srgbClr val="C03BC4"/>
                </a:solidFill>
                <a:effectLst/>
                <a:uLnTx/>
                <a:uFillTx/>
                <a:latin typeface="Segoe Sans Display Semibold"/>
                <a:ea typeface="+mn-ea"/>
                <a:cs typeface="+mn-cs"/>
              </a:rPr>
              <a:t>on-demand access </a:t>
            </a:r>
            <a:r>
              <a:rPr kumimoji="0" lang="en-US" sz="1400" b="0" i="0" u="none" strike="noStrike" kern="1200" cap="none" spc="0" normalizeH="0" baseline="0" noProof="0">
                <a:ln>
                  <a:noFill/>
                </a:ln>
                <a:solidFill>
                  <a:srgbClr val="091F2C"/>
                </a:solidFill>
                <a:effectLst/>
                <a:uLnTx/>
                <a:uFillTx/>
                <a:latin typeface="Segoe Sans Display"/>
                <a:ea typeface="+mn-ea"/>
                <a:cs typeface="+mn-cs"/>
              </a:rPr>
              <a:t>to the types of work they typically expect from highly paid employees</a:t>
            </a:r>
            <a:endParaRPr kumimoji="0" lang="en-US" sz="14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19" name="Rectangle: Rounded Corners 18">
            <a:extLst>
              <a:ext uri="{FF2B5EF4-FFF2-40B4-BE49-F238E27FC236}">
                <a16:creationId xmlns:a16="http://schemas.microsoft.com/office/drawing/2014/main" id="{673E758E-0B1D-D7F5-622E-D4F0BD71A12E}"/>
              </a:ext>
              <a:ext uri="{C183D7F6-B498-43B3-948B-1728B52AA6E4}">
                <adec:decorative xmlns:adec="http://schemas.microsoft.com/office/drawing/2017/decorative" val="0"/>
              </a:ext>
            </a:extLst>
          </p:cNvPr>
          <p:cNvSpPr>
            <a:spLocks/>
          </p:cNvSpPr>
          <p:nvPr/>
        </p:nvSpPr>
        <p:spPr>
          <a:xfrm>
            <a:off x="571500" y="5850859"/>
            <a:ext cx="2182859" cy="403226"/>
          </a:xfrm>
          <a:prstGeom prst="roundRect">
            <a:avLst>
              <a:gd name="adj" fmla="val 50000"/>
            </a:avLst>
          </a:prstGeom>
          <a:gradFill flip="none" rotWithShape="1">
            <a:gsLst>
              <a:gs pos="0">
                <a:schemeClr val="accent3"/>
              </a:gs>
              <a:gs pos="31000">
                <a:srgbClr val="D361FF"/>
              </a:gs>
              <a:gs pos="100000">
                <a:schemeClr val="accent1"/>
              </a:gs>
              <a:gs pos="67000">
                <a:srgbClr val="2CB1FE"/>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Display Semibold"/>
                <a:ea typeface="+mn-ea"/>
                <a:cs typeface="+mn-cs"/>
              </a:rPr>
              <a:t> </a:t>
            </a:r>
            <a:r>
              <a:rPr kumimoji="0" lang="en-US" sz="1200" b="0" i="0" u="none" strike="noStrike" kern="1200" cap="none" spc="0" normalizeH="0" baseline="0" noProof="0">
                <a:ln>
                  <a:noFill/>
                </a:ln>
                <a:solidFill>
                  <a:srgbClr val="FFFFFF"/>
                </a:solidFill>
                <a:effectLst/>
                <a:uLnTx/>
                <a:uFillTx/>
                <a:latin typeface="Segoe Sans Display"/>
                <a:ea typeface="+mn-ea"/>
                <a:cs typeface="+mn-cs"/>
              </a:rPr>
              <a:t>Generally available </a:t>
            </a:r>
          </a:p>
        </p:txBody>
      </p:sp>
      <p:pic>
        <p:nvPicPr>
          <p:cNvPr id="10" name="Picture Placeholder 10" descr="A screen capture displaying a research application interface with a sidebar for navigation and a main section showing the &quot;Researcher&quot; tab with a search bar and prompt suggestions for tasks like preparing for meetings and creating reports.">
            <a:extLst>
              <a:ext uri="{FF2B5EF4-FFF2-40B4-BE49-F238E27FC236}">
                <a16:creationId xmlns:a16="http://schemas.microsoft.com/office/drawing/2014/main" id="{9D59E74E-E5C9-FB2D-21F3-FDCEDB8AFD06}"/>
              </a:ext>
            </a:extLst>
          </p:cNvPr>
          <p:cNvPicPr>
            <a:picLocks/>
          </p:cNvPicPr>
          <p:nvPr/>
        </p:nvPicPr>
        <p:blipFill rotWithShape="1">
          <a:blip r:embed="rId5">
            <a:extLst>
              <a:ext uri="{28A0092B-C50C-407E-A947-70E740481C1C}">
                <a14:useLocalDpi xmlns:a14="http://schemas.microsoft.com/office/drawing/2010/main" val="0"/>
              </a:ext>
            </a:extLst>
          </a:blip>
          <a:srcRect t="-8827" b="-8827"/>
          <a:stretch/>
        </p:blipFill>
        <p:spPr>
          <a:xfrm>
            <a:off x="5145131" y="1343024"/>
            <a:ext cx="6303926" cy="4171954"/>
          </a:xfrm>
          <a:prstGeom prst="roundRect">
            <a:avLst>
              <a:gd name="adj" fmla="val 1881"/>
            </a:avLst>
          </a:prstGeom>
          <a:solidFill>
            <a:srgbClr val="F3F3F3"/>
          </a:solidFill>
          <a:ln w="6350">
            <a:solidFill>
              <a:schemeClr val="accent3">
                <a:lumMod val="40000"/>
                <a:lumOff val="60000"/>
              </a:schemeClr>
            </a:solidFill>
          </a:ln>
          <a:effectLst>
            <a:outerShdw blurRad="127000" dist="38100" dir="2700000" algn="tl" rotWithShape="0">
              <a:prstClr val="black">
                <a:alpha val="5000"/>
              </a:prstClr>
            </a:outerShdw>
          </a:effectLst>
        </p:spPr>
      </p:pic>
    </p:spTree>
    <p:extLst>
      <p:ext uri="{BB962C8B-B14F-4D97-AF65-F5344CB8AC3E}">
        <p14:creationId xmlns:p14="http://schemas.microsoft.com/office/powerpoint/2010/main" val="196520824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9ACC9C-386A-3C48-510A-94F0BE327105}"/>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B09DB889-1048-D2D3-64CD-7CA2EF1BE593}"/>
              </a:ext>
              <a:ext uri="{C183D7F6-B498-43B3-948B-1728B52AA6E4}">
                <adec:decorative xmlns:adec="http://schemas.microsoft.com/office/drawing/2017/decorative" val="1"/>
              </a:ext>
            </a:extLst>
          </p:cNvPr>
          <p:cNvPicPr>
            <a:picLocks/>
          </p:cNvPicPr>
          <p:nvPr/>
        </p:nvPicPr>
        <p:blipFill>
          <a:blip r:embed="rId3">
            <a:extLst>
              <a:ext uri="{28A0092B-C50C-407E-A947-70E740481C1C}">
                <a14:useLocalDpi xmlns:a14="http://schemas.microsoft.com/office/drawing/2010/main" val="0"/>
              </a:ext>
            </a:extLst>
          </a:blip>
          <a:srcRect/>
          <a:stretch/>
        </p:blipFill>
        <p:spPr>
          <a:xfrm>
            <a:off x="0" y="0"/>
            <a:ext cx="4801612" cy="6858000"/>
          </a:xfrm>
          <a:custGeom>
            <a:avLst/>
            <a:gdLst>
              <a:gd name="connsiteX0" fmla="*/ 0 w 4310743"/>
              <a:gd name="connsiteY0" fmla="*/ 0 h 6858000"/>
              <a:gd name="connsiteX1" fmla="*/ 4310743 w 4310743"/>
              <a:gd name="connsiteY1" fmla="*/ 0 h 6858000"/>
              <a:gd name="connsiteX2" fmla="*/ 4310743 w 4310743"/>
              <a:gd name="connsiteY2" fmla="*/ 6858000 h 6858000"/>
              <a:gd name="connsiteX3" fmla="*/ 0 w 43107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0743" h="6858000">
                <a:moveTo>
                  <a:pt x="0" y="0"/>
                </a:moveTo>
                <a:lnTo>
                  <a:pt x="4310743" y="0"/>
                </a:lnTo>
                <a:lnTo>
                  <a:pt x="4310743" y="6858000"/>
                </a:lnTo>
                <a:lnTo>
                  <a:pt x="0" y="6858000"/>
                </a:lnTo>
                <a:close/>
              </a:path>
            </a:pathLst>
          </a:custGeom>
        </p:spPr>
      </p:pic>
      <p:sp>
        <p:nvSpPr>
          <p:cNvPr id="16" name="Freeform: Shape 15">
            <a:extLst>
              <a:ext uri="{FF2B5EF4-FFF2-40B4-BE49-F238E27FC236}">
                <a16:creationId xmlns:a16="http://schemas.microsoft.com/office/drawing/2014/main" id="{A96D920A-AECD-65F7-D3D0-FB902E8B119F}"/>
              </a:ext>
              <a:ext uri="{C183D7F6-B498-43B3-948B-1728B52AA6E4}">
                <adec:decorative xmlns:adec="http://schemas.microsoft.com/office/drawing/2017/decorative" val="1"/>
              </a:ext>
            </a:extLst>
          </p:cNvPr>
          <p:cNvSpPr>
            <a:spLocks/>
          </p:cNvSpPr>
          <p:nvPr/>
        </p:nvSpPr>
        <p:spPr bwMode="auto">
          <a:xfrm>
            <a:off x="-1" y="0"/>
            <a:ext cx="4801611" cy="6858000"/>
          </a:xfrm>
          <a:custGeom>
            <a:avLst/>
            <a:gdLst>
              <a:gd name="connsiteX0" fmla="*/ 0 w 3136902"/>
              <a:gd name="connsiteY0" fmla="*/ 0 h 6858000"/>
              <a:gd name="connsiteX1" fmla="*/ 3136902 w 3136902"/>
              <a:gd name="connsiteY1" fmla="*/ 0 h 6858000"/>
              <a:gd name="connsiteX2" fmla="*/ 3136902 w 3136902"/>
              <a:gd name="connsiteY2" fmla="*/ 6858000 h 6858000"/>
              <a:gd name="connsiteX3" fmla="*/ 0 w 3136902"/>
              <a:gd name="connsiteY3" fmla="*/ 6858000 h 6858000"/>
              <a:gd name="connsiteX4" fmla="*/ 0 w 313690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2" h="6858000">
                <a:moveTo>
                  <a:pt x="0" y="0"/>
                </a:moveTo>
                <a:lnTo>
                  <a:pt x="3136902" y="0"/>
                </a:lnTo>
                <a:lnTo>
                  <a:pt x="3136902" y="6858000"/>
                </a:lnTo>
                <a:lnTo>
                  <a:pt x="0" y="6858000"/>
                </a:lnTo>
                <a:lnTo>
                  <a:pt x="0" y="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7" name="Rectangle 16">
            <a:extLst>
              <a:ext uri="{FF2B5EF4-FFF2-40B4-BE49-F238E27FC236}">
                <a16:creationId xmlns:a16="http://schemas.microsoft.com/office/drawing/2014/main" id="{43D58ECC-F623-C532-49A3-38B5D23229D4}"/>
              </a:ext>
              <a:ext uri="{C183D7F6-B498-43B3-948B-1728B52AA6E4}">
                <adec:decorative xmlns:adec="http://schemas.microsoft.com/office/drawing/2017/decorative" val="1"/>
              </a:ext>
            </a:extLst>
          </p:cNvPr>
          <p:cNvSpPr>
            <a:spLocks/>
          </p:cNvSpPr>
          <p:nvPr/>
        </p:nvSpPr>
        <p:spPr bwMode="auto">
          <a:xfrm>
            <a:off x="0" y="1771679"/>
            <a:ext cx="4801609" cy="3896300"/>
          </a:xfrm>
          <a:prstGeom prst="rect">
            <a:avLst/>
          </a:prstGeom>
          <a:solidFill>
            <a:schemeClr val="bg1">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22" name="Picture 21">
            <a:extLst>
              <a:ext uri="{FF2B5EF4-FFF2-40B4-BE49-F238E27FC236}">
                <a16:creationId xmlns:a16="http://schemas.microsoft.com/office/drawing/2014/main" id="{A06AB3DB-6DDF-689F-2A0D-DA6ABD5A2296}"/>
              </a:ext>
              <a:ext uri="{C183D7F6-B498-43B3-948B-1728B52AA6E4}">
                <adec:decorative xmlns:adec="http://schemas.microsoft.com/office/drawing/2017/decorative" val="1"/>
              </a:ext>
            </a:extLst>
          </p:cNvPr>
          <p:cNvPicPr>
            <a:picLocks noChangeAspect="1"/>
          </p:cNvPicPr>
          <p:nvPr/>
        </p:nvPicPr>
        <p:blipFill>
          <a:blip r:embed="rId4"/>
          <a:srcRect b="48531"/>
          <a:stretch>
            <a:fillRect/>
          </a:stretch>
        </p:blipFill>
        <p:spPr>
          <a:xfrm rot="5400000" flipH="1">
            <a:off x="1353561" y="3409949"/>
            <a:ext cx="6857999" cy="38099"/>
          </a:xfrm>
          <a:custGeom>
            <a:avLst/>
            <a:gdLst>
              <a:gd name="connsiteX0" fmla="*/ 6857999 w 6857999"/>
              <a:gd name="connsiteY0" fmla="*/ 38099 h 38099"/>
              <a:gd name="connsiteX1" fmla="*/ 6857999 w 6857999"/>
              <a:gd name="connsiteY1" fmla="*/ 0 h 38099"/>
              <a:gd name="connsiteX2" fmla="*/ 0 w 6857999"/>
              <a:gd name="connsiteY2" fmla="*/ 0 h 38099"/>
              <a:gd name="connsiteX3" fmla="*/ 0 w 6857999"/>
              <a:gd name="connsiteY3" fmla="*/ 38099 h 38099"/>
            </a:gdLst>
            <a:ahLst/>
            <a:cxnLst>
              <a:cxn ang="0">
                <a:pos x="connsiteX0" y="connsiteY0"/>
              </a:cxn>
              <a:cxn ang="0">
                <a:pos x="connsiteX1" y="connsiteY1"/>
              </a:cxn>
              <a:cxn ang="0">
                <a:pos x="connsiteX2" y="connsiteY2"/>
              </a:cxn>
              <a:cxn ang="0">
                <a:pos x="connsiteX3" y="connsiteY3"/>
              </a:cxn>
            </a:cxnLst>
            <a:rect l="l" t="t" r="r" b="b"/>
            <a:pathLst>
              <a:path w="6857999" h="38099">
                <a:moveTo>
                  <a:pt x="6857999" y="38099"/>
                </a:moveTo>
                <a:lnTo>
                  <a:pt x="6857999" y="0"/>
                </a:lnTo>
                <a:lnTo>
                  <a:pt x="0" y="0"/>
                </a:lnTo>
                <a:lnTo>
                  <a:pt x="0" y="38099"/>
                </a:lnTo>
                <a:close/>
              </a:path>
            </a:pathLst>
          </a:custGeom>
        </p:spPr>
      </p:pic>
      <p:sp>
        <p:nvSpPr>
          <p:cNvPr id="23" name="Rectangle: Rounded Corners 22">
            <a:extLst>
              <a:ext uri="{FF2B5EF4-FFF2-40B4-BE49-F238E27FC236}">
                <a16:creationId xmlns:a16="http://schemas.microsoft.com/office/drawing/2014/main" id="{01C4ED2C-EE5B-24F1-A5B1-010B514204FA}"/>
              </a:ext>
              <a:ext uri="{C183D7F6-B498-43B3-948B-1728B52AA6E4}">
                <adec:decorative xmlns:adec="http://schemas.microsoft.com/office/drawing/2017/decorative" val="1"/>
              </a:ext>
            </a:extLst>
          </p:cNvPr>
          <p:cNvSpPr>
            <a:spLocks/>
          </p:cNvSpPr>
          <p:nvPr/>
        </p:nvSpPr>
        <p:spPr bwMode="auto">
          <a:xfrm>
            <a:off x="4994680" y="1190020"/>
            <a:ext cx="6613725" cy="4477960"/>
          </a:xfrm>
          <a:prstGeom prst="roundRect">
            <a:avLst>
              <a:gd name="adj" fmla="val 2642"/>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3" name="Title 12">
            <a:extLst>
              <a:ext uri="{FF2B5EF4-FFF2-40B4-BE49-F238E27FC236}">
                <a16:creationId xmlns:a16="http://schemas.microsoft.com/office/drawing/2014/main" id="{0586A48C-616E-034A-02E2-F53F3E131940}"/>
              </a:ext>
            </a:extLst>
          </p:cNvPr>
          <p:cNvSpPr>
            <a:spLocks noGrp="1"/>
          </p:cNvSpPr>
          <p:nvPr>
            <p:ph type="title"/>
          </p:nvPr>
        </p:nvSpPr>
        <p:spPr>
          <a:xfrm>
            <a:off x="571500" y="986994"/>
            <a:ext cx="3933824" cy="492443"/>
          </a:xfrm>
        </p:spPr>
        <p:txBody>
          <a:bodyPr/>
          <a:lstStyle/>
          <a:p>
            <a:pPr>
              <a:spcAft>
                <a:spcPts val="600"/>
              </a:spcAft>
            </a:pPr>
            <a:r>
              <a:rPr lang="en-US" sz="3200">
                <a:gradFill>
                  <a:gsLst>
                    <a:gs pos="2874">
                      <a:schemeClr val="accent1"/>
                    </a:gs>
                    <a:gs pos="71000">
                      <a:schemeClr val="accent4"/>
                    </a:gs>
                    <a:gs pos="100000">
                      <a:schemeClr val="accent2"/>
                    </a:gs>
                  </a:gsLst>
                  <a:lin ang="0" scaled="1"/>
                </a:gradFill>
                <a:ea typeface="+mj-ea"/>
                <a:cs typeface="+mj-cs"/>
              </a:rPr>
              <a:t>Analyst</a:t>
            </a:r>
          </a:p>
        </p:txBody>
      </p:sp>
      <p:sp>
        <p:nvSpPr>
          <p:cNvPr id="25" name="Text Placeholder 12">
            <a:extLst>
              <a:ext uri="{FF2B5EF4-FFF2-40B4-BE49-F238E27FC236}">
                <a16:creationId xmlns:a16="http://schemas.microsoft.com/office/drawing/2014/main" id="{3CA48A3E-E625-EDFB-823E-01FB01100817}"/>
              </a:ext>
            </a:extLst>
          </p:cNvPr>
          <p:cNvSpPr>
            <a:spLocks noGrp="1"/>
          </p:cNvSpPr>
          <p:nvPr>
            <p:ph type="body" sz="quarter" idx="11"/>
          </p:nvPr>
        </p:nvSpPr>
        <p:spPr>
          <a:xfrm>
            <a:off x="571500" y="723854"/>
            <a:ext cx="1037528" cy="215444"/>
          </a:xfrm>
        </p:spPr>
        <p:txBody>
          <a:bodyPr wrap="none" anchor="b">
            <a:spAutoFit/>
          </a:bodyPr>
          <a:lstStyle/>
          <a:p>
            <a:r>
              <a:rPr lang="en-US" sz="1400" cap="none">
                <a:latin typeface="+mj-lt"/>
                <a:ea typeface="+mj-ea"/>
                <a:cs typeface="+mj-cs"/>
              </a:rPr>
              <a:t>Copilot Chat</a:t>
            </a:r>
          </a:p>
        </p:txBody>
      </p:sp>
      <p:sp>
        <p:nvSpPr>
          <p:cNvPr id="18" name="TextBox 17">
            <a:extLst>
              <a:ext uri="{FF2B5EF4-FFF2-40B4-BE49-F238E27FC236}">
                <a16:creationId xmlns:a16="http://schemas.microsoft.com/office/drawing/2014/main" id="{F4327493-856B-8E0D-71EF-DC750A61683B}"/>
              </a:ext>
            </a:extLst>
          </p:cNvPr>
          <p:cNvSpPr txBox="1">
            <a:spLocks/>
          </p:cNvSpPr>
          <p:nvPr/>
        </p:nvSpPr>
        <p:spPr>
          <a:xfrm>
            <a:off x="571501" y="1894790"/>
            <a:ext cx="3977053" cy="3508653"/>
          </a:xfrm>
          <a:prstGeom prst="rect">
            <a:avLst/>
          </a:prstGeom>
          <a:noFill/>
        </p:spPr>
        <p:txBody>
          <a:bodyPr vert="horz" wrap="square" lIns="0" tIns="0" rIns="0" bIns="0" rtlCol="0">
            <a:spAutoFit/>
          </a:bodyPr>
          <a:lstStyle/>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en-US" sz="1600" b="0" i="0" u="none" strike="noStrike" kern="1200" cap="none" spc="0" normalizeH="0" baseline="0" noProof="0">
                <a:ln>
                  <a:noFill/>
                </a:ln>
                <a:solidFill>
                  <a:srgbClr val="C03BC4"/>
                </a:solidFill>
                <a:effectLst/>
                <a:uLnTx/>
                <a:uFillTx/>
                <a:latin typeface="Segoe Sans Display Semibold"/>
                <a:ea typeface="+mn-ea"/>
                <a:cs typeface="+mn-cs"/>
              </a:rPr>
              <a:t>Analyst</a:t>
            </a:r>
            <a:r>
              <a:rPr kumimoji="0" lang="en-US" sz="1600" b="0" i="0" u="none" strike="noStrike" kern="1200" cap="none" spc="0" normalizeH="0" baseline="0" noProof="0">
                <a:ln>
                  <a:noFill/>
                </a:ln>
                <a:solidFill>
                  <a:srgbClr val="091F2C"/>
                </a:solidFill>
                <a:effectLst/>
                <a:uLnTx/>
                <a:uFillTx/>
                <a:latin typeface="Segoe Sans Display"/>
                <a:ea typeface="+mn-ea"/>
                <a:cs typeface="+mn-cs"/>
              </a:rPr>
              <a:t> thinks like a skilled data scientist, so you can </a:t>
            </a:r>
            <a:r>
              <a:rPr kumimoji="0" lang="en-US" sz="1600" b="0" i="0" u="none" strike="noStrike" kern="1200" cap="none" spc="0" normalizeH="0" baseline="0" noProof="0">
                <a:ln>
                  <a:noFill/>
                </a:ln>
                <a:solidFill>
                  <a:srgbClr val="C03BC4"/>
                </a:solidFill>
                <a:effectLst/>
                <a:uLnTx/>
                <a:uFillTx/>
                <a:latin typeface="Segoe Sans Display Semibold"/>
                <a:ea typeface="+mn-ea"/>
                <a:cs typeface="+mn-cs"/>
              </a:rPr>
              <a:t>go from raw data to insights in minutes</a:t>
            </a:r>
            <a:r>
              <a:rPr kumimoji="0" lang="en-US" sz="1600" b="0" i="0" u="none" strike="noStrike" kern="1200" cap="none" spc="0" normalizeH="0" baseline="0" noProof="0">
                <a:ln>
                  <a:noFill/>
                </a:ln>
                <a:solidFill>
                  <a:srgbClr val="C03BC4"/>
                </a:solidFill>
                <a:effectLst/>
                <a:uLnTx/>
                <a:uFillTx/>
                <a:latin typeface="Segoe Sans Display"/>
                <a:ea typeface="+mn-ea"/>
                <a:cs typeface="+mn-cs"/>
              </a:rPr>
              <a:t>.</a:t>
            </a:r>
            <a:r>
              <a:rPr kumimoji="0" lang="en-US" sz="1600" b="0" i="0" u="none" strike="noStrike" kern="1200" cap="none" spc="0" normalizeH="0" baseline="0" noProof="0">
                <a:ln>
                  <a:noFill/>
                </a:ln>
                <a:solidFill>
                  <a:srgbClr val="C03BC4"/>
                </a:solidFill>
                <a:effectLst/>
                <a:uLnTx/>
                <a:uFillTx/>
                <a:latin typeface="Segoe Sans Display Semibold"/>
                <a:ea typeface="+mn-ea"/>
                <a:cs typeface="+mn-cs"/>
              </a:rPr>
              <a:t> ​</a:t>
            </a:r>
          </a:p>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Built on OpenAI’s o3-mini reasoning model and optimized to do advanced data analysis at work</a:t>
            </a:r>
          </a:p>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Analyst uses chain-of-thought reasoning to progress through problems iteratively, to refine its reasoning and provide a high-quality answer</a:t>
            </a:r>
          </a:p>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Runs Python to tackle your most complex data queries— you can view the code it’s running in real time to check its work</a:t>
            </a:r>
          </a:p>
        </p:txBody>
      </p:sp>
      <p:pic>
        <p:nvPicPr>
          <p:cNvPr id="30" name="Picture 29">
            <a:extLst>
              <a:ext uri="{FF2B5EF4-FFF2-40B4-BE49-F238E27FC236}">
                <a16:creationId xmlns:a16="http://schemas.microsoft.com/office/drawing/2014/main" id="{60ED4C82-5504-B2C1-C6CF-5A10238965A3}"/>
              </a:ext>
            </a:extLst>
          </p:cNvPr>
          <p:cNvPicPr>
            <a:picLocks/>
          </p:cNvPicPr>
          <p:nvPr/>
        </p:nvPicPr>
        <p:blipFill>
          <a:blip r:embed="rId5"/>
          <a:srcRect l="4967" r="4967"/>
          <a:stretch/>
        </p:blipFill>
        <p:spPr>
          <a:xfrm>
            <a:off x="5145131" y="1343024"/>
            <a:ext cx="6303926" cy="4171954"/>
          </a:xfrm>
          <a:prstGeom prst="roundRect">
            <a:avLst>
              <a:gd name="adj" fmla="val 1881"/>
            </a:avLst>
          </a:prstGeom>
          <a:solidFill>
            <a:schemeClr val="bg1"/>
          </a:solidFill>
          <a:ln w="6350">
            <a:solidFill>
              <a:schemeClr val="accent3">
                <a:lumMod val="40000"/>
                <a:lumOff val="60000"/>
              </a:schemeClr>
            </a:solidFill>
          </a:ln>
          <a:effectLst>
            <a:outerShdw blurRad="127000" dist="38100" dir="2700000" algn="tl" rotWithShape="0">
              <a:prstClr val="black">
                <a:alpha val="5000"/>
              </a:prstClr>
            </a:outerShdw>
          </a:effectLst>
        </p:spPr>
      </p:pic>
      <p:sp>
        <p:nvSpPr>
          <p:cNvPr id="2" name="Rectangle: Rounded Corners 1">
            <a:extLst>
              <a:ext uri="{FF2B5EF4-FFF2-40B4-BE49-F238E27FC236}">
                <a16:creationId xmlns:a16="http://schemas.microsoft.com/office/drawing/2014/main" id="{E5C37610-8581-E4AB-5334-14A2A0847AED}"/>
              </a:ext>
              <a:ext uri="{C183D7F6-B498-43B3-948B-1728B52AA6E4}">
                <adec:decorative xmlns:adec="http://schemas.microsoft.com/office/drawing/2017/decorative" val="0"/>
              </a:ext>
            </a:extLst>
          </p:cNvPr>
          <p:cNvSpPr>
            <a:spLocks/>
          </p:cNvSpPr>
          <p:nvPr/>
        </p:nvSpPr>
        <p:spPr>
          <a:xfrm>
            <a:off x="571500" y="5850859"/>
            <a:ext cx="1618612" cy="403226"/>
          </a:xfrm>
          <a:prstGeom prst="roundRect">
            <a:avLst>
              <a:gd name="adj" fmla="val 50000"/>
            </a:avLst>
          </a:prstGeom>
          <a:gradFill flip="none" rotWithShape="1">
            <a:gsLst>
              <a:gs pos="0">
                <a:schemeClr val="accent3"/>
              </a:gs>
              <a:gs pos="31000">
                <a:srgbClr val="D361FF"/>
              </a:gs>
              <a:gs pos="100000">
                <a:schemeClr val="accent1"/>
              </a:gs>
              <a:gs pos="67000">
                <a:srgbClr val="2CB1FE"/>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Display Semibold"/>
                <a:ea typeface="+mn-ea"/>
                <a:cs typeface="+mn-cs"/>
              </a:rPr>
              <a:t>Generally available</a:t>
            </a:r>
          </a:p>
        </p:txBody>
      </p:sp>
    </p:spTree>
    <p:extLst>
      <p:ext uri="{BB962C8B-B14F-4D97-AF65-F5344CB8AC3E}">
        <p14:creationId xmlns:p14="http://schemas.microsoft.com/office/powerpoint/2010/main" val="345305773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AA105E-9B3E-EAA3-1454-2FED53DBBDD8}"/>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54EB4445-4A9E-9310-18BC-200A48574C4A}"/>
              </a:ext>
              <a:ext uri="{C183D7F6-B498-43B3-948B-1728B52AA6E4}">
                <adec:decorative xmlns:adec="http://schemas.microsoft.com/office/drawing/2017/decorative" val="1"/>
              </a:ext>
            </a:extLst>
          </p:cNvPr>
          <p:cNvPicPr>
            <a:picLocks/>
          </p:cNvPicPr>
          <p:nvPr/>
        </p:nvPicPr>
        <p:blipFill>
          <a:blip r:embed="rId5">
            <a:extLst>
              <a:ext uri="{28A0092B-C50C-407E-A947-70E740481C1C}">
                <a14:useLocalDpi xmlns:a14="http://schemas.microsoft.com/office/drawing/2010/main" val="0"/>
              </a:ext>
            </a:extLst>
          </a:blip>
          <a:srcRect/>
          <a:stretch/>
        </p:blipFill>
        <p:spPr>
          <a:xfrm>
            <a:off x="0" y="0"/>
            <a:ext cx="4801612" cy="6858000"/>
          </a:xfrm>
          <a:custGeom>
            <a:avLst/>
            <a:gdLst>
              <a:gd name="connsiteX0" fmla="*/ 0 w 4310743"/>
              <a:gd name="connsiteY0" fmla="*/ 0 h 6858000"/>
              <a:gd name="connsiteX1" fmla="*/ 4310743 w 4310743"/>
              <a:gd name="connsiteY1" fmla="*/ 0 h 6858000"/>
              <a:gd name="connsiteX2" fmla="*/ 4310743 w 4310743"/>
              <a:gd name="connsiteY2" fmla="*/ 6858000 h 6858000"/>
              <a:gd name="connsiteX3" fmla="*/ 0 w 43107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0743" h="6858000">
                <a:moveTo>
                  <a:pt x="0" y="0"/>
                </a:moveTo>
                <a:lnTo>
                  <a:pt x="4310743" y="0"/>
                </a:lnTo>
                <a:lnTo>
                  <a:pt x="4310743" y="6858000"/>
                </a:lnTo>
                <a:lnTo>
                  <a:pt x="0" y="6858000"/>
                </a:lnTo>
                <a:close/>
              </a:path>
            </a:pathLst>
          </a:custGeom>
          <a:solidFill>
            <a:srgbClr val="FFF9F3"/>
          </a:solidFill>
        </p:spPr>
      </p:pic>
      <p:sp>
        <p:nvSpPr>
          <p:cNvPr id="16" name="Freeform: Shape 15">
            <a:extLst>
              <a:ext uri="{FF2B5EF4-FFF2-40B4-BE49-F238E27FC236}">
                <a16:creationId xmlns:a16="http://schemas.microsoft.com/office/drawing/2014/main" id="{48B4C43C-645C-8457-C206-FD77573910A3}"/>
              </a:ext>
              <a:ext uri="{C183D7F6-B498-43B3-948B-1728B52AA6E4}">
                <adec:decorative xmlns:adec="http://schemas.microsoft.com/office/drawing/2017/decorative" val="1"/>
              </a:ext>
            </a:extLst>
          </p:cNvPr>
          <p:cNvSpPr>
            <a:spLocks/>
          </p:cNvSpPr>
          <p:nvPr/>
        </p:nvSpPr>
        <p:spPr bwMode="auto">
          <a:xfrm>
            <a:off x="-1" y="0"/>
            <a:ext cx="4801611" cy="6858000"/>
          </a:xfrm>
          <a:custGeom>
            <a:avLst/>
            <a:gdLst>
              <a:gd name="connsiteX0" fmla="*/ 0 w 3136902"/>
              <a:gd name="connsiteY0" fmla="*/ 0 h 6858000"/>
              <a:gd name="connsiteX1" fmla="*/ 3136902 w 3136902"/>
              <a:gd name="connsiteY1" fmla="*/ 0 h 6858000"/>
              <a:gd name="connsiteX2" fmla="*/ 3136902 w 3136902"/>
              <a:gd name="connsiteY2" fmla="*/ 6858000 h 6858000"/>
              <a:gd name="connsiteX3" fmla="*/ 0 w 3136902"/>
              <a:gd name="connsiteY3" fmla="*/ 6858000 h 6858000"/>
              <a:gd name="connsiteX4" fmla="*/ 0 w 313690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2" h="6858000">
                <a:moveTo>
                  <a:pt x="0" y="0"/>
                </a:moveTo>
                <a:lnTo>
                  <a:pt x="3136902" y="0"/>
                </a:lnTo>
                <a:lnTo>
                  <a:pt x="3136902" y="6858000"/>
                </a:lnTo>
                <a:lnTo>
                  <a:pt x="0" y="6858000"/>
                </a:lnTo>
                <a:lnTo>
                  <a:pt x="0" y="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7" name="Rectangle 16">
            <a:extLst>
              <a:ext uri="{FF2B5EF4-FFF2-40B4-BE49-F238E27FC236}">
                <a16:creationId xmlns:a16="http://schemas.microsoft.com/office/drawing/2014/main" id="{5C5D333C-49FE-83FD-E8F1-D4015A70834E}"/>
              </a:ext>
              <a:ext uri="{C183D7F6-B498-43B3-948B-1728B52AA6E4}">
                <adec:decorative xmlns:adec="http://schemas.microsoft.com/office/drawing/2017/decorative" val="1"/>
              </a:ext>
            </a:extLst>
          </p:cNvPr>
          <p:cNvSpPr>
            <a:spLocks/>
          </p:cNvSpPr>
          <p:nvPr/>
        </p:nvSpPr>
        <p:spPr bwMode="auto">
          <a:xfrm>
            <a:off x="0" y="1771679"/>
            <a:ext cx="4801609" cy="3896300"/>
          </a:xfrm>
          <a:prstGeom prst="rect">
            <a:avLst/>
          </a:prstGeom>
          <a:solidFill>
            <a:schemeClr val="bg1">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20" name="Picture 19">
            <a:extLst>
              <a:ext uri="{FF2B5EF4-FFF2-40B4-BE49-F238E27FC236}">
                <a16:creationId xmlns:a16="http://schemas.microsoft.com/office/drawing/2014/main" id="{4414A938-7862-31D9-CA2E-BB1DDD477FF9}"/>
              </a:ext>
              <a:ext uri="{C183D7F6-B498-43B3-948B-1728B52AA6E4}">
                <adec:decorative xmlns:adec="http://schemas.microsoft.com/office/drawing/2017/decorative" val="1"/>
              </a:ext>
            </a:extLst>
          </p:cNvPr>
          <p:cNvPicPr>
            <a:picLocks noChangeAspect="1"/>
          </p:cNvPicPr>
          <p:nvPr/>
        </p:nvPicPr>
        <p:blipFill>
          <a:blip r:embed="rId6"/>
          <a:srcRect b="48531"/>
          <a:stretch>
            <a:fillRect/>
          </a:stretch>
        </p:blipFill>
        <p:spPr>
          <a:xfrm rot="5400000" flipH="1">
            <a:off x="1353561" y="3409949"/>
            <a:ext cx="6857999" cy="38099"/>
          </a:xfrm>
          <a:custGeom>
            <a:avLst/>
            <a:gdLst>
              <a:gd name="connsiteX0" fmla="*/ 6857999 w 6857999"/>
              <a:gd name="connsiteY0" fmla="*/ 38099 h 38099"/>
              <a:gd name="connsiteX1" fmla="*/ 6857999 w 6857999"/>
              <a:gd name="connsiteY1" fmla="*/ 0 h 38099"/>
              <a:gd name="connsiteX2" fmla="*/ 0 w 6857999"/>
              <a:gd name="connsiteY2" fmla="*/ 0 h 38099"/>
              <a:gd name="connsiteX3" fmla="*/ 0 w 6857999"/>
              <a:gd name="connsiteY3" fmla="*/ 38099 h 38099"/>
            </a:gdLst>
            <a:ahLst/>
            <a:cxnLst>
              <a:cxn ang="0">
                <a:pos x="connsiteX0" y="connsiteY0"/>
              </a:cxn>
              <a:cxn ang="0">
                <a:pos x="connsiteX1" y="connsiteY1"/>
              </a:cxn>
              <a:cxn ang="0">
                <a:pos x="connsiteX2" y="connsiteY2"/>
              </a:cxn>
              <a:cxn ang="0">
                <a:pos x="connsiteX3" y="connsiteY3"/>
              </a:cxn>
            </a:cxnLst>
            <a:rect l="l" t="t" r="r" b="b"/>
            <a:pathLst>
              <a:path w="6857999" h="38099">
                <a:moveTo>
                  <a:pt x="6857999" y="38099"/>
                </a:moveTo>
                <a:lnTo>
                  <a:pt x="6857999" y="0"/>
                </a:lnTo>
                <a:lnTo>
                  <a:pt x="0" y="0"/>
                </a:lnTo>
                <a:lnTo>
                  <a:pt x="0" y="38099"/>
                </a:lnTo>
                <a:close/>
              </a:path>
            </a:pathLst>
          </a:custGeom>
        </p:spPr>
      </p:pic>
      <p:sp>
        <p:nvSpPr>
          <p:cNvPr id="23" name="Rectangle: Rounded Corners 22">
            <a:extLst>
              <a:ext uri="{FF2B5EF4-FFF2-40B4-BE49-F238E27FC236}">
                <a16:creationId xmlns:a16="http://schemas.microsoft.com/office/drawing/2014/main" id="{3C9A147A-FEB8-E74B-0A65-DC18A527E293}"/>
              </a:ext>
              <a:ext uri="{C183D7F6-B498-43B3-948B-1728B52AA6E4}">
                <adec:decorative xmlns:adec="http://schemas.microsoft.com/office/drawing/2017/decorative" val="1"/>
              </a:ext>
            </a:extLst>
          </p:cNvPr>
          <p:cNvSpPr>
            <a:spLocks/>
          </p:cNvSpPr>
          <p:nvPr/>
        </p:nvSpPr>
        <p:spPr bwMode="auto">
          <a:xfrm>
            <a:off x="4994680" y="1190020"/>
            <a:ext cx="6938819" cy="4477959"/>
          </a:xfrm>
          <a:prstGeom prst="roundRect">
            <a:avLst>
              <a:gd name="adj" fmla="val 2642"/>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3" name="Title 12">
            <a:extLst>
              <a:ext uri="{FF2B5EF4-FFF2-40B4-BE49-F238E27FC236}">
                <a16:creationId xmlns:a16="http://schemas.microsoft.com/office/drawing/2014/main" id="{C849131E-223B-F3B7-833E-F84021A078AF}"/>
              </a:ext>
            </a:extLst>
          </p:cNvPr>
          <p:cNvSpPr>
            <a:spLocks noGrp="1"/>
          </p:cNvSpPr>
          <p:nvPr>
            <p:ph type="title"/>
          </p:nvPr>
        </p:nvSpPr>
        <p:spPr>
          <a:xfrm>
            <a:off x="571499" y="986994"/>
            <a:ext cx="4192009" cy="984885"/>
          </a:xfrm>
        </p:spPr>
        <p:txBody>
          <a:bodyPr/>
          <a:lstStyle/>
          <a:p>
            <a:pPr defTabSz="914400">
              <a:defRPr/>
            </a:pPr>
            <a:r>
              <a:rPr lang="en-US" spc="-20">
                <a:ln>
                  <a:noFill/>
                </a:ln>
                <a:gradFill>
                  <a:gsLst>
                    <a:gs pos="0">
                      <a:srgbClr val="0078D4"/>
                    </a:gs>
                    <a:gs pos="94000">
                      <a:srgbClr val="C73ECC"/>
                    </a:gs>
                  </a:gsLst>
                  <a:lin ang="0" scaled="1"/>
                </a:gradFill>
              </a:rPr>
              <a:t>Word, Excel, and PowerPoint Agents</a:t>
            </a:r>
          </a:p>
        </p:txBody>
      </p:sp>
      <p:sp>
        <p:nvSpPr>
          <p:cNvPr id="4" name="Text Placeholder 12_1">
            <a:extLst>
              <a:ext uri="{FF2B5EF4-FFF2-40B4-BE49-F238E27FC236}">
                <a16:creationId xmlns:a16="http://schemas.microsoft.com/office/drawing/2014/main" id="{701EE3BB-92DD-0975-FDEF-F9FFD46F9809}"/>
              </a:ext>
            </a:extLst>
          </p:cNvPr>
          <p:cNvSpPr txBox="1">
            <a:spLocks/>
          </p:cNvSpPr>
          <p:nvPr/>
        </p:nvSpPr>
        <p:spPr>
          <a:xfrm>
            <a:off x="571500" y="723854"/>
            <a:ext cx="1454070" cy="215444"/>
          </a:xfrm>
          <a:prstGeom prst="rect">
            <a:avLst/>
          </a:prstGeom>
        </p:spPr>
        <p:txBody>
          <a:bodyPr vert="horz" wrap="square" lIns="0" tIns="0" rIns="0" bIns="0" rtlCol="0" anchor="b">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cap="all" spc="0" baseline="0">
                <a:solidFill>
                  <a:schemeClr val="tx1"/>
                </a:solidFill>
                <a:latin typeface="+mn-lt"/>
                <a:ea typeface="+mn-ea"/>
                <a:cs typeface="Segoe Sans Display" pitchFamily="2"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Display" pitchFamily="2" charset="0"/>
              </a:rPr>
              <a:t>Frontier Program</a:t>
            </a:r>
          </a:p>
        </p:txBody>
      </p:sp>
      <p:sp>
        <p:nvSpPr>
          <p:cNvPr id="18" name="TextBox 17">
            <a:extLst>
              <a:ext uri="{FF2B5EF4-FFF2-40B4-BE49-F238E27FC236}">
                <a16:creationId xmlns:a16="http://schemas.microsoft.com/office/drawing/2014/main" id="{118150C6-94B4-8A76-42D4-31D7517B0E9D}"/>
              </a:ext>
            </a:extLst>
          </p:cNvPr>
          <p:cNvSpPr txBox="1">
            <a:spLocks/>
          </p:cNvSpPr>
          <p:nvPr/>
        </p:nvSpPr>
        <p:spPr>
          <a:xfrm>
            <a:off x="571500" y="2195616"/>
            <a:ext cx="3844089" cy="3650326"/>
          </a:xfrm>
          <a:prstGeom prst="rect">
            <a:avLst/>
          </a:prstGeom>
          <a:noFill/>
        </p:spPr>
        <p:txBody>
          <a:bodyPr vert="horz" wrap="square" lIns="0" tIns="0" rIns="0" bIns="0" rtlCol="0">
            <a:noAutofit/>
          </a:bodyPr>
          <a:lstStyle/>
          <a:p>
            <a:pPr marL="285750" indent="-285750">
              <a:spcBef>
                <a:spcPts val="600"/>
              </a:spcBef>
              <a:spcAft>
                <a:spcPts val="600"/>
              </a:spcAft>
              <a:buFont typeface="Arial" panose="020B0604020202020204" pitchFamily="34" charset="0"/>
              <a:buChar char="•"/>
              <a:defRPr/>
            </a:pPr>
            <a:r>
              <a:rPr lang="en-US" sz="1400">
                <a:solidFill>
                  <a:schemeClr val="tx2"/>
                </a:solidFill>
              </a:rPr>
              <a:t>Turn ideas into polished documents, spreadsheets, and presentations directly in chat</a:t>
            </a:r>
            <a:endParaRPr lang="en-US" sz="1400">
              <a:solidFill>
                <a:srgbClr val="000000"/>
              </a:solidFill>
            </a:endParaRPr>
          </a:p>
          <a:p>
            <a:pPr marL="225425" lvl="0" indent="-225425" defTabSz="914400">
              <a:spcBef>
                <a:spcPts val="600"/>
              </a:spcBef>
              <a:spcAft>
                <a:spcPts val="600"/>
              </a:spcAft>
              <a:buClr>
                <a:srgbClr val="000000"/>
              </a:buClr>
              <a:buFont typeface="Arial"/>
              <a:buChar char="•"/>
              <a:defRPr/>
            </a:pPr>
            <a:r>
              <a:rPr lang="en-US" sz="1400">
                <a:solidFill>
                  <a:srgbClr val="000000"/>
                </a:solidFill>
              </a:rPr>
              <a:t>Each agent draws from </a:t>
            </a:r>
            <a:r>
              <a:rPr lang="en-US" sz="1400">
                <a:solidFill>
                  <a:srgbClr val="C03BC4"/>
                </a:solidFill>
                <a:latin typeface="Segoe Sans Display Semibold"/>
              </a:rPr>
              <a:t>both web and </a:t>
            </a:r>
            <a:r>
              <a:rPr lang="en-US" sz="1400" err="1">
                <a:solidFill>
                  <a:srgbClr val="C03BC4"/>
                </a:solidFill>
                <a:latin typeface="Segoe Sans Display Semibold"/>
              </a:rPr>
              <a:t>WorkIQ</a:t>
            </a:r>
            <a:r>
              <a:rPr lang="en-US" sz="1400">
                <a:solidFill>
                  <a:srgbClr val="C03BC4"/>
                </a:solidFill>
                <a:latin typeface="Segoe Sans Display Semibold"/>
              </a:rPr>
              <a:t>* sources</a:t>
            </a:r>
            <a:r>
              <a:rPr lang="en-US" sz="1400">
                <a:solidFill>
                  <a:srgbClr val="000000"/>
                </a:solidFill>
              </a:rPr>
              <a:t> to </a:t>
            </a:r>
            <a:r>
              <a:rPr lang="en-US" sz="1400">
                <a:solidFill>
                  <a:srgbClr val="C03BC4"/>
                </a:solidFill>
                <a:latin typeface="Segoe Sans Display Semibold"/>
              </a:rPr>
              <a:t>research, analyze and create</a:t>
            </a:r>
            <a:r>
              <a:rPr lang="en-US" sz="1400">
                <a:solidFill>
                  <a:srgbClr val="000000"/>
                </a:solidFill>
              </a:rPr>
              <a:t> high-quality content.</a:t>
            </a:r>
          </a:p>
          <a:p>
            <a:pPr marL="225425" lvl="0" indent="-225425" defTabSz="914400">
              <a:spcBef>
                <a:spcPts val="600"/>
              </a:spcBef>
              <a:spcAft>
                <a:spcPts val="600"/>
              </a:spcAft>
              <a:buClr>
                <a:srgbClr val="000000"/>
              </a:buClr>
              <a:buFont typeface="Arial"/>
              <a:buChar char="•"/>
              <a:defRPr/>
            </a:pPr>
            <a:r>
              <a:rPr lang="en-US" sz="1400">
                <a:solidFill>
                  <a:srgbClr val="000000"/>
                </a:solidFill>
              </a:rPr>
              <a:t>Works with you to clarify your request through targeted questions about focus, theme, audience, and file length.</a:t>
            </a:r>
          </a:p>
          <a:p>
            <a:pPr marL="225425" lvl="0" indent="-225425" defTabSz="914400">
              <a:spcBef>
                <a:spcPts val="600"/>
              </a:spcBef>
              <a:spcAft>
                <a:spcPts val="600"/>
              </a:spcAft>
              <a:buClr>
                <a:srgbClr val="000000"/>
              </a:buClr>
              <a:buFont typeface="Arial"/>
              <a:buChar char="•"/>
              <a:defRPr/>
            </a:pPr>
            <a:r>
              <a:rPr lang="en-US" sz="1400">
                <a:solidFill>
                  <a:srgbClr val="C03BC4"/>
                </a:solidFill>
                <a:latin typeface="Segoe Sans Display Semibold"/>
              </a:rPr>
              <a:t>Let’s you refine results in Chat</a:t>
            </a:r>
            <a:r>
              <a:rPr lang="en-US" sz="1400">
                <a:solidFill>
                  <a:srgbClr val="000000"/>
                </a:solidFill>
              </a:rPr>
              <a:t> or open in the Word, Excel, or PowerPoint apps to edit and collaborate further.</a:t>
            </a:r>
          </a:p>
        </p:txBody>
      </p:sp>
      <p:pic>
        <p:nvPicPr>
          <p:cNvPr id="6" name="1213-WXP-PPT-111325-POLISH-NoClaude-v7">
            <a:hlinkClick r:id="" action="ppaction://media"/>
            <a:extLst>
              <a:ext uri="{FF2B5EF4-FFF2-40B4-BE49-F238E27FC236}">
                <a16:creationId xmlns:a16="http://schemas.microsoft.com/office/drawing/2014/main" id="{F94C6B08-C051-5362-2F1D-F096312BAECC}"/>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7"/>
          <a:srcRect l="140" r="140"/>
          <a:stretch>
            <a:fillRect/>
          </a:stretch>
        </p:blipFill>
        <p:spPr>
          <a:xfrm>
            <a:off x="5111430" y="1534218"/>
            <a:ext cx="6718118" cy="3789563"/>
          </a:xfrm>
          <a:prstGeom prst="roundRect">
            <a:avLst>
              <a:gd name="adj" fmla="val 1893"/>
            </a:avLst>
          </a:prstGeom>
        </p:spPr>
      </p:pic>
      <p:sp>
        <p:nvSpPr>
          <p:cNvPr id="8" name="TextBox 7">
            <a:extLst>
              <a:ext uri="{FF2B5EF4-FFF2-40B4-BE49-F238E27FC236}">
                <a16:creationId xmlns:a16="http://schemas.microsoft.com/office/drawing/2014/main" id="{C5C41EA8-7827-F69B-322B-4F7B433411AE}"/>
              </a:ext>
            </a:extLst>
          </p:cNvPr>
          <p:cNvSpPr txBox="1"/>
          <p:nvPr/>
        </p:nvSpPr>
        <p:spPr>
          <a:xfrm>
            <a:off x="4994679" y="5804120"/>
            <a:ext cx="6938820" cy="625812"/>
          </a:xfrm>
          <a:prstGeom prst="rect">
            <a:avLst/>
          </a:prstGeom>
          <a:noFill/>
        </p:spPr>
        <p:txBody>
          <a:bodyPr wrap="square">
            <a:spAutoFit/>
          </a:bodyPr>
          <a:lstStyle/>
          <a:p>
            <a:pPr marL="0" algn="l" rtl="0" eaLnBrk="1" latinLnBrk="0" hangingPunct="1">
              <a:spcAft>
                <a:spcPts val="200"/>
              </a:spcAft>
              <a:buNone/>
            </a:pPr>
            <a:r>
              <a:rPr lang="en-US" sz="1100" kern="1200">
                <a:solidFill>
                  <a:srgbClr val="000000"/>
                </a:solidFill>
                <a:effectLst/>
                <a:latin typeface="Segoe Sans Display" pitchFamily="2" charset="0"/>
                <a:ea typeface="+mn-ea"/>
                <a:cs typeface="+mn-cs"/>
              </a:rPr>
              <a:t>Available in </a:t>
            </a:r>
            <a:r>
              <a:rPr lang="en-US" sz="1100" kern="1200">
                <a:solidFill>
                  <a:srgbClr val="000000"/>
                </a:solidFill>
                <a:effectLst/>
                <a:latin typeface="Segoe Sans Display" pitchFamily="2" charset="0"/>
                <a:ea typeface="+mn-ea"/>
                <a:cs typeface="+mn-cs"/>
                <a:hlinkClick r:id="rId8"/>
              </a:rPr>
              <a:t>Frontier Program</a:t>
            </a:r>
            <a:r>
              <a:rPr lang="en-US" sz="1100" kern="1200">
                <a:solidFill>
                  <a:srgbClr val="000000"/>
                </a:solidFill>
                <a:effectLst/>
                <a:latin typeface="Segoe Sans Display" pitchFamily="2" charset="0"/>
                <a:ea typeface="+mn-ea"/>
                <a:cs typeface="+mn-cs"/>
              </a:rPr>
              <a:t>, Generally Available worldwide in Q1 2026</a:t>
            </a:r>
            <a:endParaRPr lang="en-IN" sz="1100">
              <a:effectLst/>
            </a:endParaRPr>
          </a:p>
          <a:p>
            <a:pPr marL="0" algn="l" rtl="0" eaLnBrk="1" latinLnBrk="0" hangingPunct="1">
              <a:spcAft>
                <a:spcPts val="200"/>
              </a:spcAft>
              <a:buNone/>
            </a:pPr>
            <a:r>
              <a:rPr lang="en-US" sz="1100" kern="1200">
                <a:solidFill>
                  <a:srgbClr val="000000"/>
                </a:solidFill>
                <a:effectLst/>
                <a:latin typeface="Segoe Sans Display" pitchFamily="2" charset="0"/>
                <a:ea typeface="+mn-ea"/>
                <a:cs typeface="+mn-cs"/>
              </a:rPr>
              <a:t>*Excel Agent currently only supports web sources, Microsoft 365 Copilot Chat users can access web grounding only </a:t>
            </a:r>
            <a:endParaRPr lang="en-IN" sz="1100">
              <a:effectLst/>
            </a:endParaRPr>
          </a:p>
        </p:txBody>
      </p:sp>
    </p:spTree>
    <p:extLst>
      <p:ext uri="{BB962C8B-B14F-4D97-AF65-F5344CB8AC3E}">
        <p14:creationId xmlns:p14="http://schemas.microsoft.com/office/powerpoint/2010/main" val="14566231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2133"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FF9F3"/>
        </a:solidFill>
        <a:effectLst/>
      </p:bgPr>
    </p:bg>
    <p:spTree>
      <p:nvGrpSpPr>
        <p:cNvPr id="1" name="">
          <a:extLst>
            <a:ext uri="{FF2B5EF4-FFF2-40B4-BE49-F238E27FC236}">
              <a16:creationId xmlns:a16="http://schemas.microsoft.com/office/drawing/2014/main" id="{C46FD195-0670-8BCD-E406-D49A7B55AFF6}"/>
            </a:ext>
          </a:extLst>
        </p:cNvPr>
        <p:cNvGrpSpPr/>
        <p:nvPr/>
      </p:nvGrpSpPr>
      <p:grpSpPr>
        <a:xfrm>
          <a:off x="0" y="0"/>
          <a:ext cx="0" cy="0"/>
          <a:chOff x="0" y="0"/>
          <a:chExt cx="0" cy="0"/>
        </a:xfrm>
      </p:grpSpPr>
      <p:pic>
        <p:nvPicPr>
          <p:cNvPr id="30" name="Picture 29">
            <a:extLst>
              <a:ext uri="{FF2B5EF4-FFF2-40B4-BE49-F238E27FC236}">
                <a16:creationId xmlns:a16="http://schemas.microsoft.com/office/drawing/2014/main" id="{87F47579-E137-250B-0A36-C6435D83FB40}"/>
              </a:ext>
              <a:ext uri="{C183D7F6-B498-43B3-948B-1728B52AA6E4}">
                <adec:decorative xmlns:adec="http://schemas.microsoft.com/office/drawing/2017/decorative" val="1"/>
              </a:ext>
            </a:extLst>
          </p:cNvPr>
          <p:cNvPicPr>
            <a:picLocks/>
          </p:cNvPicPr>
          <p:nvPr/>
        </p:nvPicPr>
        <p:blipFill rotWithShape="1">
          <a:blip r:embed="rId3" cstate="hqprint">
            <a:extLst>
              <a:ext uri="{28A0092B-C50C-407E-A947-70E740481C1C}">
                <a14:useLocalDpi xmlns:a14="http://schemas.microsoft.com/office/drawing/2010/main"/>
              </a:ext>
            </a:extLst>
          </a:blip>
          <a:srcRect l="3055" r="3055"/>
          <a:stretch/>
        </p:blipFill>
        <p:spPr>
          <a:xfrm>
            <a:off x="-6960" y="11102"/>
            <a:ext cx="12192000" cy="6858000"/>
          </a:xfrm>
          <a:prstGeom prst="rect">
            <a:avLst/>
          </a:prstGeom>
        </p:spPr>
      </p:pic>
      <p:sp>
        <p:nvSpPr>
          <p:cNvPr id="31" name="Rectangle 30">
            <a:extLst>
              <a:ext uri="{FF2B5EF4-FFF2-40B4-BE49-F238E27FC236}">
                <a16:creationId xmlns:a16="http://schemas.microsoft.com/office/drawing/2014/main" id="{592E9963-BC41-CF82-28A0-48515A037FD6}"/>
              </a:ext>
              <a:ext uri="{C183D7F6-B498-43B3-948B-1728B52AA6E4}">
                <adec:decorative xmlns:adec="http://schemas.microsoft.com/office/drawing/2017/decorative" val="1"/>
              </a:ext>
            </a:extLst>
          </p:cNvPr>
          <p:cNvSpPr>
            <a:spLocks/>
          </p:cNvSpPr>
          <p:nvPr/>
        </p:nvSpPr>
        <p:spPr bwMode="auto">
          <a:xfrm>
            <a:off x="6960" y="-28977"/>
            <a:ext cx="12191998"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32" name="Picture 31">
            <a:extLst>
              <a:ext uri="{FF2B5EF4-FFF2-40B4-BE49-F238E27FC236}">
                <a16:creationId xmlns:a16="http://schemas.microsoft.com/office/drawing/2014/main" id="{0250977E-E50A-C453-9EF6-D4407E561225}"/>
              </a:ext>
              <a:ext uri="{C183D7F6-B498-43B3-948B-1728B52AA6E4}">
                <adec:decorative xmlns:adec="http://schemas.microsoft.com/office/drawing/2017/decorative" val="1"/>
              </a:ext>
            </a:extLst>
          </p:cNvPr>
          <p:cNvPicPr>
            <a:picLocks/>
          </p:cNvPicPr>
          <p:nvPr/>
        </p:nvPicPr>
        <p:blipFill>
          <a:blip r:embed="rId4"/>
          <a:stretch>
            <a:fillRect/>
          </a:stretch>
        </p:blipFill>
        <p:spPr>
          <a:xfrm flipH="1">
            <a:off x="0" y="6788943"/>
            <a:ext cx="12191992" cy="69057"/>
          </a:xfrm>
          <a:prstGeom prst="rect">
            <a:avLst/>
          </a:prstGeom>
        </p:spPr>
      </p:pic>
      <p:sp>
        <p:nvSpPr>
          <p:cNvPr id="44" name="Title 43">
            <a:extLst>
              <a:ext uri="{FF2B5EF4-FFF2-40B4-BE49-F238E27FC236}">
                <a16:creationId xmlns:a16="http://schemas.microsoft.com/office/drawing/2014/main" id="{3142E3E5-8472-04FF-8806-FE4791E4BC16}"/>
              </a:ext>
            </a:extLst>
          </p:cNvPr>
          <p:cNvSpPr>
            <a:spLocks noGrp="1"/>
          </p:cNvSpPr>
          <p:nvPr>
            <p:ph type="title"/>
          </p:nvPr>
        </p:nvSpPr>
        <p:spPr>
          <a:xfrm>
            <a:off x="571500" y="-876624"/>
            <a:ext cx="11052046" cy="553998"/>
          </a:xfrm>
        </p:spPr>
        <p:txBody>
          <a:bodyPr/>
          <a:lstStyle/>
          <a:p>
            <a:r>
              <a:rPr lang="en-US"/>
              <a:t>Title </a:t>
            </a:r>
          </a:p>
        </p:txBody>
      </p:sp>
      <p:sp>
        <p:nvSpPr>
          <p:cNvPr id="6" name="Title 1">
            <a:extLst>
              <a:ext uri="{FF2B5EF4-FFF2-40B4-BE49-F238E27FC236}">
                <a16:creationId xmlns:a16="http://schemas.microsoft.com/office/drawing/2014/main" id="{27663F20-88E5-BB89-949A-785A95DBA9F8}"/>
              </a:ext>
              <a:ext uri="{C183D7F6-B498-43B3-948B-1728B52AA6E4}">
                <adec:decorative xmlns:adec="http://schemas.microsoft.com/office/drawing/2017/decorative" val="0"/>
              </a:ext>
            </a:extLst>
          </p:cNvPr>
          <p:cNvSpPr txBox="1">
            <a:spLocks/>
          </p:cNvSpPr>
          <p:nvPr/>
        </p:nvSpPr>
        <p:spPr>
          <a:xfrm>
            <a:off x="571500" y="457200"/>
            <a:ext cx="11052046"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gradFill>
                  <a:gsLst>
                    <a:gs pos="2874">
                      <a:srgbClr val="0078D4"/>
                    </a:gs>
                    <a:gs pos="71000">
                      <a:srgbClr val="8661C5"/>
                    </a:gs>
                    <a:gs pos="100000">
                      <a:srgbClr val="C03BC4"/>
                    </a:gs>
                  </a:gsLst>
                  <a:lin ang="0" scaled="1"/>
                </a:gradFill>
                <a:effectLst/>
                <a:uLnTx/>
                <a:uFillTx/>
                <a:latin typeface="Segoe Sans Display Semibold"/>
                <a:ea typeface="+mn-ea"/>
                <a:cs typeface="Segoe Sans Display" pitchFamily="2" charset="0"/>
              </a:rPr>
              <a:t>Agents in Microsoft 365</a:t>
            </a:r>
          </a:p>
        </p:txBody>
      </p:sp>
      <p:sp>
        <p:nvSpPr>
          <p:cNvPr id="106" name="Freeform: Shape 105">
            <a:extLst>
              <a:ext uri="{FF2B5EF4-FFF2-40B4-BE49-F238E27FC236}">
                <a16:creationId xmlns:a16="http://schemas.microsoft.com/office/drawing/2014/main" id="{9FF2FD99-3A7F-EA28-E9DC-C860CD6CE71E}"/>
              </a:ext>
              <a:ext uri="{C183D7F6-B498-43B3-948B-1728B52AA6E4}">
                <adec:decorative xmlns:adec="http://schemas.microsoft.com/office/drawing/2017/decorative" val="1"/>
              </a:ext>
            </a:extLst>
          </p:cNvPr>
          <p:cNvSpPr>
            <a:spLocks/>
          </p:cNvSpPr>
          <p:nvPr/>
        </p:nvSpPr>
        <p:spPr bwMode="auto">
          <a:xfrm>
            <a:off x="7722" y="989722"/>
            <a:ext cx="11918023" cy="5505572"/>
          </a:xfrm>
          <a:custGeom>
            <a:avLst/>
            <a:gdLst>
              <a:gd name="connsiteX0" fmla="*/ 0 w 10663238"/>
              <a:gd name="connsiteY0" fmla="*/ 0 h 4013200"/>
              <a:gd name="connsiteX1" fmla="*/ 10342704 w 10663238"/>
              <a:gd name="connsiteY1" fmla="*/ 0 h 4013200"/>
              <a:gd name="connsiteX2" fmla="*/ 10663238 w 10663238"/>
              <a:gd name="connsiteY2" fmla="*/ 320534 h 4013200"/>
              <a:gd name="connsiteX3" fmla="*/ 10663238 w 10663238"/>
              <a:gd name="connsiteY3" fmla="*/ 3692666 h 4013200"/>
              <a:gd name="connsiteX4" fmla="*/ 10342704 w 10663238"/>
              <a:gd name="connsiteY4" fmla="*/ 4013200 h 4013200"/>
              <a:gd name="connsiteX5" fmla="*/ 0 w 10663238"/>
              <a:gd name="connsiteY5" fmla="*/ 4013200 h 4013200"/>
              <a:gd name="connsiteX6" fmla="*/ 0 w 10663238"/>
              <a:gd name="connsiteY6" fmla="*/ 0 h 401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63238" h="4013200">
                <a:moveTo>
                  <a:pt x="0" y="0"/>
                </a:moveTo>
                <a:lnTo>
                  <a:pt x="10342704" y="0"/>
                </a:lnTo>
                <a:cubicBezTo>
                  <a:pt x="10519730" y="0"/>
                  <a:pt x="10663238" y="143508"/>
                  <a:pt x="10663238" y="320534"/>
                </a:cubicBezTo>
                <a:lnTo>
                  <a:pt x="10663238" y="3692666"/>
                </a:lnTo>
                <a:cubicBezTo>
                  <a:pt x="10663238" y="3869692"/>
                  <a:pt x="10519730" y="4013200"/>
                  <a:pt x="10342704" y="4013200"/>
                </a:cubicBezTo>
                <a:lnTo>
                  <a:pt x="0" y="4013200"/>
                </a:lnTo>
                <a:lnTo>
                  <a:pt x="0" y="0"/>
                </a:lnTo>
                <a:close/>
              </a:path>
            </a:pathLst>
          </a:custGeom>
          <a:solidFill>
            <a:schemeClr val="bg1">
              <a:alpha val="40000"/>
            </a:schemeClr>
          </a:solidFill>
          <a:ln w="6350">
            <a:solidFill>
              <a:schemeClr val="bg1"/>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Sans Display"/>
              <a:ea typeface="+mn-ea"/>
              <a:cs typeface="+mn-cs"/>
            </a:endParaRPr>
          </a:p>
        </p:txBody>
      </p:sp>
      <p:grpSp>
        <p:nvGrpSpPr>
          <p:cNvPr id="139" name="Group 138">
            <a:extLst>
              <a:ext uri="{FF2B5EF4-FFF2-40B4-BE49-F238E27FC236}">
                <a16:creationId xmlns:a16="http://schemas.microsoft.com/office/drawing/2014/main" id="{511CF88B-F7D0-5479-7B13-FB7FF203534F}"/>
              </a:ext>
            </a:extLst>
          </p:cNvPr>
          <p:cNvGrpSpPr/>
          <p:nvPr/>
        </p:nvGrpSpPr>
        <p:grpSpPr>
          <a:xfrm>
            <a:off x="571500" y="1411309"/>
            <a:ext cx="11048999" cy="4422942"/>
            <a:chOff x="571500" y="1411309"/>
            <a:chExt cx="11048999" cy="4422942"/>
          </a:xfrm>
        </p:grpSpPr>
        <p:sp>
          <p:nvSpPr>
            <p:cNvPr id="140" name="Rectangle: Rounded Corners 30">
              <a:extLst>
                <a:ext uri="{FF2B5EF4-FFF2-40B4-BE49-F238E27FC236}">
                  <a16:creationId xmlns:a16="http://schemas.microsoft.com/office/drawing/2014/main" id="{4C3167A5-CBAD-BF70-F147-11E3D7488BC6}"/>
                </a:ext>
              </a:extLst>
            </p:cNvPr>
            <p:cNvSpPr>
              <a:spLocks/>
            </p:cNvSpPr>
            <p:nvPr/>
          </p:nvSpPr>
          <p:spPr bwMode="auto">
            <a:xfrm>
              <a:off x="571500"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1" name="Rectangle: Rounded Corners 30">
              <a:extLst>
                <a:ext uri="{FF2B5EF4-FFF2-40B4-BE49-F238E27FC236}">
                  <a16:creationId xmlns:a16="http://schemas.microsoft.com/office/drawing/2014/main" id="{74667EC8-C5AB-E646-C85A-15A4D4E6721C}"/>
                </a:ext>
              </a:extLst>
            </p:cNvPr>
            <p:cNvSpPr>
              <a:spLocks/>
            </p:cNvSpPr>
            <p:nvPr/>
          </p:nvSpPr>
          <p:spPr bwMode="auto">
            <a:xfrm>
              <a:off x="2816933"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2" name="Rectangle: Rounded Corners 30">
              <a:extLst>
                <a:ext uri="{FF2B5EF4-FFF2-40B4-BE49-F238E27FC236}">
                  <a16:creationId xmlns:a16="http://schemas.microsoft.com/office/drawing/2014/main" id="{22BE0E7A-D1EF-A031-E8DE-495D36D27100}"/>
                </a:ext>
              </a:extLst>
            </p:cNvPr>
            <p:cNvSpPr>
              <a:spLocks/>
            </p:cNvSpPr>
            <p:nvPr/>
          </p:nvSpPr>
          <p:spPr bwMode="auto">
            <a:xfrm>
              <a:off x="9553230"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3" name="Rectangle: Rounded Corners 30">
              <a:extLst>
                <a:ext uri="{FF2B5EF4-FFF2-40B4-BE49-F238E27FC236}">
                  <a16:creationId xmlns:a16="http://schemas.microsoft.com/office/drawing/2014/main" id="{7B50FCF2-6EED-FD92-6C6F-FA3B1E9623D0}"/>
                </a:ext>
              </a:extLst>
            </p:cNvPr>
            <p:cNvSpPr>
              <a:spLocks/>
            </p:cNvSpPr>
            <p:nvPr/>
          </p:nvSpPr>
          <p:spPr bwMode="auto">
            <a:xfrm>
              <a:off x="7307798"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4" name="Rectangle: Rounded Corners 30">
              <a:extLst>
                <a:ext uri="{FF2B5EF4-FFF2-40B4-BE49-F238E27FC236}">
                  <a16:creationId xmlns:a16="http://schemas.microsoft.com/office/drawing/2014/main" id="{CCAE5CAB-1680-3AB8-0A55-E89E0892C195}"/>
                </a:ext>
              </a:extLst>
            </p:cNvPr>
            <p:cNvSpPr>
              <a:spLocks/>
            </p:cNvSpPr>
            <p:nvPr/>
          </p:nvSpPr>
          <p:spPr bwMode="auto">
            <a:xfrm>
              <a:off x="5062365"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5" name="Rectangle: Rounded Corners 30">
              <a:extLst>
                <a:ext uri="{FF2B5EF4-FFF2-40B4-BE49-F238E27FC236}">
                  <a16:creationId xmlns:a16="http://schemas.microsoft.com/office/drawing/2014/main" id="{0AC0280F-BB38-19F5-7732-5C673E96721B}"/>
                </a:ext>
              </a:extLst>
            </p:cNvPr>
            <p:cNvSpPr>
              <a:spLocks/>
            </p:cNvSpPr>
            <p:nvPr/>
          </p:nvSpPr>
          <p:spPr bwMode="auto">
            <a:xfrm>
              <a:off x="571500"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6" name="Rectangle: Rounded Corners 30">
              <a:extLst>
                <a:ext uri="{FF2B5EF4-FFF2-40B4-BE49-F238E27FC236}">
                  <a16:creationId xmlns:a16="http://schemas.microsoft.com/office/drawing/2014/main" id="{99B8DCAF-9CD4-48A2-F15C-031425B24D7D}"/>
                </a:ext>
              </a:extLst>
            </p:cNvPr>
            <p:cNvSpPr>
              <a:spLocks/>
            </p:cNvSpPr>
            <p:nvPr/>
          </p:nvSpPr>
          <p:spPr bwMode="auto">
            <a:xfrm>
              <a:off x="2816933"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7" name="Rectangle: Rounded Corners 30">
              <a:extLst>
                <a:ext uri="{FF2B5EF4-FFF2-40B4-BE49-F238E27FC236}">
                  <a16:creationId xmlns:a16="http://schemas.microsoft.com/office/drawing/2014/main" id="{3F711B1E-9FB8-A9E9-DCFF-6DD5E8265D00}"/>
                </a:ext>
              </a:extLst>
            </p:cNvPr>
            <p:cNvSpPr>
              <a:spLocks/>
            </p:cNvSpPr>
            <p:nvPr/>
          </p:nvSpPr>
          <p:spPr bwMode="auto">
            <a:xfrm>
              <a:off x="9553230"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8" name="Rectangle: Rounded Corners 30">
              <a:extLst>
                <a:ext uri="{FF2B5EF4-FFF2-40B4-BE49-F238E27FC236}">
                  <a16:creationId xmlns:a16="http://schemas.microsoft.com/office/drawing/2014/main" id="{61F66E8D-8618-BFB2-A97F-EA5E6A6BAF65}"/>
                </a:ext>
              </a:extLst>
            </p:cNvPr>
            <p:cNvSpPr>
              <a:spLocks/>
            </p:cNvSpPr>
            <p:nvPr/>
          </p:nvSpPr>
          <p:spPr bwMode="auto">
            <a:xfrm>
              <a:off x="7307798"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9" name="Rectangle: Rounded Corners 30">
              <a:extLst>
                <a:ext uri="{FF2B5EF4-FFF2-40B4-BE49-F238E27FC236}">
                  <a16:creationId xmlns:a16="http://schemas.microsoft.com/office/drawing/2014/main" id="{5F0343C1-31B6-B60B-277F-04D31336605C}"/>
                </a:ext>
              </a:extLst>
            </p:cNvPr>
            <p:cNvSpPr>
              <a:spLocks/>
            </p:cNvSpPr>
            <p:nvPr/>
          </p:nvSpPr>
          <p:spPr bwMode="auto">
            <a:xfrm>
              <a:off x="5062365"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50" name="Rectangle: Rounded Corners 149">
              <a:extLst>
                <a:ext uri="{FF2B5EF4-FFF2-40B4-BE49-F238E27FC236}">
                  <a16:creationId xmlns:a16="http://schemas.microsoft.com/office/drawing/2014/main" id="{338C4503-578E-9078-7012-D692F75F0DE2}"/>
                </a:ext>
              </a:extLst>
            </p:cNvPr>
            <p:cNvSpPr>
              <a:spLocks/>
            </p:cNvSpPr>
            <p:nvPr/>
          </p:nvSpPr>
          <p:spPr bwMode="auto">
            <a:xfrm>
              <a:off x="621337"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51" name="Rectangle: Rounded Corners 30">
              <a:extLst>
                <a:ext uri="{FF2B5EF4-FFF2-40B4-BE49-F238E27FC236}">
                  <a16:creationId xmlns:a16="http://schemas.microsoft.com/office/drawing/2014/main" id="{16759A33-2F9D-A102-82C9-933C24204103}"/>
                </a:ext>
              </a:extLst>
            </p:cNvPr>
            <p:cNvSpPr>
              <a:spLocks/>
            </p:cNvSpPr>
            <p:nvPr/>
          </p:nvSpPr>
          <p:spPr bwMode="auto">
            <a:xfrm>
              <a:off x="2866770"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52" name="Rectangle: Rounded Corners 30">
              <a:extLst>
                <a:ext uri="{FF2B5EF4-FFF2-40B4-BE49-F238E27FC236}">
                  <a16:creationId xmlns:a16="http://schemas.microsoft.com/office/drawing/2014/main" id="{978B4C0A-8DD9-14B3-9811-7281D236B361}"/>
                </a:ext>
              </a:extLst>
            </p:cNvPr>
            <p:cNvSpPr>
              <a:spLocks/>
            </p:cNvSpPr>
            <p:nvPr/>
          </p:nvSpPr>
          <p:spPr bwMode="auto">
            <a:xfrm>
              <a:off x="9553230"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53" name="Rectangle: Rounded Corners 30">
              <a:extLst>
                <a:ext uri="{FF2B5EF4-FFF2-40B4-BE49-F238E27FC236}">
                  <a16:creationId xmlns:a16="http://schemas.microsoft.com/office/drawing/2014/main" id="{4885C44E-3268-0FA3-057B-B9FBC7BD6179}"/>
                </a:ext>
              </a:extLst>
            </p:cNvPr>
            <p:cNvSpPr>
              <a:spLocks/>
            </p:cNvSpPr>
            <p:nvPr/>
          </p:nvSpPr>
          <p:spPr bwMode="auto">
            <a:xfrm>
              <a:off x="7307798"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54" name="Rectangle: Rounded Corners 30">
              <a:extLst>
                <a:ext uri="{FF2B5EF4-FFF2-40B4-BE49-F238E27FC236}">
                  <a16:creationId xmlns:a16="http://schemas.microsoft.com/office/drawing/2014/main" id="{352F24C5-DA77-F69D-A903-C0CF24788C95}"/>
                </a:ext>
              </a:extLst>
            </p:cNvPr>
            <p:cNvSpPr>
              <a:spLocks/>
            </p:cNvSpPr>
            <p:nvPr/>
          </p:nvSpPr>
          <p:spPr bwMode="auto">
            <a:xfrm>
              <a:off x="5112202"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grpSp>
      <p:sp>
        <p:nvSpPr>
          <p:cNvPr id="155" name="TextBox 154">
            <a:extLst>
              <a:ext uri="{FF2B5EF4-FFF2-40B4-BE49-F238E27FC236}">
                <a16:creationId xmlns:a16="http://schemas.microsoft.com/office/drawing/2014/main" id="{0375C22C-4527-D52D-8FE0-9C52BA701FEA}"/>
              </a:ext>
            </a:extLst>
          </p:cNvPr>
          <p:cNvSpPr txBox="1"/>
          <p:nvPr/>
        </p:nvSpPr>
        <p:spPr>
          <a:xfrm>
            <a:off x="1300687" y="1057365"/>
            <a:ext cx="9590627" cy="246221"/>
          </a:xfrm>
          <a:prstGeom prst="rect">
            <a:avLst/>
          </a:prstGeom>
          <a:noFill/>
        </p:spPr>
        <p:txBody>
          <a:bodyPr wrap="square" lIns="0" tIns="0" rIns="0" bIns="0" rtlCol="0">
            <a:spAutoFit/>
          </a:bodyPr>
          <a:lstStyle/>
          <a:p>
            <a:pPr algn="ctr">
              <a:defRPr/>
            </a:pPr>
            <a:r>
              <a:rPr lang="en-US" sz="1600">
                <a:solidFill>
                  <a:schemeClr val="tx2"/>
                </a:solidFill>
              </a:rPr>
              <a:t>Automate tasks with pre-built agents by Microsoft that are designed for work</a:t>
            </a:r>
          </a:p>
        </p:txBody>
      </p:sp>
      <p:sp>
        <p:nvSpPr>
          <p:cNvPr id="156" name="TextBox 155">
            <a:extLst>
              <a:ext uri="{FF2B5EF4-FFF2-40B4-BE49-F238E27FC236}">
                <a16:creationId xmlns:a16="http://schemas.microsoft.com/office/drawing/2014/main" id="{9010B55E-1A69-E658-5985-C6146606655F}"/>
              </a:ext>
            </a:extLst>
          </p:cNvPr>
          <p:cNvSpPr txBox="1"/>
          <p:nvPr/>
        </p:nvSpPr>
        <p:spPr>
          <a:xfrm>
            <a:off x="844399" y="5981125"/>
            <a:ext cx="10507526" cy="381575"/>
          </a:xfrm>
          <a:prstGeom prst="roundRect">
            <a:avLst>
              <a:gd name="adj" fmla="val 50000"/>
            </a:avLst>
          </a:prstGeom>
          <a:gradFill>
            <a:gsLst>
              <a:gs pos="0">
                <a:srgbClr val="0078D4">
                  <a:alpha val="5000"/>
                </a:srgbClr>
              </a:gs>
              <a:gs pos="100000">
                <a:schemeClr val="accent2">
                  <a:alpha val="5000"/>
                </a:schemeClr>
              </a:gs>
            </a:gsLst>
            <a:lin ang="2700000" scaled="1"/>
          </a:gradFill>
          <a:ln w="19050">
            <a:gradFill flip="none" rotWithShape="1">
              <a:gsLst>
                <a:gs pos="0">
                  <a:srgbClr val="0078D4"/>
                </a:gs>
                <a:gs pos="100000">
                  <a:schemeClr val="accent2"/>
                </a:gs>
              </a:gsLst>
              <a:lin ang="2700000" scaled="1"/>
              <a:tileRect/>
            </a:gradFill>
          </a:ln>
        </p:spPr>
        <p:txBody>
          <a:bodyPr wrap="square" lIns="0" tIns="0" rIns="0" bIns="0" rtlCol="0" anchor="ctr">
            <a:noAutofit/>
          </a:bodyPr>
          <a:lstStyle/>
          <a:p>
            <a:pPr algn="ctr">
              <a:spcAft>
                <a:spcPts val="600"/>
              </a:spcAft>
            </a:pPr>
            <a:r>
              <a:rPr lang="en-US" sz="1400">
                <a:solidFill>
                  <a:schemeClr val="tx2"/>
                </a:solidFill>
              </a:rPr>
              <a:t>Gain agent best practices at our AI Agent Hub </a:t>
            </a:r>
            <a:r>
              <a:rPr lang="en-US" sz="1400">
                <a:solidFill>
                  <a:schemeClr val="accent1"/>
                </a:solidFill>
                <a:hlinkClick r:id="rId5">
                  <a:extLst>
                    <a:ext uri="{A12FA001-AC4F-418D-AE19-62706E023703}">
                      <ahyp:hlinkClr xmlns:ahyp="http://schemas.microsoft.com/office/drawing/2018/hyperlinkcolor" val="tx"/>
                    </a:ext>
                  </a:extLst>
                </a:hlinkClick>
              </a:rPr>
              <a:t>AI agents – Microsoft Adoption</a:t>
            </a:r>
            <a:endParaRPr lang="en-US" sz="1400">
              <a:solidFill>
                <a:schemeClr val="accent1"/>
              </a:solidFill>
            </a:endParaRPr>
          </a:p>
        </p:txBody>
      </p:sp>
      <p:grpSp>
        <p:nvGrpSpPr>
          <p:cNvPr id="157" name="Group 156">
            <a:extLst>
              <a:ext uri="{FF2B5EF4-FFF2-40B4-BE49-F238E27FC236}">
                <a16:creationId xmlns:a16="http://schemas.microsoft.com/office/drawing/2014/main" id="{328C0FB4-1EDB-650F-A00C-5500F32499A8}"/>
              </a:ext>
            </a:extLst>
          </p:cNvPr>
          <p:cNvGrpSpPr/>
          <p:nvPr/>
        </p:nvGrpSpPr>
        <p:grpSpPr>
          <a:xfrm>
            <a:off x="2936168" y="2849440"/>
            <a:ext cx="1828800" cy="1160530"/>
            <a:chOff x="2936168" y="2849440"/>
            <a:chExt cx="1828800" cy="1160530"/>
          </a:xfrm>
        </p:grpSpPr>
        <p:sp>
          <p:nvSpPr>
            <p:cNvPr id="158" name="TextBox 157">
              <a:extLst>
                <a:ext uri="{FF2B5EF4-FFF2-40B4-BE49-F238E27FC236}">
                  <a16:creationId xmlns:a16="http://schemas.microsoft.com/office/drawing/2014/main" id="{966EB55E-7B34-8554-5E2E-B95651A91C83}"/>
                </a:ext>
              </a:extLst>
            </p:cNvPr>
            <p:cNvSpPr txBox="1">
              <a:spLocks/>
            </p:cNvSpPr>
            <p:nvPr/>
          </p:nvSpPr>
          <p:spPr>
            <a:xfrm>
              <a:off x="2936168"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6">
                    <a:extLst>
                      <a:ext uri="{A12FA001-AC4F-418D-AE19-62706E023703}">
                        <ahyp:hlinkClr xmlns:ahyp="http://schemas.microsoft.com/office/drawing/2018/hyperlinkcolor" val="tx"/>
                      </a:ext>
                    </a:extLst>
                  </a:hlinkClick>
                </a:rPr>
                <a:t>Public preview</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159" name="TextBox 158">
              <a:extLst>
                <a:ext uri="{FF2B5EF4-FFF2-40B4-BE49-F238E27FC236}">
                  <a16:creationId xmlns:a16="http://schemas.microsoft.com/office/drawing/2014/main" id="{80203071-28C8-16A6-C7F7-12077303F1B8}"/>
                </a:ext>
              </a:extLst>
            </p:cNvPr>
            <p:cNvSpPr txBox="1">
              <a:spLocks/>
            </p:cNvSpPr>
            <p:nvPr/>
          </p:nvSpPr>
          <p:spPr>
            <a:xfrm>
              <a:off x="3476266" y="3328642"/>
              <a:ext cx="748603"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sz="1400">
                  <a:solidFill>
                    <a:schemeClr val="tx2"/>
                  </a:solidFill>
                  <a:latin typeface="+mj-lt"/>
                  <a:ea typeface="+mj-ea"/>
                  <a:cs typeface="+mj-cs"/>
                </a:rPr>
                <a:t>Channels</a:t>
              </a:r>
              <a:endParaRPr kumimoji="0" lang="en-US" sz="1400" i="0" strike="noStrike" kern="1200" cap="none" spc="0" normalizeH="0" baseline="0" noProof="0">
                <a:ln>
                  <a:noFill/>
                </a:ln>
                <a:solidFill>
                  <a:schemeClr val="tx2"/>
                </a:solidFill>
                <a:effectLst/>
                <a:uLnTx/>
                <a:uFillTx/>
                <a:latin typeface="+mj-lt"/>
                <a:ea typeface="+mj-ea"/>
                <a:cs typeface="+mj-cs"/>
              </a:endParaRPr>
            </a:p>
          </p:txBody>
        </p:sp>
        <p:sp>
          <p:nvSpPr>
            <p:cNvPr id="160" name="TextBox 159">
              <a:extLst>
                <a:ext uri="{FF2B5EF4-FFF2-40B4-BE49-F238E27FC236}">
                  <a16:creationId xmlns:a16="http://schemas.microsoft.com/office/drawing/2014/main" id="{12E05B07-FEB5-BCA8-3ED6-BDB02582498B}"/>
                </a:ext>
              </a:extLst>
            </p:cNvPr>
            <p:cNvSpPr txBox="1"/>
            <p:nvPr/>
          </p:nvSpPr>
          <p:spPr>
            <a:xfrm>
              <a:off x="2936168"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AI teammate</a:t>
              </a:r>
            </a:p>
          </p:txBody>
        </p:sp>
        <p:pic>
          <p:nvPicPr>
            <p:cNvPr id="161" name="Picture 160">
              <a:extLst>
                <a:ext uri="{FF2B5EF4-FFF2-40B4-BE49-F238E27FC236}">
                  <a16:creationId xmlns:a16="http://schemas.microsoft.com/office/drawing/2014/main" id="{E0769D90-BE59-9B6A-91FA-ADADDC7A468F}"/>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3544124" y="2849440"/>
              <a:ext cx="612888" cy="612888"/>
            </a:xfrm>
            <a:prstGeom prst="rect">
              <a:avLst/>
            </a:prstGeom>
          </p:spPr>
        </p:pic>
      </p:grpSp>
      <p:grpSp>
        <p:nvGrpSpPr>
          <p:cNvPr id="162" name="Group 161">
            <a:extLst>
              <a:ext uri="{FF2B5EF4-FFF2-40B4-BE49-F238E27FC236}">
                <a16:creationId xmlns:a16="http://schemas.microsoft.com/office/drawing/2014/main" id="{AD45BC37-54A8-4D85-58A6-54D3B7DEC040}"/>
              </a:ext>
            </a:extLst>
          </p:cNvPr>
          <p:cNvGrpSpPr/>
          <p:nvPr/>
        </p:nvGrpSpPr>
        <p:grpSpPr>
          <a:xfrm>
            <a:off x="2936168" y="1523949"/>
            <a:ext cx="1828800" cy="1085092"/>
            <a:chOff x="2936168" y="1523949"/>
            <a:chExt cx="1828800" cy="1085092"/>
          </a:xfrm>
        </p:grpSpPr>
        <p:sp>
          <p:nvSpPr>
            <p:cNvPr id="163" name="TextBox 162">
              <a:extLst>
                <a:ext uri="{FF2B5EF4-FFF2-40B4-BE49-F238E27FC236}">
                  <a16:creationId xmlns:a16="http://schemas.microsoft.com/office/drawing/2014/main" id="{668836A1-1B3E-97DF-F85E-5011D5479DA0}"/>
                </a:ext>
              </a:extLst>
            </p:cNvPr>
            <p:cNvSpPr txBox="1">
              <a:spLocks/>
            </p:cNvSpPr>
            <p:nvPr/>
          </p:nvSpPr>
          <p:spPr>
            <a:xfrm>
              <a:off x="2936168" y="192340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i="0" u="none" strike="noStrike" kern="1200" cap="none" spc="0" normalizeH="0" baseline="0" noProof="0">
                  <a:ln>
                    <a:noFill/>
                  </a:ln>
                  <a:solidFill>
                    <a:schemeClr val="tx2"/>
                  </a:solidFill>
                  <a:effectLst/>
                  <a:uLnTx/>
                  <a:uFillTx/>
                  <a:latin typeface="+mj-lt"/>
                  <a:ea typeface="+mj-ea"/>
                  <a:cs typeface="+mj-cs"/>
                </a:rPr>
                <a:t>Analyst</a:t>
              </a:r>
            </a:p>
          </p:txBody>
        </p:sp>
        <p:pic>
          <p:nvPicPr>
            <p:cNvPr id="164" name="Picture 163">
              <a:extLst>
                <a:ext uri="{FF2B5EF4-FFF2-40B4-BE49-F238E27FC236}">
                  <a16:creationId xmlns:a16="http://schemas.microsoft.com/office/drawing/2014/main" id="{00C39132-4647-7086-2CBE-0E4CC91A561E}"/>
                </a:ext>
                <a:ext uri="{C183D7F6-B498-43B3-948B-1728B52AA6E4}">
                  <adec:decorative xmlns:adec="http://schemas.microsoft.com/office/drawing/2017/decorative" val="1"/>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3685976" y="1523949"/>
              <a:ext cx="329184" cy="329184"/>
            </a:xfrm>
            <a:prstGeom prst="rect">
              <a:avLst/>
            </a:prstGeom>
          </p:spPr>
        </p:pic>
        <p:sp>
          <p:nvSpPr>
            <p:cNvPr id="165" name="TextBox 164">
              <a:extLst>
                <a:ext uri="{FF2B5EF4-FFF2-40B4-BE49-F238E27FC236}">
                  <a16:creationId xmlns:a16="http://schemas.microsoft.com/office/drawing/2014/main" id="{64693868-688A-2B6F-080F-B15C5DB2BB91}"/>
                </a:ext>
              </a:extLst>
            </p:cNvPr>
            <p:cNvSpPr txBox="1"/>
            <p:nvPr/>
          </p:nvSpPr>
          <p:spPr>
            <a:xfrm>
              <a:off x="2936168"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Advanced reasoning</a:t>
              </a:r>
            </a:p>
          </p:txBody>
        </p:sp>
        <p:sp>
          <p:nvSpPr>
            <p:cNvPr id="166" name="TextBox 165">
              <a:extLst>
                <a:ext uri="{FF2B5EF4-FFF2-40B4-BE49-F238E27FC236}">
                  <a16:creationId xmlns:a16="http://schemas.microsoft.com/office/drawing/2014/main" id="{4DAE20BD-DA7F-5FDF-2E45-A42972F3BAF8}"/>
                </a:ext>
              </a:extLst>
            </p:cNvPr>
            <p:cNvSpPr txBox="1">
              <a:spLocks/>
            </p:cNvSpPr>
            <p:nvPr/>
          </p:nvSpPr>
          <p:spPr>
            <a:xfrm>
              <a:off x="2936168"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9">
                    <a:extLst>
                      <a:ext uri="{A12FA001-AC4F-418D-AE19-62706E023703}">
                        <ahyp:hlinkClr xmlns:ahyp="http://schemas.microsoft.com/office/drawing/2018/hyperlinkcolor" val="tx"/>
                      </a:ext>
                    </a:extLst>
                  </a:hlinkClick>
                </a:rPr>
                <a:t>Generally available</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167" name="Group 166">
            <a:extLst>
              <a:ext uri="{FF2B5EF4-FFF2-40B4-BE49-F238E27FC236}">
                <a16:creationId xmlns:a16="http://schemas.microsoft.com/office/drawing/2014/main" id="{C309F7D8-9D28-5E89-0A22-4D297C0B96A6}"/>
              </a:ext>
            </a:extLst>
          </p:cNvPr>
          <p:cNvGrpSpPr/>
          <p:nvPr/>
        </p:nvGrpSpPr>
        <p:grpSpPr>
          <a:xfrm>
            <a:off x="2936168" y="4395153"/>
            <a:ext cx="1828800" cy="1214804"/>
            <a:chOff x="2936168" y="4395153"/>
            <a:chExt cx="1828800" cy="1214804"/>
          </a:xfrm>
        </p:grpSpPr>
        <p:pic>
          <p:nvPicPr>
            <p:cNvPr id="168" name="Picture 167" descr="A green and white logo&#10;&#10;AI-generated content may be incorrect.">
              <a:extLst>
                <a:ext uri="{FF2B5EF4-FFF2-40B4-BE49-F238E27FC236}">
                  <a16:creationId xmlns:a16="http://schemas.microsoft.com/office/drawing/2014/main" id="{722408D7-C038-D546-CA4C-E5DFD22887AC}"/>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3704264" y="4395153"/>
              <a:ext cx="292608" cy="292608"/>
            </a:xfrm>
            <a:prstGeom prst="rect">
              <a:avLst/>
            </a:prstGeom>
          </p:spPr>
        </p:pic>
        <p:sp>
          <p:nvSpPr>
            <p:cNvPr id="169" name="TextBox 168">
              <a:extLst>
                <a:ext uri="{FF2B5EF4-FFF2-40B4-BE49-F238E27FC236}">
                  <a16:creationId xmlns:a16="http://schemas.microsoft.com/office/drawing/2014/main" id="{B0B43061-0FDA-063D-D67F-7F414727FD09}"/>
                </a:ext>
              </a:extLst>
            </p:cNvPr>
            <p:cNvSpPr txBox="1">
              <a:spLocks/>
            </p:cNvSpPr>
            <p:nvPr/>
          </p:nvSpPr>
          <p:spPr>
            <a:xfrm>
              <a:off x="2936168" y="477965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i="0" strike="noStrike" kern="1200" cap="none" spc="0" normalizeH="0" baseline="0" noProof="0">
                  <a:ln>
                    <a:noFill/>
                  </a:ln>
                  <a:solidFill>
                    <a:schemeClr val="tx2"/>
                  </a:solidFill>
                  <a:effectLst/>
                  <a:uLnTx/>
                  <a:uFillTx/>
                  <a:latin typeface="+mj-lt"/>
                  <a:ea typeface="+mj-ea"/>
                  <a:cs typeface="+mj-cs"/>
                </a:rPr>
                <a:t>Excel</a:t>
              </a:r>
            </a:p>
          </p:txBody>
        </p:sp>
        <p:sp>
          <p:nvSpPr>
            <p:cNvPr id="170" name="TextBox 169">
              <a:extLst>
                <a:ext uri="{FF2B5EF4-FFF2-40B4-BE49-F238E27FC236}">
                  <a16:creationId xmlns:a16="http://schemas.microsoft.com/office/drawing/2014/main" id="{CE926E78-A9C8-478E-3A34-46F76CC13AC9}"/>
                </a:ext>
              </a:extLst>
            </p:cNvPr>
            <p:cNvSpPr txBox="1"/>
            <p:nvPr/>
          </p:nvSpPr>
          <p:spPr>
            <a:xfrm>
              <a:off x="2936168"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solidFill>
                    <a:schemeClr val="tx2"/>
                  </a:solidFill>
                </a:rPr>
                <a:t>Data visualizations</a:t>
              </a:r>
              <a:br>
                <a:rPr lang="en-US" sz="1050">
                  <a:solidFill>
                    <a:schemeClr val="tx2"/>
                  </a:solidFill>
                </a:rPr>
              </a:br>
              <a:r>
                <a:rPr lang="en-US" sz="1050">
                  <a:solidFill>
                    <a:schemeClr val="tx2"/>
                  </a:solidFill>
                </a:rPr>
                <a:t>and insights</a:t>
              </a:r>
              <a:endParaRPr kumimoji="0" lang="en-US" sz="1050" b="0" i="0" u="none" strike="noStrike" kern="1200" cap="none" spc="0" normalizeH="0" baseline="0" noProof="0">
                <a:ln>
                  <a:noFill/>
                </a:ln>
                <a:solidFill>
                  <a:schemeClr val="tx2"/>
                </a:solidFill>
                <a:effectLst/>
                <a:uLnTx/>
                <a:uFillTx/>
              </a:endParaRPr>
            </a:p>
          </p:txBody>
        </p:sp>
        <p:sp>
          <p:nvSpPr>
            <p:cNvPr id="171" name="TextBox 170">
              <a:extLst>
                <a:ext uri="{FF2B5EF4-FFF2-40B4-BE49-F238E27FC236}">
                  <a16:creationId xmlns:a16="http://schemas.microsoft.com/office/drawing/2014/main" id="{E3C31775-95A0-2400-337C-77EC7333F8E9}"/>
                </a:ext>
              </a:extLst>
            </p:cNvPr>
            <p:cNvSpPr txBox="1">
              <a:spLocks/>
            </p:cNvSpPr>
            <p:nvPr/>
          </p:nvSpPr>
          <p:spPr>
            <a:xfrm>
              <a:off x="2936168" y="5440680"/>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1">
                    <a:extLst>
                      <a:ext uri="{A12FA001-AC4F-418D-AE19-62706E023703}">
                        <ahyp:hlinkClr xmlns:ahyp="http://schemas.microsoft.com/office/drawing/2018/hyperlinkcolor" val="tx"/>
                      </a:ext>
                    </a:extLst>
                  </a:hlinkClick>
                </a:rPr>
                <a:t>Frontier Program</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172" name="Group 171">
            <a:extLst>
              <a:ext uri="{FF2B5EF4-FFF2-40B4-BE49-F238E27FC236}">
                <a16:creationId xmlns:a16="http://schemas.microsoft.com/office/drawing/2014/main" id="{9966426B-AFAB-E58B-DC18-6CE08693463F}"/>
              </a:ext>
            </a:extLst>
          </p:cNvPr>
          <p:cNvGrpSpPr/>
          <p:nvPr/>
        </p:nvGrpSpPr>
        <p:grpSpPr>
          <a:xfrm>
            <a:off x="5181600" y="1527048"/>
            <a:ext cx="1828800" cy="1081993"/>
            <a:chOff x="5181600" y="1527048"/>
            <a:chExt cx="1828800" cy="1081993"/>
          </a:xfrm>
        </p:grpSpPr>
        <p:sp>
          <p:nvSpPr>
            <p:cNvPr id="173" name="TextBox 172">
              <a:extLst>
                <a:ext uri="{FF2B5EF4-FFF2-40B4-BE49-F238E27FC236}">
                  <a16:creationId xmlns:a16="http://schemas.microsoft.com/office/drawing/2014/main" id="{711B83CE-628B-53AA-C6D5-94D604D546EA}"/>
                </a:ext>
              </a:extLst>
            </p:cNvPr>
            <p:cNvSpPr txBox="1">
              <a:spLocks/>
            </p:cNvSpPr>
            <p:nvPr/>
          </p:nvSpPr>
          <p:spPr>
            <a:xfrm>
              <a:off x="5772193" y="1923401"/>
              <a:ext cx="647613"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sz="1400">
                  <a:solidFill>
                    <a:schemeClr val="tx2"/>
                  </a:solidFill>
                  <a:latin typeface="+mj-lt"/>
                  <a:ea typeface="+mj-ea"/>
                  <a:cs typeface="+mj-cs"/>
                </a:rPr>
                <a:t>Surveys</a:t>
              </a:r>
              <a:endParaRPr kumimoji="0" lang="en-US" sz="1400" i="0" strike="noStrike" kern="1200" cap="none" spc="0" normalizeH="0" baseline="0" noProof="0">
                <a:ln>
                  <a:noFill/>
                </a:ln>
                <a:solidFill>
                  <a:schemeClr val="tx2"/>
                </a:solidFill>
                <a:effectLst/>
                <a:uLnTx/>
                <a:uFillTx/>
                <a:latin typeface="+mj-lt"/>
                <a:ea typeface="+mj-ea"/>
                <a:cs typeface="+mj-cs"/>
              </a:endParaRPr>
            </a:p>
          </p:txBody>
        </p:sp>
        <p:sp>
          <p:nvSpPr>
            <p:cNvPr id="174" name="TextBox 173">
              <a:extLst>
                <a:ext uri="{FF2B5EF4-FFF2-40B4-BE49-F238E27FC236}">
                  <a16:creationId xmlns:a16="http://schemas.microsoft.com/office/drawing/2014/main" id="{6A88E4F9-E200-6EBA-892A-E62B14F58ABB}"/>
                </a:ext>
              </a:extLst>
            </p:cNvPr>
            <p:cNvSpPr txBox="1"/>
            <p:nvPr/>
          </p:nvSpPr>
          <p:spPr>
            <a:xfrm>
              <a:off x="5181600"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End-to-end survey mgmt.</a:t>
              </a:r>
            </a:p>
          </p:txBody>
        </p:sp>
        <p:pic>
          <p:nvPicPr>
            <p:cNvPr id="175" name="Picture 174" descr="A rainbow colored logo on a black background&#10;&#10;AI-generated content may be incorrect.">
              <a:extLst>
                <a:ext uri="{FF2B5EF4-FFF2-40B4-BE49-F238E27FC236}">
                  <a16:creationId xmlns:a16="http://schemas.microsoft.com/office/drawing/2014/main" id="{BD351A72-959A-F856-2818-1B7E2EDB8C9B}"/>
                </a:ext>
                <a:ext uri="{C183D7F6-B498-43B3-948B-1728B52AA6E4}">
                  <adec:decorative xmlns:adec="http://schemas.microsoft.com/office/drawing/2017/decorative" val="0"/>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931408" y="1527048"/>
              <a:ext cx="329184" cy="329184"/>
            </a:xfrm>
            <a:prstGeom prst="rect">
              <a:avLst/>
            </a:prstGeom>
          </p:spPr>
        </p:pic>
        <p:sp>
          <p:nvSpPr>
            <p:cNvPr id="176" name="TextBox 175">
              <a:extLst>
                <a:ext uri="{FF2B5EF4-FFF2-40B4-BE49-F238E27FC236}">
                  <a16:creationId xmlns:a16="http://schemas.microsoft.com/office/drawing/2014/main" id="{48D55167-4C3E-4793-FD42-5BC36F7B534D}"/>
                </a:ext>
              </a:extLst>
            </p:cNvPr>
            <p:cNvSpPr txBox="1">
              <a:spLocks/>
            </p:cNvSpPr>
            <p:nvPr/>
          </p:nvSpPr>
          <p:spPr>
            <a:xfrm>
              <a:off x="5181600" y="2439764"/>
              <a:ext cx="1828800" cy="169277"/>
            </a:xfrm>
            <a:prstGeom prst="rect">
              <a:avLst/>
            </a:prstGeom>
            <a:noFill/>
          </p:spPr>
          <p:txBody>
            <a:bodyPr wrap="square" lIns="0" tIns="0" rIns="0" bIns="0" anchor="ctr">
              <a:spAutoFit/>
            </a:bodyPr>
            <a:lstStyle/>
            <a:p>
              <a:pPr algn="ctr">
                <a:defRPr/>
              </a:pPr>
              <a:r>
                <a:rPr lang="en-US" sz="1100">
                  <a:solidFill>
                    <a:schemeClr val="accent1"/>
                  </a:solidFill>
                  <a:ea typeface="+mj-ea"/>
                  <a:cs typeface="+mj-cs"/>
                  <a:hlinkClick r:id="rId12">
                    <a:extLst>
                      <a:ext uri="{A12FA001-AC4F-418D-AE19-62706E023703}">
                        <ahyp:hlinkClr xmlns:ahyp="http://schemas.microsoft.com/office/drawing/2018/hyperlinkcolor" val="tx"/>
                      </a:ext>
                    </a:extLst>
                  </a:hlinkClick>
                </a:rPr>
                <a:t>Generally Available</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177" name="Group 176">
            <a:extLst>
              <a:ext uri="{FF2B5EF4-FFF2-40B4-BE49-F238E27FC236}">
                <a16:creationId xmlns:a16="http://schemas.microsoft.com/office/drawing/2014/main" id="{393830C0-C736-69C3-107C-0759D5A7DD67}"/>
              </a:ext>
            </a:extLst>
          </p:cNvPr>
          <p:cNvGrpSpPr/>
          <p:nvPr/>
        </p:nvGrpSpPr>
        <p:grpSpPr>
          <a:xfrm>
            <a:off x="5181600" y="4395153"/>
            <a:ext cx="1828800" cy="1214804"/>
            <a:chOff x="5181600" y="4395153"/>
            <a:chExt cx="1828800" cy="1214804"/>
          </a:xfrm>
        </p:grpSpPr>
        <p:pic>
          <p:nvPicPr>
            <p:cNvPr id="178" name="Picture 177" descr="A logo with a letter p&#10;&#10;AI-generated content may be incorrect.">
              <a:extLst>
                <a:ext uri="{FF2B5EF4-FFF2-40B4-BE49-F238E27FC236}">
                  <a16:creationId xmlns:a16="http://schemas.microsoft.com/office/drawing/2014/main" id="{17952E2F-5714-1A5F-11F9-08CB656D0C17}"/>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5949696" y="4395153"/>
              <a:ext cx="292608" cy="292608"/>
            </a:xfrm>
            <a:prstGeom prst="rect">
              <a:avLst/>
            </a:prstGeom>
          </p:spPr>
        </p:pic>
        <p:sp>
          <p:nvSpPr>
            <p:cNvPr id="179" name="TextBox 178">
              <a:extLst>
                <a:ext uri="{FF2B5EF4-FFF2-40B4-BE49-F238E27FC236}">
                  <a16:creationId xmlns:a16="http://schemas.microsoft.com/office/drawing/2014/main" id="{1E740E02-54BD-979E-413A-56DD77FD65E4}"/>
                </a:ext>
              </a:extLst>
            </p:cNvPr>
            <p:cNvSpPr txBox="1">
              <a:spLocks/>
            </p:cNvSpPr>
            <p:nvPr/>
          </p:nvSpPr>
          <p:spPr>
            <a:xfrm>
              <a:off x="5626833" y="4779651"/>
              <a:ext cx="938334" cy="215893"/>
            </a:xfrm>
            <a:prstGeom prst="rect">
              <a:avLst/>
            </a:prstGeom>
            <a:noFill/>
          </p:spPr>
          <p:txBody>
            <a:bodyPr wrap="none" lIns="0" tIns="0" rIns="0" bIns="0" rtlCol="0" anchor="ctr">
              <a:spAutoFit/>
            </a:bodyPr>
            <a:lstStyle/>
            <a:p>
              <a:pPr algn="ctr">
                <a:lnSpc>
                  <a:spcPct val="110000"/>
                </a:lnSpc>
                <a:defRPr/>
              </a:pPr>
              <a:r>
                <a:rPr lang="en-US" sz="1400">
                  <a:solidFill>
                    <a:schemeClr val="tx2"/>
                  </a:solidFill>
                  <a:latin typeface="+mj-lt"/>
                  <a:ea typeface="+mj-ea"/>
                  <a:cs typeface="+mj-cs"/>
                </a:rPr>
                <a:t>PowerPoint</a:t>
              </a:r>
            </a:p>
          </p:txBody>
        </p:sp>
        <p:sp>
          <p:nvSpPr>
            <p:cNvPr id="180" name="TextBox 179">
              <a:extLst>
                <a:ext uri="{FF2B5EF4-FFF2-40B4-BE49-F238E27FC236}">
                  <a16:creationId xmlns:a16="http://schemas.microsoft.com/office/drawing/2014/main" id="{66CC2A96-87E3-5797-5E82-FCBE121231CD}"/>
                </a:ext>
              </a:extLst>
            </p:cNvPr>
            <p:cNvSpPr txBox="1"/>
            <p:nvPr/>
          </p:nvSpPr>
          <p:spPr>
            <a:xfrm>
              <a:off x="5181600"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Build and iterate on presentations</a:t>
              </a:r>
            </a:p>
          </p:txBody>
        </p:sp>
        <p:sp>
          <p:nvSpPr>
            <p:cNvPr id="181" name="TextBox 180">
              <a:extLst>
                <a:ext uri="{FF2B5EF4-FFF2-40B4-BE49-F238E27FC236}">
                  <a16:creationId xmlns:a16="http://schemas.microsoft.com/office/drawing/2014/main" id="{AFF48B74-CE4A-9301-14D4-751D7376BBAF}"/>
                </a:ext>
              </a:extLst>
            </p:cNvPr>
            <p:cNvSpPr txBox="1">
              <a:spLocks/>
            </p:cNvSpPr>
            <p:nvPr/>
          </p:nvSpPr>
          <p:spPr>
            <a:xfrm>
              <a:off x="5181600" y="5440680"/>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1">
                    <a:extLst>
                      <a:ext uri="{A12FA001-AC4F-418D-AE19-62706E023703}">
                        <ahyp:hlinkClr xmlns:ahyp="http://schemas.microsoft.com/office/drawing/2018/hyperlinkcolor" val="tx"/>
                      </a:ext>
                    </a:extLst>
                  </a:hlinkClick>
                </a:rPr>
                <a:t>Frontier Program</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182" name="Group 181">
            <a:extLst>
              <a:ext uri="{FF2B5EF4-FFF2-40B4-BE49-F238E27FC236}">
                <a16:creationId xmlns:a16="http://schemas.microsoft.com/office/drawing/2014/main" id="{EF25A64A-77B3-E087-EFFF-33C7DFF55450}"/>
              </a:ext>
            </a:extLst>
          </p:cNvPr>
          <p:cNvGrpSpPr/>
          <p:nvPr/>
        </p:nvGrpSpPr>
        <p:grpSpPr>
          <a:xfrm>
            <a:off x="5181600" y="2969737"/>
            <a:ext cx="1828800" cy="1040233"/>
            <a:chOff x="5181600" y="2969737"/>
            <a:chExt cx="1828800" cy="1040233"/>
          </a:xfrm>
        </p:grpSpPr>
        <p:pic>
          <p:nvPicPr>
            <p:cNvPr id="183" name="Picture 182">
              <a:extLst>
                <a:ext uri="{FF2B5EF4-FFF2-40B4-BE49-F238E27FC236}">
                  <a16:creationId xmlns:a16="http://schemas.microsoft.com/office/drawing/2014/main" id="{183A5EDD-444D-BDCE-A31A-CE16A14817EA}"/>
                </a:ext>
                <a:ext uri="{C183D7F6-B498-43B3-948B-1728B52AA6E4}">
                  <adec:decorative xmlns:adec="http://schemas.microsoft.com/office/drawing/2017/decorative" val="1"/>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5935980" y="2969737"/>
              <a:ext cx="320040" cy="320040"/>
            </a:xfrm>
            <a:prstGeom prst="rect">
              <a:avLst/>
            </a:prstGeom>
          </p:spPr>
        </p:pic>
        <p:sp>
          <p:nvSpPr>
            <p:cNvPr id="184" name="TextBox 183">
              <a:extLst>
                <a:ext uri="{FF2B5EF4-FFF2-40B4-BE49-F238E27FC236}">
                  <a16:creationId xmlns:a16="http://schemas.microsoft.com/office/drawing/2014/main" id="{A19FC5B6-D9DD-01E1-EE68-DBA9997D6EC2}"/>
                </a:ext>
              </a:extLst>
            </p:cNvPr>
            <p:cNvSpPr txBox="1"/>
            <p:nvPr/>
          </p:nvSpPr>
          <p:spPr>
            <a:xfrm>
              <a:off x="5181600"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Automate project mgmt.</a:t>
              </a:r>
            </a:p>
          </p:txBody>
        </p:sp>
        <p:sp>
          <p:nvSpPr>
            <p:cNvPr id="185" name="TextBox 184">
              <a:extLst>
                <a:ext uri="{FF2B5EF4-FFF2-40B4-BE49-F238E27FC236}">
                  <a16:creationId xmlns:a16="http://schemas.microsoft.com/office/drawing/2014/main" id="{EDC71974-7C6A-4414-A2A6-7E182B8A3F17}"/>
                </a:ext>
              </a:extLst>
            </p:cNvPr>
            <p:cNvSpPr txBox="1">
              <a:spLocks/>
            </p:cNvSpPr>
            <p:nvPr/>
          </p:nvSpPr>
          <p:spPr>
            <a:xfrm>
              <a:off x="5181600"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5">
                    <a:extLst>
                      <a:ext uri="{A12FA001-AC4F-418D-AE19-62706E023703}">
                        <ahyp:hlinkClr xmlns:ahyp="http://schemas.microsoft.com/office/drawing/2018/hyperlinkcolor" val="tx"/>
                      </a:ext>
                    </a:extLst>
                  </a:hlinkClick>
                </a:rPr>
                <a:t>Public preview</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186" name="TextBox 185">
              <a:extLst>
                <a:ext uri="{FF2B5EF4-FFF2-40B4-BE49-F238E27FC236}">
                  <a16:creationId xmlns:a16="http://schemas.microsoft.com/office/drawing/2014/main" id="{DF6734C9-6248-CBAF-E22D-491884988E22}"/>
                </a:ext>
              </a:extLst>
            </p:cNvPr>
            <p:cNvSpPr txBox="1">
              <a:spLocks/>
            </p:cNvSpPr>
            <p:nvPr/>
          </p:nvSpPr>
          <p:spPr>
            <a:xfrm>
              <a:off x="5421937" y="3328642"/>
              <a:ext cx="1348125" cy="221023"/>
            </a:xfrm>
            <a:prstGeom prst="rect">
              <a:avLst/>
            </a:prstGeom>
            <a:noFill/>
          </p:spPr>
          <p:txBody>
            <a:bodyPr wrap="none" lIns="0" tIns="0" rIns="0" bIns="0" rtlCol="0" anchor="ctr">
              <a:spAutoFit/>
            </a:bodyPr>
            <a:lstStyle/>
            <a:p>
              <a:pPr algn="ctr">
                <a:lnSpc>
                  <a:spcPct val="110000"/>
                </a:lnSpc>
                <a:defRPr/>
              </a:pPr>
              <a:r>
                <a:rPr lang="en-US" sz="1400">
                  <a:solidFill>
                    <a:schemeClr val="tx2"/>
                  </a:solidFill>
                  <a:latin typeface="+mj-lt"/>
                  <a:ea typeface="+mj-ea"/>
                  <a:cs typeface="+mj-cs"/>
                </a:rPr>
                <a:t>Project Manager</a:t>
              </a:r>
            </a:p>
          </p:txBody>
        </p:sp>
      </p:grpSp>
      <p:grpSp>
        <p:nvGrpSpPr>
          <p:cNvPr id="187" name="Group 186">
            <a:extLst>
              <a:ext uri="{FF2B5EF4-FFF2-40B4-BE49-F238E27FC236}">
                <a16:creationId xmlns:a16="http://schemas.microsoft.com/office/drawing/2014/main" id="{D5CB2954-1462-5AC8-4B28-83F66A8A0473}"/>
              </a:ext>
            </a:extLst>
          </p:cNvPr>
          <p:cNvGrpSpPr/>
          <p:nvPr/>
        </p:nvGrpSpPr>
        <p:grpSpPr>
          <a:xfrm>
            <a:off x="690734" y="2935629"/>
            <a:ext cx="1828800" cy="1074341"/>
            <a:chOff x="690734" y="2935629"/>
            <a:chExt cx="1828800" cy="1074341"/>
          </a:xfrm>
        </p:grpSpPr>
        <p:sp>
          <p:nvSpPr>
            <p:cNvPr id="188" name="TextBox 187">
              <a:extLst>
                <a:ext uri="{FF2B5EF4-FFF2-40B4-BE49-F238E27FC236}">
                  <a16:creationId xmlns:a16="http://schemas.microsoft.com/office/drawing/2014/main" id="{7CB48622-5B77-0A9D-1290-839A3A69737C}"/>
                </a:ext>
              </a:extLst>
            </p:cNvPr>
            <p:cNvSpPr txBox="1">
              <a:spLocks/>
            </p:cNvSpPr>
            <p:nvPr/>
          </p:nvSpPr>
          <p:spPr>
            <a:xfrm>
              <a:off x="1149881" y="3328642"/>
              <a:ext cx="910506" cy="21589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sz="1400">
                  <a:solidFill>
                    <a:schemeClr val="tx2"/>
                  </a:solidFill>
                  <a:latin typeface="+mj-lt"/>
                  <a:ea typeface="+mj-ea"/>
                  <a:cs typeface="+mj-cs"/>
                </a:rPr>
                <a:t>Knowledge</a:t>
              </a:r>
              <a:endParaRPr kumimoji="0" lang="en-US" sz="1400" i="0" strike="noStrike" kern="1200" cap="none" spc="0" normalizeH="0" baseline="0" noProof="0">
                <a:ln>
                  <a:noFill/>
                </a:ln>
                <a:solidFill>
                  <a:schemeClr val="tx2"/>
                </a:solidFill>
                <a:effectLst/>
                <a:uLnTx/>
                <a:uFillTx/>
                <a:latin typeface="+mj-lt"/>
                <a:ea typeface="+mj-ea"/>
                <a:cs typeface="+mj-cs"/>
              </a:endParaRPr>
            </a:p>
          </p:txBody>
        </p:sp>
        <p:sp>
          <p:nvSpPr>
            <p:cNvPr id="189" name="TextBox 188">
              <a:extLst>
                <a:ext uri="{FF2B5EF4-FFF2-40B4-BE49-F238E27FC236}">
                  <a16:creationId xmlns:a16="http://schemas.microsoft.com/office/drawing/2014/main" id="{5561FC71-8603-A033-953F-7C236C00AA61}"/>
                </a:ext>
              </a:extLst>
            </p:cNvPr>
            <p:cNvSpPr txBox="1">
              <a:spLocks/>
            </p:cNvSpPr>
            <p:nvPr/>
          </p:nvSpPr>
          <p:spPr>
            <a:xfrm>
              <a:off x="690734"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6">
                    <a:extLst>
                      <a:ext uri="{A12FA001-AC4F-418D-AE19-62706E023703}">
                        <ahyp:hlinkClr xmlns:ahyp="http://schemas.microsoft.com/office/drawing/2018/hyperlinkcolor" val="tx"/>
                      </a:ext>
                    </a:extLst>
                  </a:hlinkClick>
                </a:rPr>
                <a:t>Public preview</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190" name="TextBox 189">
              <a:extLst>
                <a:ext uri="{FF2B5EF4-FFF2-40B4-BE49-F238E27FC236}">
                  <a16:creationId xmlns:a16="http://schemas.microsoft.com/office/drawing/2014/main" id="{0DA76D48-E62F-7F0E-FC40-890D5B8A3C6B}"/>
                </a:ext>
              </a:extLst>
            </p:cNvPr>
            <p:cNvSpPr txBox="1"/>
            <p:nvPr/>
          </p:nvSpPr>
          <p:spPr>
            <a:xfrm>
              <a:off x="690734"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Content mgmt. </a:t>
              </a:r>
              <a:r>
                <a:rPr lang="en-US" sz="1050">
                  <a:solidFill>
                    <a:schemeClr val="tx2"/>
                  </a:solidFill>
                </a:rPr>
                <a:t>&amp; organization</a:t>
              </a:r>
              <a:endParaRPr kumimoji="0" lang="en-US" sz="1050" b="0" i="0" u="none" strike="noStrike" kern="1200" cap="none" spc="0" normalizeH="0" baseline="0" noProof="0">
                <a:ln>
                  <a:noFill/>
                </a:ln>
                <a:solidFill>
                  <a:schemeClr val="tx2"/>
                </a:solidFill>
                <a:effectLst/>
                <a:uLnTx/>
                <a:uFillTx/>
              </a:endParaRPr>
            </a:p>
          </p:txBody>
        </p:sp>
        <p:pic>
          <p:nvPicPr>
            <p:cNvPr id="191" name="Picture 10" descr="Download Microsoft SharePoint Logo in SVG Vector or PNG File Format - Logo.wine">
              <a:extLst>
                <a:ext uri="{FF2B5EF4-FFF2-40B4-BE49-F238E27FC236}">
                  <a16:creationId xmlns:a16="http://schemas.microsoft.com/office/drawing/2014/main" id="{9387A4B2-0175-AD3F-0FA8-BD50480C09B9}"/>
                </a:ext>
              </a:extLst>
            </p:cNvPr>
            <p:cNvPicPr>
              <a:picLocks noChangeAspect="1" noChangeArrowheads="1"/>
            </p:cNvPicPr>
            <p:nvPr/>
          </p:nvPicPr>
          <p:blipFill>
            <a:blip r:embed="rId17" cstate="hqprint">
              <a:extLst>
                <a:ext uri="{28A0092B-C50C-407E-A947-70E740481C1C}">
                  <a14:useLocalDpi xmlns:a14="http://schemas.microsoft.com/office/drawing/2010/main"/>
                </a:ext>
              </a:extLst>
            </a:blip>
            <a:srcRect/>
            <a:stretch>
              <a:fillRect/>
            </a:stretch>
          </p:blipFill>
          <p:spPr bwMode="auto">
            <a:xfrm>
              <a:off x="1285094" y="2935629"/>
              <a:ext cx="640080" cy="4267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2" name="Group 191">
            <a:extLst>
              <a:ext uri="{FF2B5EF4-FFF2-40B4-BE49-F238E27FC236}">
                <a16:creationId xmlns:a16="http://schemas.microsoft.com/office/drawing/2014/main" id="{234B8F6B-DFD8-930D-D8DA-70A65AC116BE}"/>
              </a:ext>
            </a:extLst>
          </p:cNvPr>
          <p:cNvGrpSpPr/>
          <p:nvPr/>
        </p:nvGrpSpPr>
        <p:grpSpPr>
          <a:xfrm>
            <a:off x="690734" y="1527048"/>
            <a:ext cx="1828800" cy="1081993"/>
            <a:chOff x="690734" y="1527048"/>
            <a:chExt cx="1828800" cy="1081993"/>
          </a:xfrm>
        </p:grpSpPr>
        <p:sp>
          <p:nvSpPr>
            <p:cNvPr id="193" name="TextBox 192">
              <a:extLst>
                <a:ext uri="{FF2B5EF4-FFF2-40B4-BE49-F238E27FC236}">
                  <a16:creationId xmlns:a16="http://schemas.microsoft.com/office/drawing/2014/main" id="{C0FC7914-3D58-BD4E-8D01-4A5FF220C5B8}"/>
                </a:ext>
              </a:extLst>
            </p:cNvPr>
            <p:cNvSpPr txBox="1">
              <a:spLocks/>
            </p:cNvSpPr>
            <p:nvPr/>
          </p:nvSpPr>
          <p:spPr>
            <a:xfrm>
              <a:off x="690734" y="192340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i="0" strike="noStrike" kern="1200" cap="none" spc="0" normalizeH="0" baseline="0" noProof="0">
                  <a:ln>
                    <a:noFill/>
                  </a:ln>
                  <a:solidFill>
                    <a:schemeClr val="tx2"/>
                  </a:solidFill>
                  <a:effectLst/>
                  <a:uLnTx/>
                  <a:uFillTx/>
                  <a:latin typeface="+mj-lt"/>
                  <a:ea typeface="+mj-ea"/>
                  <a:cs typeface="+mj-cs"/>
                </a:rPr>
                <a:t>Researcher</a:t>
              </a:r>
            </a:p>
          </p:txBody>
        </p:sp>
        <p:pic>
          <p:nvPicPr>
            <p:cNvPr id="194" name="Picture 193">
              <a:extLst>
                <a:ext uri="{FF2B5EF4-FFF2-40B4-BE49-F238E27FC236}">
                  <a16:creationId xmlns:a16="http://schemas.microsoft.com/office/drawing/2014/main" id="{7AC77232-5DC5-740F-C504-C69019786B17}"/>
                </a:ext>
                <a:ext uri="{C183D7F6-B498-43B3-948B-1728B52AA6E4}">
                  <adec:decorative xmlns:adec="http://schemas.microsoft.com/office/drawing/2017/decorative" val="1"/>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440542" y="1527048"/>
              <a:ext cx="329184" cy="329184"/>
            </a:xfrm>
            <a:prstGeom prst="rect">
              <a:avLst/>
            </a:prstGeom>
          </p:spPr>
        </p:pic>
        <p:sp>
          <p:nvSpPr>
            <p:cNvPr id="195" name="TextBox 194">
              <a:extLst>
                <a:ext uri="{FF2B5EF4-FFF2-40B4-BE49-F238E27FC236}">
                  <a16:creationId xmlns:a16="http://schemas.microsoft.com/office/drawing/2014/main" id="{860E1EB8-0A75-5E20-98D7-5297A0CD05D1}"/>
                </a:ext>
              </a:extLst>
            </p:cNvPr>
            <p:cNvSpPr txBox="1"/>
            <p:nvPr/>
          </p:nvSpPr>
          <p:spPr>
            <a:xfrm>
              <a:off x="690734"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Advanced reasoning</a:t>
              </a:r>
            </a:p>
          </p:txBody>
        </p:sp>
        <p:sp>
          <p:nvSpPr>
            <p:cNvPr id="196" name="TextBox 195">
              <a:extLst>
                <a:ext uri="{FF2B5EF4-FFF2-40B4-BE49-F238E27FC236}">
                  <a16:creationId xmlns:a16="http://schemas.microsoft.com/office/drawing/2014/main" id="{E3B9DE3E-F629-02A2-D8AD-B33037D54546}"/>
                </a:ext>
              </a:extLst>
            </p:cNvPr>
            <p:cNvSpPr txBox="1"/>
            <p:nvPr/>
          </p:nvSpPr>
          <p:spPr>
            <a:xfrm>
              <a:off x="690734"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8">
                    <a:extLst>
                      <a:ext uri="{A12FA001-AC4F-418D-AE19-62706E023703}">
                        <ahyp:hlinkClr xmlns:ahyp="http://schemas.microsoft.com/office/drawing/2018/hyperlinkcolor" val="tx"/>
                      </a:ext>
                    </a:extLst>
                  </a:hlinkClick>
                </a:rPr>
                <a:t>Generally available</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197" name="Group 196">
            <a:extLst>
              <a:ext uri="{FF2B5EF4-FFF2-40B4-BE49-F238E27FC236}">
                <a16:creationId xmlns:a16="http://schemas.microsoft.com/office/drawing/2014/main" id="{0F80FA0C-1E06-583D-B4CB-70D649A56F7D}"/>
              </a:ext>
            </a:extLst>
          </p:cNvPr>
          <p:cNvGrpSpPr/>
          <p:nvPr/>
        </p:nvGrpSpPr>
        <p:grpSpPr>
          <a:xfrm>
            <a:off x="690734" y="4395153"/>
            <a:ext cx="1828800" cy="1218297"/>
            <a:chOff x="690734" y="4395153"/>
            <a:chExt cx="1828800" cy="1218297"/>
          </a:xfrm>
        </p:grpSpPr>
        <p:sp>
          <p:nvSpPr>
            <p:cNvPr id="198" name="TextBox 197">
              <a:extLst>
                <a:ext uri="{FF2B5EF4-FFF2-40B4-BE49-F238E27FC236}">
                  <a16:creationId xmlns:a16="http://schemas.microsoft.com/office/drawing/2014/main" id="{9692CC0E-BF54-9D60-D64E-FD7F9054435F}"/>
                </a:ext>
              </a:extLst>
            </p:cNvPr>
            <p:cNvSpPr txBox="1">
              <a:spLocks/>
            </p:cNvSpPr>
            <p:nvPr/>
          </p:nvSpPr>
          <p:spPr>
            <a:xfrm>
              <a:off x="690734" y="477965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i="0" strike="noStrike" kern="1200" cap="none" spc="0" normalizeH="0" baseline="0" noProof="0">
                  <a:ln>
                    <a:noFill/>
                  </a:ln>
                  <a:solidFill>
                    <a:schemeClr val="tx2"/>
                  </a:solidFill>
                  <a:effectLst/>
                  <a:uLnTx/>
                  <a:uFillTx/>
                  <a:latin typeface="+mj-lt"/>
                  <a:ea typeface="+mj-ea"/>
                  <a:cs typeface="+mj-cs"/>
                </a:rPr>
                <a:t>Word</a:t>
              </a:r>
            </a:p>
          </p:txBody>
        </p:sp>
        <p:sp>
          <p:nvSpPr>
            <p:cNvPr id="199" name="TextBox 198">
              <a:extLst>
                <a:ext uri="{FF2B5EF4-FFF2-40B4-BE49-F238E27FC236}">
                  <a16:creationId xmlns:a16="http://schemas.microsoft.com/office/drawing/2014/main" id="{1235A5E3-6EAC-1C9B-DD26-5B70104DCD52}"/>
                </a:ext>
              </a:extLst>
            </p:cNvPr>
            <p:cNvSpPr txBox="1"/>
            <p:nvPr/>
          </p:nvSpPr>
          <p:spPr>
            <a:xfrm>
              <a:off x="690734"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Document creation</a:t>
              </a:r>
              <a:br>
                <a:rPr kumimoji="0" lang="en-US" sz="1050" b="0" i="0" u="none" strike="noStrike" kern="1200" cap="none" spc="0" normalizeH="0" baseline="0" noProof="0">
                  <a:ln>
                    <a:noFill/>
                  </a:ln>
                  <a:solidFill>
                    <a:schemeClr val="tx2"/>
                  </a:solidFill>
                  <a:effectLst/>
                  <a:uLnTx/>
                  <a:uFillTx/>
                </a:rPr>
              </a:br>
              <a:r>
                <a:rPr kumimoji="0" lang="en-US" sz="1050" b="0" i="0" u="none" strike="noStrike" kern="1200" cap="none" spc="0" normalizeH="0" baseline="0" noProof="0">
                  <a:ln>
                    <a:noFill/>
                  </a:ln>
                  <a:solidFill>
                    <a:schemeClr val="tx2"/>
                  </a:solidFill>
                  <a:effectLst/>
                  <a:uLnTx/>
                  <a:uFillTx/>
                </a:rPr>
                <a:t>and iteration</a:t>
              </a:r>
            </a:p>
          </p:txBody>
        </p:sp>
        <p:sp>
          <p:nvSpPr>
            <p:cNvPr id="200" name="TextBox 199">
              <a:extLst>
                <a:ext uri="{FF2B5EF4-FFF2-40B4-BE49-F238E27FC236}">
                  <a16:creationId xmlns:a16="http://schemas.microsoft.com/office/drawing/2014/main" id="{81EC48EC-4F38-C37A-7ADC-E4807CFDA233}"/>
                </a:ext>
              </a:extLst>
            </p:cNvPr>
            <p:cNvSpPr txBox="1">
              <a:spLocks/>
            </p:cNvSpPr>
            <p:nvPr/>
          </p:nvSpPr>
          <p:spPr>
            <a:xfrm>
              <a:off x="690734" y="544417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1">
                    <a:extLst>
                      <a:ext uri="{A12FA001-AC4F-418D-AE19-62706E023703}">
                        <ahyp:hlinkClr xmlns:ahyp="http://schemas.microsoft.com/office/drawing/2018/hyperlinkcolor" val="tx"/>
                      </a:ext>
                    </a:extLst>
                  </a:hlinkClick>
                </a:rPr>
                <a:t>Frontier Program</a:t>
              </a:r>
              <a:endParaRPr kumimoji="0" lang="en-US" sz="1100" i="0" u="none" strike="noStrike" kern="1200" cap="none" spc="0" normalizeH="0" baseline="0" noProof="0">
                <a:ln>
                  <a:noFill/>
                </a:ln>
                <a:solidFill>
                  <a:schemeClr val="accent1"/>
                </a:solidFill>
                <a:effectLst/>
                <a:uLnTx/>
                <a:uFillTx/>
                <a:ea typeface="+mj-ea"/>
                <a:cs typeface="+mj-cs"/>
              </a:endParaRPr>
            </a:p>
          </p:txBody>
        </p:sp>
        <p:pic>
          <p:nvPicPr>
            <p:cNvPr id="201" name="Picture 200" descr="A logo with a black background&#10;&#10;AI-generated content may be incorrect.">
              <a:extLst>
                <a:ext uri="{FF2B5EF4-FFF2-40B4-BE49-F238E27FC236}">
                  <a16:creationId xmlns:a16="http://schemas.microsoft.com/office/drawing/2014/main" id="{E1F0E643-24C4-A2CC-75B9-0F285473999E}"/>
                </a:ext>
              </a:extLst>
            </p:cNvPr>
            <p:cNvPicPr>
              <a:picLocks noChangeAspect="1"/>
            </p:cNvPicPr>
            <p:nvPr/>
          </p:nvPicPr>
          <p:blipFill>
            <a:blip r:embed="rId19" cstate="hqprint">
              <a:extLst>
                <a:ext uri="{28A0092B-C50C-407E-A947-70E740481C1C}">
                  <a14:useLocalDpi xmlns:a14="http://schemas.microsoft.com/office/drawing/2010/main"/>
                </a:ext>
              </a:extLst>
            </a:blip>
            <a:stretch>
              <a:fillRect/>
            </a:stretch>
          </p:blipFill>
          <p:spPr>
            <a:xfrm>
              <a:off x="1458831" y="4395153"/>
              <a:ext cx="292608" cy="292608"/>
            </a:xfrm>
            <a:prstGeom prst="rect">
              <a:avLst/>
            </a:prstGeom>
          </p:spPr>
        </p:pic>
      </p:grpSp>
      <p:grpSp>
        <p:nvGrpSpPr>
          <p:cNvPr id="202" name="Group 201">
            <a:extLst>
              <a:ext uri="{FF2B5EF4-FFF2-40B4-BE49-F238E27FC236}">
                <a16:creationId xmlns:a16="http://schemas.microsoft.com/office/drawing/2014/main" id="{4A7C4619-9A74-3F0C-7236-FCA21E3AD67B}"/>
              </a:ext>
            </a:extLst>
          </p:cNvPr>
          <p:cNvGrpSpPr/>
          <p:nvPr/>
        </p:nvGrpSpPr>
        <p:grpSpPr>
          <a:xfrm>
            <a:off x="7427033" y="3009580"/>
            <a:ext cx="1828800" cy="1000390"/>
            <a:chOff x="7427033" y="3009580"/>
            <a:chExt cx="1828800" cy="1000390"/>
          </a:xfrm>
        </p:grpSpPr>
        <p:sp>
          <p:nvSpPr>
            <p:cNvPr id="203" name="TextBox 202">
              <a:extLst>
                <a:ext uri="{FF2B5EF4-FFF2-40B4-BE49-F238E27FC236}">
                  <a16:creationId xmlns:a16="http://schemas.microsoft.com/office/drawing/2014/main" id="{B0435A3E-01C3-7E44-7118-A36FDA4EE921}"/>
                </a:ext>
              </a:extLst>
            </p:cNvPr>
            <p:cNvSpPr txBox="1">
              <a:spLocks/>
            </p:cNvSpPr>
            <p:nvPr/>
          </p:nvSpPr>
          <p:spPr>
            <a:xfrm>
              <a:off x="7427033"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20">
                    <a:extLst>
                      <a:ext uri="{A12FA001-AC4F-418D-AE19-62706E023703}">
                        <ahyp:hlinkClr xmlns:ahyp="http://schemas.microsoft.com/office/drawing/2018/hyperlinkcolor" val="tx"/>
                      </a:ext>
                    </a:extLst>
                  </a:hlinkClick>
                </a:rPr>
                <a:t>Public preview</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204" name="TextBox 203">
              <a:extLst>
                <a:ext uri="{FF2B5EF4-FFF2-40B4-BE49-F238E27FC236}">
                  <a16:creationId xmlns:a16="http://schemas.microsoft.com/office/drawing/2014/main" id="{675E6663-D6CA-AAAB-6AC1-26BEFCE8F7C0}"/>
                </a:ext>
              </a:extLst>
            </p:cNvPr>
            <p:cNvSpPr txBox="1">
              <a:spLocks/>
            </p:cNvSpPr>
            <p:nvPr/>
          </p:nvSpPr>
          <p:spPr>
            <a:xfrm>
              <a:off x="7796412" y="3328642"/>
              <a:ext cx="1090042"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sz="1400">
                  <a:solidFill>
                    <a:schemeClr val="tx2"/>
                  </a:solidFill>
                  <a:effectLst/>
                  <a:latin typeface="+mj-lt"/>
                  <a:ea typeface="+mj-ea"/>
                  <a:cs typeface="+mj-cs"/>
                </a:rPr>
                <a:t>Communities</a:t>
              </a:r>
              <a:endParaRPr kumimoji="0" lang="en-US" sz="1400" i="0" strike="noStrike" kern="1200" cap="none" spc="0" normalizeH="0" baseline="0" noProof="0">
                <a:ln>
                  <a:noFill/>
                </a:ln>
                <a:solidFill>
                  <a:schemeClr val="tx2"/>
                </a:solidFill>
                <a:effectLst/>
                <a:uLnTx/>
                <a:uFillTx/>
                <a:latin typeface="+mj-lt"/>
                <a:ea typeface="+mj-ea"/>
                <a:cs typeface="+mj-cs"/>
              </a:endParaRPr>
            </a:p>
          </p:txBody>
        </p:sp>
        <p:sp>
          <p:nvSpPr>
            <p:cNvPr id="205" name="TextBox 204">
              <a:extLst>
                <a:ext uri="{FF2B5EF4-FFF2-40B4-BE49-F238E27FC236}">
                  <a16:creationId xmlns:a16="http://schemas.microsoft.com/office/drawing/2014/main" id="{739DAC10-2BDF-3000-DB0C-4ABE50635EAD}"/>
                </a:ext>
              </a:extLst>
            </p:cNvPr>
            <p:cNvSpPr txBox="1"/>
            <p:nvPr/>
          </p:nvSpPr>
          <p:spPr>
            <a:xfrm>
              <a:off x="7427033"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Community mgmt.</a:t>
              </a:r>
            </a:p>
          </p:txBody>
        </p:sp>
        <p:pic>
          <p:nvPicPr>
            <p:cNvPr id="206" name="Picture 2" descr="Microsoft Viva Engage">
              <a:extLst>
                <a:ext uri="{FF2B5EF4-FFF2-40B4-BE49-F238E27FC236}">
                  <a16:creationId xmlns:a16="http://schemas.microsoft.com/office/drawing/2014/main" id="{2275CC1A-5DD8-5C74-E7A4-FFE36A4E9651}"/>
                </a:ext>
              </a:extLst>
            </p:cNvPr>
            <p:cNvPicPr>
              <a:picLocks noChangeAspect="1" noChangeArrowheads="1"/>
            </p:cNvPicPr>
            <p:nvPr/>
          </p:nvPicPr>
          <p:blipFill>
            <a:blip r:embed="rId21" cstate="hqprint">
              <a:extLst>
                <a:ext uri="{28A0092B-C50C-407E-A947-70E740481C1C}">
                  <a14:useLocalDpi xmlns:a14="http://schemas.microsoft.com/office/drawing/2010/main"/>
                </a:ext>
              </a:extLst>
            </a:blip>
            <a:srcRect/>
            <a:stretch>
              <a:fillRect/>
            </a:stretch>
          </p:blipFill>
          <p:spPr bwMode="auto">
            <a:xfrm>
              <a:off x="8195128" y="3009580"/>
              <a:ext cx="292608" cy="2926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7" name="Group 206">
            <a:extLst>
              <a:ext uri="{FF2B5EF4-FFF2-40B4-BE49-F238E27FC236}">
                <a16:creationId xmlns:a16="http://schemas.microsoft.com/office/drawing/2014/main" id="{F8415DDD-E62F-7D18-45E6-74A367D9FE1A}"/>
              </a:ext>
            </a:extLst>
          </p:cNvPr>
          <p:cNvGrpSpPr/>
          <p:nvPr/>
        </p:nvGrpSpPr>
        <p:grpSpPr>
          <a:xfrm>
            <a:off x="7427033" y="1382097"/>
            <a:ext cx="1828800" cy="1226944"/>
            <a:chOff x="7427033" y="1382097"/>
            <a:chExt cx="1828800" cy="1226944"/>
          </a:xfrm>
        </p:grpSpPr>
        <p:sp>
          <p:nvSpPr>
            <p:cNvPr id="208" name="TextBox 207">
              <a:extLst>
                <a:ext uri="{FF2B5EF4-FFF2-40B4-BE49-F238E27FC236}">
                  <a16:creationId xmlns:a16="http://schemas.microsoft.com/office/drawing/2014/main" id="{507E4907-A15B-C705-0297-80D3859FA396}"/>
                </a:ext>
              </a:extLst>
            </p:cNvPr>
            <p:cNvSpPr txBox="1">
              <a:spLocks/>
            </p:cNvSpPr>
            <p:nvPr/>
          </p:nvSpPr>
          <p:spPr>
            <a:xfrm>
              <a:off x="7427033"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22">
                    <a:extLst>
                      <a:ext uri="{A12FA001-AC4F-418D-AE19-62706E023703}">
                        <ahyp:hlinkClr xmlns:ahyp="http://schemas.microsoft.com/office/drawing/2018/hyperlinkcolor" val="tx"/>
                      </a:ext>
                    </a:extLst>
                  </a:hlinkClick>
                </a:rPr>
                <a:t>Generally available </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209" name="TextBox 208">
              <a:extLst>
                <a:ext uri="{FF2B5EF4-FFF2-40B4-BE49-F238E27FC236}">
                  <a16:creationId xmlns:a16="http://schemas.microsoft.com/office/drawing/2014/main" id="{43A5F4C5-42D8-B9A5-4DD4-F42C41F5B764}"/>
                </a:ext>
              </a:extLst>
            </p:cNvPr>
            <p:cNvSpPr txBox="1">
              <a:spLocks/>
            </p:cNvSpPr>
            <p:nvPr/>
          </p:nvSpPr>
          <p:spPr>
            <a:xfrm>
              <a:off x="7892592" y="1923401"/>
              <a:ext cx="897682"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i="0" strike="noStrike" kern="1200" cap="none" spc="0" normalizeH="0" baseline="0" noProof="0">
                  <a:ln>
                    <a:noFill/>
                  </a:ln>
                  <a:solidFill>
                    <a:schemeClr val="tx2"/>
                  </a:solidFill>
                  <a:effectLst/>
                  <a:uLnTx/>
                  <a:uFillTx/>
                  <a:latin typeface="+mj-lt"/>
                  <a:ea typeface="+mj-ea"/>
                  <a:cs typeface="+mj-cs"/>
                </a:rPr>
                <a:t>Interpreter</a:t>
              </a:r>
            </a:p>
          </p:txBody>
        </p:sp>
        <p:pic>
          <p:nvPicPr>
            <p:cNvPr id="210" name="Picture 209">
              <a:extLst>
                <a:ext uri="{FF2B5EF4-FFF2-40B4-BE49-F238E27FC236}">
                  <a16:creationId xmlns:a16="http://schemas.microsoft.com/office/drawing/2014/main" id="{25A55671-C4BE-E8E6-244E-E9B0A6A007CE}"/>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8034989" y="1382097"/>
              <a:ext cx="612888" cy="612888"/>
            </a:xfrm>
            <a:prstGeom prst="rect">
              <a:avLst/>
            </a:prstGeom>
          </p:spPr>
        </p:pic>
        <p:sp>
          <p:nvSpPr>
            <p:cNvPr id="211" name="TextBox 210">
              <a:extLst>
                <a:ext uri="{FF2B5EF4-FFF2-40B4-BE49-F238E27FC236}">
                  <a16:creationId xmlns:a16="http://schemas.microsoft.com/office/drawing/2014/main" id="{8EAE13C3-66B5-E19D-1A46-AE0777AB8F31}"/>
                </a:ext>
              </a:extLst>
            </p:cNvPr>
            <p:cNvSpPr txBox="1"/>
            <p:nvPr/>
          </p:nvSpPr>
          <p:spPr>
            <a:xfrm>
              <a:off x="7427033"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solidFill>
                    <a:schemeClr val="tx2"/>
                  </a:solidFill>
                </a:rPr>
                <a:t>M</a:t>
              </a:r>
              <a:r>
                <a:rPr kumimoji="0" lang="en-US" sz="1050" b="0" i="0" u="none" strike="noStrike" kern="1200" cap="none" spc="0" normalizeH="0" baseline="0" noProof="0">
                  <a:ln>
                    <a:noFill/>
                  </a:ln>
                  <a:solidFill>
                    <a:schemeClr val="tx2"/>
                  </a:solidFill>
                  <a:effectLst/>
                  <a:uLnTx/>
                  <a:uFillTx/>
                </a:rPr>
                <a:t>ulti-lingual translation</a:t>
              </a:r>
            </a:p>
          </p:txBody>
        </p:sp>
      </p:grpSp>
      <p:grpSp>
        <p:nvGrpSpPr>
          <p:cNvPr id="212" name="Group 211">
            <a:extLst>
              <a:ext uri="{FF2B5EF4-FFF2-40B4-BE49-F238E27FC236}">
                <a16:creationId xmlns:a16="http://schemas.microsoft.com/office/drawing/2014/main" id="{D8EEE0B5-8A04-4F19-DEB5-D4A5C02BF226}"/>
              </a:ext>
            </a:extLst>
          </p:cNvPr>
          <p:cNvGrpSpPr/>
          <p:nvPr/>
        </p:nvGrpSpPr>
        <p:grpSpPr>
          <a:xfrm>
            <a:off x="7427033" y="4395153"/>
            <a:ext cx="1828800" cy="1220392"/>
            <a:chOff x="7427033" y="4395153"/>
            <a:chExt cx="1828800" cy="1220392"/>
          </a:xfrm>
        </p:grpSpPr>
        <p:sp>
          <p:nvSpPr>
            <p:cNvPr id="213" name="TextBox 212">
              <a:extLst>
                <a:ext uri="{FF2B5EF4-FFF2-40B4-BE49-F238E27FC236}">
                  <a16:creationId xmlns:a16="http://schemas.microsoft.com/office/drawing/2014/main" id="{AAACE4BF-41FE-2A35-4199-2C33B19BA0E0}"/>
                </a:ext>
              </a:extLst>
            </p:cNvPr>
            <p:cNvSpPr txBox="1">
              <a:spLocks/>
            </p:cNvSpPr>
            <p:nvPr/>
          </p:nvSpPr>
          <p:spPr>
            <a:xfrm>
              <a:off x="8064113" y="4779651"/>
              <a:ext cx="554639" cy="221023"/>
            </a:xfrm>
            <a:prstGeom prst="rect">
              <a:avLst/>
            </a:prstGeom>
            <a:noFill/>
          </p:spPr>
          <p:txBody>
            <a:bodyPr wrap="none" lIns="0" tIns="0" rIns="0" bIns="0" rtlCol="0" anchor="ctr">
              <a:spAutoFit/>
            </a:bodyPr>
            <a:lstStyle/>
            <a:p>
              <a:pPr algn="ctr">
                <a:lnSpc>
                  <a:spcPct val="110000"/>
                </a:lnSpc>
                <a:defRPr/>
              </a:pPr>
              <a:r>
                <a:rPr lang="en-US" sz="1400">
                  <a:solidFill>
                    <a:schemeClr val="tx2"/>
                  </a:solidFill>
                  <a:latin typeface="+mj-lt"/>
                  <a:ea typeface="+mj-ea"/>
                  <a:cs typeface="+mj-cs"/>
                </a:rPr>
                <a:t>People</a:t>
              </a:r>
            </a:p>
          </p:txBody>
        </p:sp>
        <p:sp>
          <p:nvSpPr>
            <p:cNvPr id="214" name="TextBox 213">
              <a:extLst>
                <a:ext uri="{FF2B5EF4-FFF2-40B4-BE49-F238E27FC236}">
                  <a16:creationId xmlns:a16="http://schemas.microsoft.com/office/drawing/2014/main" id="{D0764264-3AB2-1E85-9486-8AD974FF78B8}"/>
                </a:ext>
              </a:extLst>
            </p:cNvPr>
            <p:cNvSpPr txBox="1"/>
            <p:nvPr/>
          </p:nvSpPr>
          <p:spPr>
            <a:xfrm>
              <a:off x="7427033"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Colleague connector &amp; collaboration planner</a:t>
              </a:r>
            </a:p>
          </p:txBody>
        </p:sp>
        <p:sp>
          <p:nvSpPr>
            <p:cNvPr id="215" name="TextBox 214">
              <a:extLst>
                <a:ext uri="{FF2B5EF4-FFF2-40B4-BE49-F238E27FC236}">
                  <a16:creationId xmlns:a16="http://schemas.microsoft.com/office/drawing/2014/main" id="{075ED3D4-18DD-9B04-9A25-F17C43726B56}"/>
                </a:ext>
              </a:extLst>
            </p:cNvPr>
            <p:cNvSpPr txBox="1">
              <a:spLocks/>
            </p:cNvSpPr>
            <p:nvPr/>
          </p:nvSpPr>
          <p:spPr>
            <a:xfrm>
              <a:off x="7427033" y="5446268"/>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1">
                    <a:extLst>
                      <a:ext uri="{A12FA001-AC4F-418D-AE19-62706E023703}">
                        <ahyp:hlinkClr xmlns:ahyp="http://schemas.microsoft.com/office/drawing/2018/hyperlinkcolor" val="tx"/>
                      </a:ext>
                    </a:extLst>
                  </a:hlinkClick>
                </a:rPr>
                <a:t>Frontier Program</a:t>
              </a:r>
              <a:endParaRPr kumimoji="0" lang="en-US" sz="1100" i="0" u="none" strike="noStrike" kern="1200" cap="none" spc="0" normalizeH="0" baseline="0" noProof="0">
                <a:ln>
                  <a:noFill/>
                </a:ln>
                <a:solidFill>
                  <a:schemeClr val="accent1"/>
                </a:solidFill>
                <a:effectLst/>
                <a:uLnTx/>
                <a:uFillTx/>
                <a:ea typeface="+mj-ea"/>
                <a:cs typeface="+mj-cs"/>
              </a:endParaRPr>
            </a:p>
          </p:txBody>
        </p:sp>
        <p:pic>
          <p:nvPicPr>
            <p:cNvPr id="216" name="Picture 215">
              <a:extLst>
                <a:ext uri="{FF2B5EF4-FFF2-40B4-BE49-F238E27FC236}">
                  <a16:creationId xmlns:a16="http://schemas.microsoft.com/office/drawing/2014/main" id="{E777F674-A942-2085-940F-51154AB2CFDD}"/>
                </a:ext>
                <a:ext uri="{C183D7F6-B498-43B3-948B-1728B52AA6E4}">
                  <adec:decorative xmlns:adec="http://schemas.microsoft.com/office/drawing/2017/decorative" val="1"/>
                </a:ext>
              </a:extLst>
            </p:cNvPr>
            <p:cNvPicPr>
              <a:picLocks noChangeAspect="1"/>
            </p:cNvPicPr>
            <p:nvPr/>
          </p:nvPicPr>
          <p:blipFill>
            <a:blip r:embed="rId23" cstate="hqprint">
              <a:extLst>
                <a:ext uri="{28A0092B-C50C-407E-A947-70E740481C1C}">
                  <a14:useLocalDpi xmlns:a14="http://schemas.microsoft.com/office/drawing/2010/main"/>
                </a:ext>
              </a:extLst>
            </a:blip>
            <a:srcRect/>
            <a:stretch/>
          </p:blipFill>
          <p:spPr>
            <a:xfrm>
              <a:off x="8176840" y="4395153"/>
              <a:ext cx="329184" cy="329184"/>
            </a:xfrm>
            <a:prstGeom prst="rect">
              <a:avLst/>
            </a:prstGeom>
          </p:spPr>
        </p:pic>
      </p:grpSp>
      <p:grpSp>
        <p:nvGrpSpPr>
          <p:cNvPr id="217" name="Group 216">
            <a:extLst>
              <a:ext uri="{FF2B5EF4-FFF2-40B4-BE49-F238E27FC236}">
                <a16:creationId xmlns:a16="http://schemas.microsoft.com/office/drawing/2014/main" id="{A46C8789-B3FC-9496-DC9E-A9E7B170A571}"/>
              </a:ext>
            </a:extLst>
          </p:cNvPr>
          <p:cNvGrpSpPr/>
          <p:nvPr/>
        </p:nvGrpSpPr>
        <p:grpSpPr>
          <a:xfrm>
            <a:off x="9672465" y="1382097"/>
            <a:ext cx="1828800" cy="1226944"/>
            <a:chOff x="9672465" y="1382097"/>
            <a:chExt cx="1828800" cy="1226944"/>
          </a:xfrm>
        </p:grpSpPr>
        <p:sp>
          <p:nvSpPr>
            <p:cNvPr id="218" name="TextBox 217">
              <a:extLst>
                <a:ext uri="{FF2B5EF4-FFF2-40B4-BE49-F238E27FC236}">
                  <a16:creationId xmlns:a16="http://schemas.microsoft.com/office/drawing/2014/main" id="{A1354BD3-A067-66AE-5BF4-C0D0C5E9EC96}"/>
                </a:ext>
              </a:extLst>
            </p:cNvPr>
            <p:cNvSpPr txBox="1">
              <a:spLocks/>
            </p:cNvSpPr>
            <p:nvPr/>
          </p:nvSpPr>
          <p:spPr>
            <a:xfrm>
              <a:off x="9672465"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22">
                    <a:extLst>
                      <a:ext uri="{A12FA001-AC4F-418D-AE19-62706E023703}">
                        <ahyp:hlinkClr xmlns:ahyp="http://schemas.microsoft.com/office/drawing/2018/hyperlinkcolor" val="tx"/>
                      </a:ext>
                    </a:extLst>
                  </a:hlinkClick>
                </a:rPr>
                <a:t>Generally available</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219" name="TextBox 218">
              <a:extLst>
                <a:ext uri="{FF2B5EF4-FFF2-40B4-BE49-F238E27FC236}">
                  <a16:creationId xmlns:a16="http://schemas.microsoft.com/office/drawing/2014/main" id="{DEC688CB-6C42-ECC0-3F71-6816FD6C4012}"/>
                </a:ext>
              </a:extLst>
            </p:cNvPr>
            <p:cNvSpPr txBox="1">
              <a:spLocks/>
            </p:cNvSpPr>
            <p:nvPr/>
          </p:nvSpPr>
          <p:spPr>
            <a:xfrm>
              <a:off x="10179702" y="1923401"/>
              <a:ext cx="814325"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sz="1400">
                  <a:solidFill>
                    <a:schemeClr val="tx2"/>
                  </a:solidFill>
                  <a:latin typeface="+mj-lt"/>
                  <a:ea typeface="+mj-ea"/>
                  <a:cs typeface="+mj-cs"/>
                </a:rPr>
                <a:t>Facilitator</a:t>
              </a:r>
              <a:endParaRPr kumimoji="0" lang="en-US" sz="1400" i="0" u="none" strike="noStrike" kern="1200" cap="none" spc="0" normalizeH="0" baseline="0" noProof="0">
                <a:ln>
                  <a:noFill/>
                </a:ln>
                <a:solidFill>
                  <a:schemeClr val="tx2"/>
                </a:solidFill>
                <a:effectLst/>
                <a:uLnTx/>
                <a:uFillTx/>
                <a:latin typeface="+mj-lt"/>
                <a:ea typeface="+mj-ea"/>
                <a:cs typeface="+mj-cs"/>
              </a:endParaRPr>
            </a:p>
          </p:txBody>
        </p:sp>
        <p:pic>
          <p:nvPicPr>
            <p:cNvPr id="220" name="Picture 219">
              <a:extLst>
                <a:ext uri="{FF2B5EF4-FFF2-40B4-BE49-F238E27FC236}">
                  <a16:creationId xmlns:a16="http://schemas.microsoft.com/office/drawing/2014/main" id="{A49D3071-20C2-CC1A-81A4-A55328429021}"/>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10280421" y="1382097"/>
              <a:ext cx="612888" cy="612888"/>
            </a:xfrm>
            <a:prstGeom prst="rect">
              <a:avLst/>
            </a:prstGeom>
          </p:spPr>
        </p:pic>
        <p:sp>
          <p:nvSpPr>
            <p:cNvPr id="221" name="TextBox 220">
              <a:extLst>
                <a:ext uri="{FF2B5EF4-FFF2-40B4-BE49-F238E27FC236}">
                  <a16:creationId xmlns:a16="http://schemas.microsoft.com/office/drawing/2014/main" id="{E768B513-A524-C216-11E5-510A46D76BB6}"/>
                </a:ext>
              </a:extLst>
            </p:cNvPr>
            <p:cNvSpPr txBox="1"/>
            <p:nvPr/>
          </p:nvSpPr>
          <p:spPr>
            <a:xfrm>
              <a:off x="9672465"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Teams meeting moderation</a:t>
              </a:r>
            </a:p>
          </p:txBody>
        </p:sp>
      </p:grpSp>
      <p:grpSp>
        <p:nvGrpSpPr>
          <p:cNvPr id="222" name="Group 221">
            <a:extLst>
              <a:ext uri="{FF2B5EF4-FFF2-40B4-BE49-F238E27FC236}">
                <a16:creationId xmlns:a16="http://schemas.microsoft.com/office/drawing/2014/main" id="{CF1432CB-A0B0-1125-4F25-2FC142919129}"/>
              </a:ext>
            </a:extLst>
          </p:cNvPr>
          <p:cNvGrpSpPr/>
          <p:nvPr/>
        </p:nvGrpSpPr>
        <p:grpSpPr>
          <a:xfrm>
            <a:off x="9672465" y="2973874"/>
            <a:ext cx="1828800" cy="1036096"/>
            <a:chOff x="9672465" y="2973874"/>
            <a:chExt cx="1828800" cy="1036096"/>
          </a:xfrm>
        </p:grpSpPr>
        <p:sp>
          <p:nvSpPr>
            <p:cNvPr id="223" name="TextBox 222">
              <a:extLst>
                <a:ext uri="{FF2B5EF4-FFF2-40B4-BE49-F238E27FC236}">
                  <a16:creationId xmlns:a16="http://schemas.microsoft.com/office/drawing/2014/main" id="{28C9AC3D-F216-762D-18C8-10A7A411D846}"/>
                </a:ext>
              </a:extLst>
            </p:cNvPr>
            <p:cNvSpPr txBox="1"/>
            <p:nvPr/>
          </p:nvSpPr>
          <p:spPr>
            <a:xfrm>
              <a:off x="9672465"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Organizational insights</a:t>
              </a:r>
            </a:p>
          </p:txBody>
        </p:sp>
        <p:sp>
          <p:nvSpPr>
            <p:cNvPr id="224" name="TextBox 223">
              <a:extLst>
                <a:ext uri="{FF2B5EF4-FFF2-40B4-BE49-F238E27FC236}">
                  <a16:creationId xmlns:a16="http://schemas.microsoft.com/office/drawing/2014/main" id="{F69AC6BB-7609-2D94-3E6B-B3FE19EEAD6F}"/>
                </a:ext>
              </a:extLst>
            </p:cNvPr>
            <p:cNvSpPr txBox="1">
              <a:spLocks/>
            </p:cNvSpPr>
            <p:nvPr/>
          </p:nvSpPr>
          <p:spPr>
            <a:xfrm>
              <a:off x="9810658" y="3328642"/>
              <a:ext cx="1552413" cy="215893"/>
            </a:xfrm>
            <a:prstGeom prst="rect">
              <a:avLst/>
            </a:prstGeom>
            <a:noFill/>
          </p:spPr>
          <p:txBody>
            <a:bodyPr wrap="none" lIns="0" tIns="0" rIns="0" bIns="0" rtlCol="0" anchor="ctr">
              <a:spAutoFit/>
            </a:bodyPr>
            <a:lstStyle/>
            <a:p>
              <a:pPr algn="ctr">
                <a:lnSpc>
                  <a:spcPct val="110000"/>
                </a:lnSpc>
                <a:defRPr/>
              </a:pPr>
              <a:r>
                <a:rPr lang="en-US" sz="1400">
                  <a:solidFill>
                    <a:schemeClr val="tx2"/>
                  </a:solidFill>
                  <a:latin typeface="+mj-lt"/>
                  <a:ea typeface="+mj-ea"/>
                  <a:cs typeface="+mj-cs"/>
                </a:rPr>
                <a:t>Workforce Insights</a:t>
              </a:r>
            </a:p>
          </p:txBody>
        </p:sp>
        <p:sp>
          <p:nvSpPr>
            <p:cNvPr id="225" name="TextBox 224">
              <a:extLst>
                <a:ext uri="{FF2B5EF4-FFF2-40B4-BE49-F238E27FC236}">
                  <a16:creationId xmlns:a16="http://schemas.microsoft.com/office/drawing/2014/main" id="{1718CDF6-4DB8-5AD9-C321-7572110FBAAF}"/>
                </a:ext>
              </a:extLst>
            </p:cNvPr>
            <p:cNvSpPr txBox="1">
              <a:spLocks/>
            </p:cNvSpPr>
            <p:nvPr/>
          </p:nvSpPr>
          <p:spPr>
            <a:xfrm>
              <a:off x="9672465"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1">
                    <a:extLst>
                      <a:ext uri="{A12FA001-AC4F-418D-AE19-62706E023703}">
                        <ahyp:hlinkClr xmlns:ahyp="http://schemas.microsoft.com/office/drawing/2018/hyperlinkcolor" val="tx"/>
                      </a:ext>
                    </a:extLst>
                  </a:hlinkClick>
                </a:rPr>
                <a:t>Frontier Program</a:t>
              </a:r>
              <a:endParaRPr kumimoji="0" lang="en-US" sz="1100" i="0" u="none" strike="noStrike" kern="1200" cap="none" spc="0" normalizeH="0" baseline="0" noProof="0">
                <a:ln>
                  <a:noFill/>
                </a:ln>
                <a:solidFill>
                  <a:schemeClr val="accent1"/>
                </a:solidFill>
                <a:effectLst/>
                <a:uLnTx/>
                <a:uFillTx/>
                <a:ea typeface="+mj-ea"/>
                <a:cs typeface="+mj-cs"/>
              </a:endParaRPr>
            </a:p>
          </p:txBody>
        </p:sp>
        <p:pic>
          <p:nvPicPr>
            <p:cNvPr id="226" name="Picture 225">
              <a:extLst>
                <a:ext uri="{FF2B5EF4-FFF2-40B4-BE49-F238E27FC236}">
                  <a16:creationId xmlns:a16="http://schemas.microsoft.com/office/drawing/2014/main" id="{45E5FC16-3A37-602B-46BA-B8DE3ECED944}"/>
                </a:ext>
                <a:ext uri="{C183D7F6-B498-43B3-948B-1728B52AA6E4}">
                  <adec:decorative xmlns:adec="http://schemas.microsoft.com/office/drawing/2017/decorative" val="1"/>
                </a:ext>
              </a:extLst>
            </p:cNvPr>
            <p:cNvPicPr>
              <a:picLocks noChangeAspect="1"/>
            </p:cNvPicPr>
            <p:nvPr/>
          </p:nvPicPr>
          <p:blipFill>
            <a:blip r:embed="rId24" cstate="hqprint">
              <a:extLst>
                <a:ext uri="{28A0092B-C50C-407E-A947-70E740481C1C}">
                  <a14:useLocalDpi xmlns:a14="http://schemas.microsoft.com/office/drawing/2010/main"/>
                </a:ext>
              </a:extLst>
            </a:blip>
            <a:srcRect/>
            <a:stretch/>
          </p:blipFill>
          <p:spPr>
            <a:xfrm>
              <a:off x="10422272" y="2973874"/>
              <a:ext cx="329184" cy="329184"/>
            </a:xfrm>
            <a:prstGeom prst="rect">
              <a:avLst/>
            </a:prstGeom>
          </p:spPr>
        </p:pic>
      </p:grpSp>
      <p:grpSp>
        <p:nvGrpSpPr>
          <p:cNvPr id="227" name="Group 226">
            <a:extLst>
              <a:ext uri="{FF2B5EF4-FFF2-40B4-BE49-F238E27FC236}">
                <a16:creationId xmlns:a16="http://schemas.microsoft.com/office/drawing/2014/main" id="{636FFC85-DD32-876E-EFE7-196D3E6FE555}"/>
              </a:ext>
            </a:extLst>
          </p:cNvPr>
          <p:cNvGrpSpPr/>
          <p:nvPr/>
        </p:nvGrpSpPr>
        <p:grpSpPr>
          <a:xfrm>
            <a:off x="9672465" y="4395153"/>
            <a:ext cx="1828800" cy="1224964"/>
            <a:chOff x="9672465" y="4395153"/>
            <a:chExt cx="1828800" cy="1224964"/>
          </a:xfrm>
        </p:grpSpPr>
        <p:sp>
          <p:nvSpPr>
            <p:cNvPr id="228" name="TextBox 227">
              <a:extLst>
                <a:ext uri="{FF2B5EF4-FFF2-40B4-BE49-F238E27FC236}">
                  <a16:creationId xmlns:a16="http://schemas.microsoft.com/office/drawing/2014/main" id="{DB92F6F9-F942-02CB-E0B4-0B4FAE2D976B}"/>
                </a:ext>
              </a:extLst>
            </p:cNvPr>
            <p:cNvSpPr txBox="1"/>
            <p:nvPr/>
          </p:nvSpPr>
          <p:spPr>
            <a:xfrm>
              <a:off x="9672465"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Curated AI skill building resources</a:t>
              </a:r>
            </a:p>
          </p:txBody>
        </p:sp>
        <p:sp>
          <p:nvSpPr>
            <p:cNvPr id="229" name="TextBox 228">
              <a:extLst>
                <a:ext uri="{FF2B5EF4-FFF2-40B4-BE49-F238E27FC236}">
                  <a16:creationId xmlns:a16="http://schemas.microsoft.com/office/drawing/2014/main" id="{27A0263A-974B-A6BD-F1F1-FA8A46E38EF8}"/>
                </a:ext>
              </a:extLst>
            </p:cNvPr>
            <p:cNvSpPr txBox="1">
              <a:spLocks/>
            </p:cNvSpPr>
            <p:nvPr/>
          </p:nvSpPr>
          <p:spPr>
            <a:xfrm>
              <a:off x="10235807" y="4779651"/>
              <a:ext cx="702115" cy="221023"/>
            </a:xfrm>
            <a:prstGeom prst="rect">
              <a:avLst/>
            </a:prstGeom>
            <a:noFill/>
          </p:spPr>
          <p:txBody>
            <a:bodyPr wrap="none" lIns="0" tIns="0" rIns="0" bIns="0" rtlCol="0" anchor="ctr">
              <a:spAutoFit/>
            </a:bodyPr>
            <a:lstStyle/>
            <a:p>
              <a:pPr algn="ctr">
                <a:lnSpc>
                  <a:spcPct val="110000"/>
                </a:lnSpc>
                <a:defRPr/>
              </a:pPr>
              <a:r>
                <a:rPr lang="en-US" sz="1400">
                  <a:solidFill>
                    <a:schemeClr val="tx2"/>
                  </a:solidFill>
                  <a:latin typeface="+mj-lt"/>
                  <a:ea typeface="+mj-ea"/>
                  <a:cs typeface="+mj-cs"/>
                </a:rPr>
                <a:t>Learning</a:t>
              </a:r>
            </a:p>
          </p:txBody>
        </p:sp>
        <p:sp>
          <p:nvSpPr>
            <p:cNvPr id="230" name="TextBox 229">
              <a:extLst>
                <a:ext uri="{FF2B5EF4-FFF2-40B4-BE49-F238E27FC236}">
                  <a16:creationId xmlns:a16="http://schemas.microsoft.com/office/drawing/2014/main" id="{253393ED-C5A8-6802-29C6-0C55731BBF1C}"/>
                </a:ext>
              </a:extLst>
            </p:cNvPr>
            <p:cNvSpPr txBox="1">
              <a:spLocks/>
            </p:cNvSpPr>
            <p:nvPr/>
          </p:nvSpPr>
          <p:spPr>
            <a:xfrm>
              <a:off x="9672465" y="5450840"/>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1">
                    <a:extLst>
                      <a:ext uri="{A12FA001-AC4F-418D-AE19-62706E023703}">
                        <ahyp:hlinkClr xmlns:ahyp="http://schemas.microsoft.com/office/drawing/2018/hyperlinkcolor" val="tx"/>
                      </a:ext>
                    </a:extLst>
                  </a:hlinkClick>
                </a:rPr>
                <a:t>Frontier Program</a:t>
              </a:r>
              <a:endParaRPr kumimoji="0" lang="en-US" sz="1100" i="0" u="none" strike="noStrike" kern="1200" cap="none" spc="0" normalizeH="0" baseline="0" noProof="0">
                <a:ln>
                  <a:noFill/>
                </a:ln>
                <a:solidFill>
                  <a:schemeClr val="accent1"/>
                </a:solidFill>
                <a:effectLst/>
                <a:uLnTx/>
                <a:uFillTx/>
                <a:ea typeface="+mj-ea"/>
                <a:cs typeface="+mj-cs"/>
              </a:endParaRPr>
            </a:p>
          </p:txBody>
        </p:sp>
        <p:pic>
          <p:nvPicPr>
            <p:cNvPr id="231" name="Picture 230">
              <a:extLst>
                <a:ext uri="{FF2B5EF4-FFF2-40B4-BE49-F238E27FC236}">
                  <a16:creationId xmlns:a16="http://schemas.microsoft.com/office/drawing/2014/main" id="{084DF3BD-398B-4C40-0537-64AF742CC903}"/>
                </a:ext>
                <a:ext uri="{C183D7F6-B498-43B3-948B-1728B52AA6E4}">
                  <adec:decorative xmlns:adec="http://schemas.microsoft.com/office/drawing/2017/decorative" val="1"/>
                </a:ext>
              </a:extLst>
            </p:cNvPr>
            <p:cNvPicPr>
              <a:picLocks noChangeAspect="1"/>
            </p:cNvPicPr>
            <p:nvPr/>
          </p:nvPicPr>
          <p:blipFill>
            <a:blip r:embed="rId25" cstate="hqprint">
              <a:extLst>
                <a:ext uri="{28A0092B-C50C-407E-A947-70E740481C1C}">
                  <a14:useLocalDpi xmlns:a14="http://schemas.microsoft.com/office/drawing/2010/main"/>
                </a:ext>
              </a:extLst>
            </a:blip>
            <a:srcRect/>
            <a:stretch/>
          </p:blipFill>
          <p:spPr>
            <a:xfrm>
              <a:off x="10422272" y="4395153"/>
              <a:ext cx="329184" cy="329184"/>
            </a:xfrm>
            <a:prstGeom prst="rect">
              <a:avLst/>
            </a:prstGeom>
          </p:spPr>
        </p:pic>
      </p:grpSp>
    </p:spTree>
    <p:extLst>
      <p:ext uri="{BB962C8B-B14F-4D97-AF65-F5344CB8AC3E}">
        <p14:creationId xmlns:p14="http://schemas.microsoft.com/office/powerpoint/2010/main" val="1578797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9"/>
                                        </p:tgtEl>
                                        <p:attrNameLst>
                                          <p:attrName>style.visibility</p:attrName>
                                        </p:attrNameLst>
                                      </p:cBhvr>
                                      <p:to>
                                        <p:strVal val="visible"/>
                                      </p:to>
                                    </p:set>
                                    <p:animEffect transition="in" filter="fade">
                                      <p:cBhvr>
                                        <p:cTn id="7" dur="500"/>
                                        <p:tgtEl>
                                          <p:spTgt spid="139"/>
                                        </p:tgtEl>
                                      </p:cBhvr>
                                    </p:animEffect>
                                  </p:childTnLst>
                                </p:cTn>
                              </p:par>
                              <p:par>
                                <p:cTn id="8" presetID="64" presetClass="path" presetSubtype="0" accel="50000" decel="50000" fill="hold" nodeType="withEffect">
                                  <p:stCondLst>
                                    <p:cond delay="0"/>
                                  </p:stCondLst>
                                  <p:childTnLst>
                                    <p:animMotion origin="layout" path="M 8.33333E-7 0.06805 L 8.33333E-7 0.00023 " pathEditMode="relative" rAng="0" ptsTypes="AA">
                                      <p:cBhvr>
                                        <p:cTn id="9" dur="1000" fill="hold"/>
                                        <p:tgtEl>
                                          <p:spTgt spid="139"/>
                                        </p:tgtEl>
                                        <p:attrNameLst>
                                          <p:attrName>ppt_x</p:attrName>
                                          <p:attrName>ppt_y</p:attrName>
                                        </p:attrNameLst>
                                      </p:cBhvr>
                                      <p:rCtr x="0" y="-3403"/>
                                    </p:animMotion>
                                  </p:childTnLst>
                                </p:cTn>
                              </p:par>
                              <p:par>
                                <p:cTn id="10" presetID="10" presetClass="entr" presetSubtype="0" fill="hold" nodeType="withEffect">
                                  <p:stCondLst>
                                    <p:cond delay="0"/>
                                  </p:stCondLst>
                                  <p:childTnLst>
                                    <p:set>
                                      <p:cBhvr>
                                        <p:cTn id="11" dur="1" fill="hold">
                                          <p:stCondLst>
                                            <p:cond delay="0"/>
                                          </p:stCondLst>
                                        </p:cTn>
                                        <p:tgtEl>
                                          <p:spTgt spid="192"/>
                                        </p:tgtEl>
                                        <p:attrNameLst>
                                          <p:attrName>style.visibility</p:attrName>
                                        </p:attrNameLst>
                                      </p:cBhvr>
                                      <p:to>
                                        <p:strVal val="visible"/>
                                      </p:to>
                                    </p:set>
                                    <p:animEffect transition="in" filter="fade">
                                      <p:cBhvr>
                                        <p:cTn id="12" dur="500"/>
                                        <p:tgtEl>
                                          <p:spTgt spid="192"/>
                                        </p:tgtEl>
                                      </p:cBhvr>
                                    </p:animEffect>
                                  </p:childTnLst>
                                </p:cTn>
                              </p:par>
                              <p:par>
                                <p:cTn id="13" presetID="64" presetClass="path" presetSubtype="0" accel="50000" decel="50000" fill="hold" nodeType="withEffect">
                                  <p:stCondLst>
                                    <p:cond delay="0"/>
                                  </p:stCondLst>
                                  <p:childTnLst>
                                    <p:animMotion origin="layout" path="M 8.33333E-7 0.06805 L 8.33333E-7 0.00023 " pathEditMode="relative" rAng="0" ptsTypes="AA">
                                      <p:cBhvr>
                                        <p:cTn id="14" dur="1000" fill="hold"/>
                                        <p:tgtEl>
                                          <p:spTgt spid="192"/>
                                        </p:tgtEl>
                                        <p:attrNameLst>
                                          <p:attrName>ppt_x</p:attrName>
                                          <p:attrName>ppt_y</p:attrName>
                                        </p:attrNameLst>
                                      </p:cBhvr>
                                      <p:rCtr x="0" y="-3403"/>
                                    </p:animMotion>
                                  </p:childTnLst>
                                </p:cTn>
                              </p:par>
                              <p:par>
                                <p:cTn id="15" presetID="10" presetClass="entr" presetSubtype="0" fill="hold" nodeType="withEffect">
                                  <p:stCondLst>
                                    <p:cond delay="0"/>
                                  </p:stCondLst>
                                  <p:childTnLst>
                                    <p:set>
                                      <p:cBhvr>
                                        <p:cTn id="16" dur="1" fill="hold">
                                          <p:stCondLst>
                                            <p:cond delay="0"/>
                                          </p:stCondLst>
                                        </p:cTn>
                                        <p:tgtEl>
                                          <p:spTgt spid="162"/>
                                        </p:tgtEl>
                                        <p:attrNameLst>
                                          <p:attrName>style.visibility</p:attrName>
                                        </p:attrNameLst>
                                      </p:cBhvr>
                                      <p:to>
                                        <p:strVal val="visible"/>
                                      </p:to>
                                    </p:set>
                                    <p:animEffect transition="in" filter="fade">
                                      <p:cBhvr>
                                        <p:cTn id="17" dur="500"/>
                                        <p:tgtEl>
                                          <p:spTgt spid="162"/>
                                        </p:tgtEl>
                                      </p:cBhvr>
                                    </p:animEffect>
                                  </p:childTnLst>
                                </p:cTn>
                              </p:par>
                              <p:par>
                                <p:cTn id="18" presetID="64" presetClass="path" presetSubtype="0" accel="50000" decel="50000" fill="hold" nodeType="withEffect">
                                  <p:stCondLst>
                                    <p:cond delay="0"/>
                                  </p:stCondLst>
                                  <p:childTnLst>
                                    <p:animMotion origin="layout" path="M 8.33333E-7 0.06805 L 8.33333E-7 0.00023 " pathEditMode="relative" rAng="0" ptsTypes="AA">
                                      <p:cBhvr>
                                        <p:cTn id="19" dur="1000" fill="hold"/>
                                        <p:tgtEl>
                                          <p:spTgt spid="162"/>
                                        </p:tgtEl>
                                        <p:attrNameLst>
                                          <p:attrName>ppt_x</p:attrName>
                                          <p:attrName>ppt_y</p:attrName>
                                        </p:attrNameLst>
                                      </p:cBhvr>
                                      <p:rCtr x="0" y="-3403"/>
                                    </p:animMotion>
                                  </p:childTnLst>
                                </p:cTn>
                              </p:par>
                              <p:par>
                                <p:cTn id="20" presetID="10" presetClass="entr" presetSubtype="0" fill="hold" nodeType="withEffect">
                                  <p:stCondLst>
                                    <p:cond delay="0"/>
                                  </p:stCondLst>
                                  <p:childTnLst>
                                    <p:set>
                                      <p:cBhvr>
                                        <p:cTn id="21" dur="1" fill="hold">
                                          <p:stCondLst>
                                            <p:cond delay="0"/>
                                          </p:stCondLst>
                                        </p:cTn>
                                        <p:tgtEl>
                                          <p:spTgt spid="172"/>
                                        </p:tgtEl>
                                        <p:attrNameLst>
                                          <p:attrName>style.visibility</p:attrName>
                                        </p:attrNameLst>
                                      </p:cBhvr>
                                      <p:to>
                                        <p:strVal val="visible"/>
                                      </p:to>
                                    </p:set>
                                    <p:animEffect transition="in" filter="fade">
                                      <p:cBhvr>
                                        <p:cTn id="22" dur="500"/>
                                        <p:tgtEl>
                                          <p:spTgt spid="172"/>
                                        </p:tgtEl>
                                      </p:cBhvr>
                                    </p:animEffect>
                                  </p:childTnLst>
                                </p:cTn>
                              </p:par>
                              <p:par>
                                <p:cTn id="23" presetID="64" presetClass="path" presetSubtype="0" accel="50000" decel="50000" fill="hold" nodeType="withEffect">
                                  <p:stCondLst>
                                    <p:cond delay="0"/>
                                  </p:stCondLst>
                                  <p:childTnLst>
                                    <p:animMotion origin="layout" path="M 8.33333E-7 0.06805 L 8.33333E-7 0.00023 " pathEditMode="relative" rAng="0" ptsTypes="AA">
                                      <p:cBhvr>
                                        <p:cTn id="24" dur="1000" fill="hold"/>
                                        <p:tgtEl>
                                          <p:spTgt spid="172"/>
                                        </p:tgtEl>
                                        <p:attrNameLst>
                                          <p:attrName>ppt_x</p:attrName>
                                          <p:attrName>ppt_y</p:attrName>
                                        </p:attrNameLst>
                                      </p:cBhvr>
                                      <p:rCtr x="0" y="-3403"/>
                                    </p:animMotion>
                                  </p:childTnLst>
                                </p:cTn>
                              </p:par>
                              <p:par>
                                <p:cTn id="25" presetID="10" presetClass="entr" presetSubtype="0" fill="hold" nodeType="withEffect">
                                  <p:stCondLst>
                                    <p:cond delay="0"/>
                                  </p:stCondLst>
                                  <p:childTnLst>
                                    <p:set>
                                      <p:cBhvr>
                                        <p:cTn id="26" dur="1" fill="hold">
                                          <p:stCondLst>
                                            <p:cond delay="0"/>
                                          </p:stCondLst>
                                        </p:cTn>
                                        <p:tgtEl>
                                          <p:spTgt spid="207"/>
                                        </p:tgtEl>
                                        <p:attrNameLst>
                                          <p:attrName>style.visibility</p:attrName>
                                        </p:attrNameLst>
                                      </p:cBhvr>
                                      <p:to>
                                        <p:strVal val="visible"/>
                                      </p:to>
                                    </p:set>
                                    <p:animEffect transition="in" filter="fade">
                                      <p:cBhvr>
                                        <p:cTn id="27" dur="500"/>
                                        <p:tgtEl>
                                          <p:spTgt spid="207"/>
                                        </p:tgtEl>
                                      </p:cBhvr>
                                    </p:animEffect>
                                  </p:childTnLst>
                                </p:cTn>
                              </p:par>
                              <p:par>
                                <p:cTn id="28" presetID="64" presetClass="path" presetSubtype="0" accel="50000" decel="50000" fill="hold" nodeType="withEffect">
                                  <p:stCondLst>
                                    <p:cond delay="0"/>
                                  </p:stCondLst>
                                  <p:childTnLst>
                                    <p:animMotion origin="layout" path="M 8.33333E-7 0.06805 L 8.33333E-7 0.00023 " pathEditMode="relative" rAng="0" ptsTypes="AA">
                                      <p:cBhvr>
                                        <p:cTn id="29" dur="1000" fill="hold"/>
                                        <p:tgtEl>
                                          <p:spTgt spid="207"/>
                                        </p:tgtEl>
                                        <p:attrNameLst>
                                          <p:attrName>ppt_x</p:attrName>
                                          <p:attrName>ppt_y</p:attrName>
                                        </p:attrNameLst>
                                      </p:cBhvr>
                                      <p:rCtr x="0" y="-3403"/>
                                    </p:animMotion>
                                  </p:childTnLst>
                                </p:cTn>
                              </p:par>
                              <p:par>
                                <p:cTn id="30" presetID="10" presetClass="entr" presetSubtype="0" fill="hold" nodeType="withEffect">
                                  <p:stCondLst>
                                    <p:cond delay="0"/>
                                  </p:stCondLst>
                                  <p:childTnLst>
                                    <p:set>
                                      <p:cBhvr>
                                        <p:cTn id="31" dur="1" fill="hold">
                                          <p:stCondLst>
                                            <p:cond delay="0"/>
                                          </p:stCondLst>
                                        </p:cTn>
                                        <p:tgtEl>
                                          <p:spTgt spid="217"/>
                                        </p:tgtEl>
                                        <p:attrNameLst>
                                          <p:attrName>style.visibility</p:attrName>
                                        </p:attrNameLst>
                                      </p:cBhvr>
                                      <p:to>
                                        <p:strVal val="visible"/>
                                      </p:to>
                                    </p:set>
                                    <p:animEffect transition="in" filter="fade">
                                      <p:cBhvr>
                                        <p:cTn id="32" dur="500"/>
                                        <p:tgtEl>
                                          <p:spTgt spid="217"/>
                                        </p:tgtEl>
                                      </p:cBhvr>
                                    </p:animEffect>
                                  </p:childTnLst>
                                </p:cTn>
                              </p:par>
                              <p:par>
                                <p:cTn id="33" presetID="64" presetClass="path" presetSubtype="0" accel="50000" decel="50000" fill="hold" nodeType="withEffect">
                                  <p:stCondLst>
                                    <p:cond delay="0"/>
                                  </p:stCondLst>
                                  <p:childTnLst>
                                    <p:animMotion origin="layout" path="M 8.33333E-7 0.06805 L 8.33333E-7 0.00023 " pathEditMode="relative" rAng="0" ptsTypes="AA">
                                      <p:cBhvr>
                                        <p:cTn id="34" dur="1000" fill="hold"/>
                                        <p:tgtEl>
                                          <p:spTgt spid="217"/>
                                        </p:tgtEl>
                                        <p:attrNameLst>
                                          <p:attrName>ppt_x</p:attrName>
                                          <p:attrName>ppt_y</p:attrName>
                                        </p:attrNameLst>
                                      </p:cBhvr>
                                      <p:rCtr x="0" y="-3403"/>
                                    </p:animMotion>
                                  </p:childTnLst>
                                </p:cTn>
                              </p:par>
                              <p:par>
                                <p:cTn id="35" presetID="10" presetClass="entr" presetSubtype="0" fill="hold" nodeType="withEffect">
                                  <p:stCondLst>
                                    <p:cond delay="500"/>
                                  </p:stCondLst>
                                  <p:childTnLst>
                                    <p:set>
                                      <p:cBhvr>
                                        <p:cTn id="36" dur="1" fill="hold">
                                          <p:stCondLst>
                                            <p:cond delay="0"/>
                                          </p:stCondLst>
                                        </p:cTn>
                                        <p:tgtEl>
                                          <p:spTgt spid="187"/>
                                        </p:tgtEl>
                                        <p:attrNameLst>
                                          <p:attrName>style.visibility</p:attrName>
                                        </p:attrNameLst>
                                      </p:cBhvr>
                                      <p:to>
                                        <p:strVal val="visible"/>
                                      </p:to>
                                    </p:set>
                                    <p:animEffect transition="in" filter="fade">
                                      <p:cBhvr>
                                        <p:cTn id="37" dur="500"/>
                                        <p:tgtEl>
                                          <p:spTgt spid="187"/>
                                        </p:tgtEl>
                                      </p:cBhvr>
                                    </p:animEffect>
                                  </p:childTnLst>
                                </p:cTn>
                              </p:par>
                              <p:par>
                                <p:cTn id="38" presetID="64" presetClass="path" presetSubtype="0" accel="50000" decel="50000" fill="hold" nodeType="withEffect">
                                  <p:stCondLst>
                                    <p:cond delay="500"/>
                                  </p:stCondLst>
                                  <p:childTnLst>
                                    <p:animMotion origin="layout" path="M 8.33333E-7 0.06805 L 8.33333E-7 0.00023 " pathEditMode="relative" rAng="0" ptsTypes="AA">
                                      <p:cBhvr>
                                        <p:cTn id="39" dur="1000" fill="hold"/>
                                        <p:tgtEl>
                                          <p:spTgt spid="187"/>
                                        </p:tgtEl>
                                        <p:attrNameLst>
                                          <p:attrName>ppt_x</p:attrName>
                                          <p:attrName>ppt_y</p:attrName>
                                        </p:attrNameLst>
                                      </p:cBhvr>
                                      <p:rCtr x="0" y="-3403"/>
                                    </p:animMotion>
                                  </p:childTnLst>
                                </p:cTn>
                              </p:par>
                              <p:par>
                                <p:cTn id="40" presetID="10" presetClass="entr" presetSubtype="0" fill="hold" nodeType="withEffect">
                                  <p:stCondLst>
                                    <p:cond delay="500"/>
                                  </p:stCondLst>
                                  <p:childTnLst>
                                    <p:set>
                                      <p:cBhvr>
                                        <p:cTn id="41" dur="1" fill="hold">
                                          <p:stCondLst>
                                            <p:cond delay="0"/>
                                          </p:stCondLst>
                                        </p:cTn>
                                        <p:tgtEl>
                                          <p:spTgt spid="157"/>
                                        </p:tgtEl>
                                        <p:attrNameLst>
                                          <p:attrName>style.visibility</p:attrName>
                                        </p:attrNameLst>
                                      </p:cBhvr>
                                      <p:to>
                                        <p:strVal val="visible"/>
                                      </p:to>
                                    </p:set>
                                    <p:animEffect transition="in" filter="fade">
                                      <p:cBhvr>
                                        <p:cTn id="42" dur="500"/>
                                        <p:tgtEl>
                                          <p:spTgt spid="157"/>
                                        </p:tgtEl>
                                      </p:cBhvr>
                                    </p:animEffect>
                                  </p:childTnLst>
                                </p:cTn>
                              </p:par>
                              <p:par>
                                <p:cTn id="43" presetID="64" presetClass="path" presetSubtype="0" accel="50000" decel="50000" fill="hold" nodeType="withEffect">
                                  <p:stCondLst>
                                    <p:cond delay="500"/>
                                  </p:stCondLst>
                                  <p:childTnLst>
                                    <p:animMotion origin="layout" path="M 8.33333E-7 0.06805 L 8.33333E-7 0.00023 " pathEditMode="relative" rAng="0" ptsTypes="AA">
                                      <p:cBhvr>
                                        <p:cTn id="44" dur="1000" fill="hold"/>
                                        <p:tgtEl>
                                          <p:spTgt spid="157"/>
                                        </p:tgtEl>
                                        <p:attrNameLst>
                                          <p:attrName>ppt_x</p:attrName>
                                          <p:attrName>ppt_y</p:attrName>
                                        </p:attrNameLst>
                                      </p:cBhvr>
                                      <p:rCtr x="0" y="-3403"/>
                                    </p:animMotion>
                                  </p:childTnLst>
                                </p:cTn>
                              </p:par>
                              <p:par>
                                <p:cTn id="45" presetID="10" presetClass="entr" presetSubtype="0" fill="hold" nodeType="withEffect">
                                  <p:stCondLst>
                                    <p:cond delay="500"/>
                                  </p:stCondLst>
                                  <p:childTnLst>
                                    <p:set>
                                      <p:cBhvr>
                                        <p:cTn id="46" dur="1" fill="hold">
                                          <p:stCondLst>
                                            <p:cond delay="0"/>
                                          </p:stCondLst>
                                        </p:cTn>
                                        <p:tgtEl>
                                          <p:spTgt spid="182"/>
                                        </p:tgtEl>
                                        <p:attrNameLst>
                                          <p:attrName>style.visibility</p:attrName>
                                        </p:attrNameLst>
                                      </p:cBhvr>
                                      <p:to>
                                        <p:strVal val="visible"/>
                                      </p:to>
                                    </p:set>
                                    <p:animEffect transition="in" filter="fade">
                                      <p:cBhvr>
                                        <p:cTn id="47" dur="500"/>
                                        <p:tgtEl>
                                          <p:spTgt spid="182"/>
                                        </p:tgtEl>
                                      </p:cBhvr>
                                    </p:animEffect>
                                  </p:childTnLst>
                                </p:cTn>
                              </p:par>
                              <p:par>
                                <p:cTn id="48" presetID="64" presetClass="path" presetSubtype="0" accel="50000" decel="50000" fill="hold" nodeType="withEffect">
                                  <p:stCondLst>
                                    <p:cond delay="500"/>
                                  </p:stCondLst>
                                  <p:childTnLst>
                                    <p:animMotion origin="layout" path="M 8.33333E-7 0.06805 L 8.33333E-7 0.00023 " pathEditMode="relative" rAng="0" ptsTypes="AA">
                                      <p:cBhvr>
                                        <p:cTn id="49" dur="1000" fill="hold"/>
                                        <p:tgtEl>
                                          <p:spTgt spid="182"/>
                                        </p:tgtEl>
                                        <p:attrNameLst>
                                          <p:attrName>ppt_x</p:attrName>
                                          <p:attrName>ppt_y</p:attrName>
                                        </p:attrNameLst>
                                      </p:cBhvr>
                                      <p:rCtr x="0" y="-3403"/>
                                    </p:animMotion>
                                  </p:childTnLst>
                                </p:cTn>
                              </p:par>
                              <p:par>
                                <p:cTn id="50" presetID="10" presetClass="entr" presetSubtype="0" fill="hold" nodeType="withEffect">
                                  <p:stCondLst>
                                    <p:cond delay="1000"/>
                                  </p:stCondLst>
                                  <p:childTnLst>
                                    <p:set>
                                      <p:cBhvr>
                                        <p:cTn id="51" dur="1" fill="hold">
                                          <p:stCondLst>
                                            <p:cond delay="0"/>
                                          </p:stCondLst>
                                        </p:cTn>
                                        <p:tgtEl>
                                          <p:spTgt spid="197"/>
                                        </p:tgtEl>
                                        <p:attrNameLst>
                                          <p:attrName>style.visibility</p:attrName>
                                        </p:attrNameLst>
                                      </p:cBhvr>
                                      <p:to>
                                        <p:strVal val="visible"/>
                                      </p:to>
                                    </p:set>
                                    <p:animEffect transition="in" filter="fade">
                                      <p:cBhvr>
                                        <p:cTn id="52" dur="500"/>
                                        <p:tgtEl>
                                          <p:spTgt spid="197"/>
                                        </p:tgtEl>
                                      </p:cBhvr>
                                    </p:animEffect>
                                  </p:childTnLst>
                                </p:cTn>
                              </p:par>
                              <p:par>
                                <p:cTn id="53" presetID="64" presetClass="path" presetSubtype="0" accel="50000" decel="50000" fill="hold" nodeType="withEffect">
                                  <p:stCondLst>
                                    <p:cond delay="1000"/>
                                  </p:stCondLst>
                                  <p:childTnLst>
                                    <p:animMotion origin="layout" path="M 8.33333E-7 0.06805 L 8.33333E-7 0.00023 " pathEditMode="relative" rAng="0" ptsTypes="AA">
                                      <p:cBhvr>
                                        <p:cTn id="54" dur="1000" fill="hold"/>
                                        <p:tgtEl>
                                          <p:spTgt spid="197"/>
                                        </p:tgtEl>
                                        <p:attrNameLst>
                                          <p:attrName>ppt_x</p:attrName>
                                          <p:attrName>ppt_y</p:attrName>
                                        </p:attrNameLst>
                                      </p:cBhvr>
                                      <p:rCtr x="0" y="-3403"/>
                                    </p:animMotion>
                                  </p:childTnLst>
                                </p:cTn>
                              </p:par>
                              <p:par>
                                <p:cTn id="55" presetID="10" presetClass="entr" presetSubtype="0" fill="hold" nodeType="withEffect">
                                  <p:stCondLst>
                                    <p:cond delay="1000"/>
                                  </p:stCondLst>
                                  <p:childTnLst>
                                    <p:set>
                                      <p:cBhvr>
                                        <p:cTn id="56" dur="1" fill="hold">
                                          <p:stCondLst>
                                            <p:cond delay="0"/>
                                          </p:stCondLst>
                                        </p:cTn>
                                        <p:tgtEl>
                                          <p:spTgt spid="167"/>
                                        </p:tgtEl>
                                        <p:attrNameLst>
                                          <p:attrName>style.visibility</p:attrName>
                                        </p:attrNameLst>
                                      </p:cBhvr>
                                      <p:to>
                                        <p:strVal val="visible"/>
                                      </p:to>
                                    </p:set>
                                    <p:animEffect transition="in" filter="fade">
                                      <p:cBhvr>
                                        <p:cTn id="57" dur="500"/>
                                        <p:tgtEl>
                                          <p:spTgt spid="167"/>
                                        </p:tgtEl>
                                      </p:cBhvr>
                                    </p:animEffect>
                                  </p:childTnLst>
                                </p:cTn>
                              </p:par>
                              <p:par>
                                <p:cTn id="58" presetID="64" presetClass="path" presetSubtype="0" accel="50000" decel="50000" fill="hold" nodeType="withEffect">
                                  <p:stCondLst>
                                    <p:cond delay="1000"/>
                                  </p:stCondLst>
                                  <p:childTnLst>
                                    <p:animMotion origin="layout" path="M 8.33333E-7 0.06805 L 8.33333E-7 0.00023 " pathEditMode="relative" rAng="0" ptsTypes="AA">
                                      <p:cBhvr>
                                        <p:cTn id="59" dur="1000" fill="hold"/>
                                        <p:tgtEl>
                                          <p:spTgt spid="167"/>
                                        </p:tgtEl>
                                        <p:attrNameLst>
                                          <p:attrName>ppt_x</p:attrName>
                                          <p:attrName>ppt_y</p:attrName>
                                        </p:attrNameLst>
                                      </p:cBhvr>
                                      <p:rCtr x="0" y="-3403"/>
                                    </p:animMotion>
                                  </p:childTnLst>
                                </p:cTn>
                              </p:par>
                              <p:par>
                                <p:cTn id="60" presetID="10" presetClass="entr" presetSubtype="0" fill="hold" nodeType="withEffect">
                                  <p:stCondLst>
                                    <p:cond delay="1000"/>
                                  </p:stCondLst>
                                  <p:childTnLst>
                                    <p:set>
                                      <p:cBhvr>
                                        <p:cTn id="61" dur="1" fill="hold">
                                          <p:stCondLst>
                                            <p:cond delay="0"/>
                                          </p:stCondLst>
                                        </p:cTn>
                                        <p:tgtEl>
                                          <p:spTgt spid="177"/>
                                        </p:tgtEl>
                                        <p:attrNameLst>
                                          <p:attrName>style.visibility</p:attrName>
                                        </p:attrNameLst>
                                      </p:cBhvr>
                                      <p:to>
                                        <p:strVal val="visible"/>
                                      </p:to>
                                    </p:set>
                                    <p:animEffect transition="in" filter="fade">
                                      <p:cBhvr>
                                        <p:cTn id="62" dur="500"/>
                                        <p:tgtEl>
                                          <p:spTgt spid="177"/>
                                        </p:tgtEl>
                                      </p:cBhvr>
                                    </p:animEffect>
                                  </p:childTnLst>
                                </p:cTn>
                              </p:par>
                              <p:par>
                                <p:cTn id="63" presetID="64" presetClass="path" presetSubtype="0" accel="50000" decel="50000" fill="hold" nodeType="withEffect">
                                  <p:stCondLst>
                                    <p:cond delay="1000"/>
                                  </p:stCondLst>
                                  <p:childTnLst>
                                    <p:animMotion origin="layout" path="M 0 0.06805 L 0 0.00023 " pathEditMode="relative" rAng="0" ptsTypes="AA">
                                      <p:cBhvr>
                                        <p:cTn id="64" dur="1000" fill="hold"/>
                                        <p:tgtEl>
                                          <p:spTgt spid="177"/>
                                        </p:tgtEl>
                                        <p:attrNameLst>
                                          <p:attrName>ppt_x</p:attrName>
                                          <p:attrName>ppt_y</p:attrName>
                                        </p:attrNameLst>
                                      </p:cBhvr>
                                      <p:rCtr x="0" y="-3403"/>
                                    </p:animMotion>
                                  </p:childTnLst>
                                </p:cTn>
                              </p:par>
                              <p:par>
                                <p:cTn id="65" presetID="10" presetClass="entr" presetSubtype="0" fill="hold" nodeType="withEffect">
                                  <p:stCondLst>
                                    <p:cond delay="1000"/>
                                  </p:stCondLst>
                                  <p:childTnLst>
                                    <p:set>
                                      <p:cBhvr>
                                        <p:cTn id="66" dur="1" fill="hold">
                                          <p:stCondLst>
                                            <p:cond delay="0"/>
                                          </p:stCondLst>
                                        </p:cTn>
                                        <p:tgtEl>
                                          <p:spTgt spid="212"/>
                                        </p:tgtEl>
                                        <p:attrNameLst>
                                          <p:attrName>style.visibility</p:attrName>
                                        </p:attrNameLst>
                                      </p:cBhvr>
                                      <p:to>
                                        <p:strVal val="visible"/>
                                      </p:to>
                                    </p:set>
                                    <p:animEffect transition="in" filter="fade">
                                      <p:cBhvr>
                                        <p:cTn id="67" dur="500"/>
                                        <p:tgtEl>
                                          <p:spTgt spid="212"/>
                                        </p:tgtEl>
                                      </p:cBhvr>
                                    </p:animEffect>
                                  </p:childTnLst>
                                </p:cTn>
                              </p:par>
                              <p:par>
                                <p:cTn id="68" presetID="64" presetClass="path" presetSubtype="0" accel="50000" decel="50000" fill="hold" nodeType="withEffect">
                                  <p:stCondLst>
                                    <p:cond delay="1000"/>
                                  </p:stCondLst>
                                  <p:childTnLst>
                                    <p:animMotion origin="layout" path="M 8.33333E-7 0.06805 L 8.33333E-7 0.00023 " pathEditMode="relative" rAng="0" ptsTypes="AA">
                                      <p:cBhvr>
                                        <p:cTn id="69" dur="1000" fill="hold"/>
                                        <p:tgtEl>
                                          <p:spTgt spid="212"/>
                                        </p:tgtEl>
                                        <p:attrNameLst>
                                          <p:attrName>ppt_x</p:attrName>
                                          <p:attrName>ppt_y</p:attrName>
                                        </p:attrNameLst>
                                      </p:cBhvr>
                                      <p:rCtr x="0" y="-3403"/>
                                    </p:animMotion>
                                  </p:childTnLst>
                                </p:cTn>
                              </p:par>
                              <p:par>
                                <p:cTn id="70" presetID="10" presetClass="entr" presetSubtype="0" fill="hold" nodeType="withEffect">
                                  <p:stCondLst>
                                    <p:cond delay="1000"/>
                                  </p:stCondLst>
                                  <p:childTnLst>
                                    <p:set>
                                      <p:cBhvr>
                                        <p:cTn id="71" dur="1" fill="hold">
                                          <p:stCondLst>
                                            <p:cond delay="0"/>
                                          </p:stCondLst>
                                        </p:cTn>
                                        <p:tgtEl>
                                          <p:spTgt spid="227"/>
                                        </p:tgtEl>
                                        <p:attrNameLst>
                                          <p:attrName>style.visibility</p:attrName>
                                        </p:attrNameLst>
                                      </p:cBhvr>
                                      <p:to>
                                        <p:strVal val="visible"/>
                                      </p:to>
                                    </p:set>
                                    <p:animEffect transition="in" filter="fade">
                                      <p:cBhvr>
                                        <p:cTn id="72" dur="500"/>
                                        <p:tgtEl>
                                          <p:spTgt spid="227"/>
                                        </p:tgtEl>
                                      </p:cBhvr>
                                    </p:animEffect>
                                  </p:childTnLst>
                                </p:cTn>
                              </p:par>
                              <p:par>
                                <p:cTn id="73" presetID="64" presetClass="path" presetSubtype="0" accel="50000" decel="50000" fill="hold" nodeType="withEffect">
                                  <p:stCondLst>
                                    <p:cond delay="1000"/>
                                  </p:stCondLst>
                                  <p:childTnLst>
                                    <p:animMotion origin="layout" path="M 8.33333E-7 0.06805 L 8.33333E-7 0.00023 " pathEditMode="relative" rAng="0" ptsTypes="AA">
                                      <p:cBhvr>
                                        <p:cTn id="74" dur="1000" fill="hold"/>
                                        <p:tgtEl>
                                          <p:spTgt spid="227"/>
                                        </p:tgtEl>
                                        <p:attrNameLst>
                                          <p:attrName>ppt_x</p:attrName>
                                          <p:attrName>ppt_y</p:attrName>
                                        </p:attrNameLst>
                                      </p:cBhvr>
                                      <p:rCtr x="0" y="-3403"/>
                                    </p:animMotion>
                                  </p:childTnLst>
                                </p:cTn>
                              </p:par>
                              <p:par>
                                <p:cTn id="75" presetID="10" presetClass="entr" presetSubtype="0" fill="hold" grpId="0" nodeType="withEffect">
                                  <p:stCondLst>
                                    <p:cond delay="1500"/>
                                  </p:stCondLst>
                                  <p:childTnLst>
                                    <p:set>
                                      <p:cBhvr>
                                        <p:cTn id="76" dur="1" fill="hold">
                                          <p:stCondLst>
                                            <p:cond delay="0"/>
                                          </p:stCondLst>
                                        </p:cTn>
                                        <p:tgtEl>
                                          <p:spTgt spid="156"/>
                                        </p:tgtEl>
                                        <p:attrNameLst>
                                          <p:attrName>style.visibility</p:attrName>
                                        </p:attrNameLst>
                                      </p:cBhvr>
                                      <p:to>
                                        <p:strVal val="visible"/>
                                      </p:to>
                                    </p:set>
                                    <p:animEffect transition="in" filter="fade">
                                      <p:cBhvr>
                                        <p:cTn id="77" dur="500"/>
                                        <p:tgtEl>
                                          <p:spTgt spid="156"/>
                                        </p:tgtEl>
                                      </p:cBhvr>
                                    </p:animEffect>
                                  </p:childTnLst>
                                </p:cTn>
                              </p:par>
                              <p:par>
                                <p:cTn id="78" presetID="10" presetClass="entr" presetSubtype="0" fill="hold" nodeType="withEffect">
                                  <p:stCondLst>
                                    <p:cond delay="500"/>
                                  </p:stCondLst>
                                  <p:childTnLst>
                                    <p:set>
                                      <p:cBhvr>
                                        <p:cTn id="79" dur="1" fill="hold">
                                          <p:stCondLst>
                                            <p:cond delay="0"/>
                                          </p:stCondLst>
                                        </p:cTn>
                                        <p:tgtEl>
                                          <p:spTgt spid="202"/>
                                        </p:tgtEl>
                                        <p:attrNameLst>
                                          <p:attrName>style.visibility</p:attrName>
                                        </p:attrNameLst>
                                      </p:cBhvr>
                                      <p:to>
                                        <p:strVal val="visible"/>
                                      </p:to>
                                    </p:set>
                                    <p:animEffect transition="in" filter="fade">
                                      <p:cBhvr>
                                        <p:cTn id="80" dur="500"/>
                                        <p:tgtEl>
                                          <p:spTgt spid="202"/>
                                        </p:tgtEl>
                                      </p:cBhvr>
                                    </p:animEffect>
                                  </p:childTnLst>
                                </p:cTn>
                              </p:par>
                              <p:par>
                                <p:cTn id="81" presetID="64" presetClass="path" presetSubtype="0" accel="50000" decel="50000" fill="hold" nodeType="withEffect">
                                  <p:stCondLst>
                                    <p:cond delay="500"/>
                                  </p:stCondLst>
                                  <p:childTnLst>
                                    <p:animMotion origin="layout" path="M 8.33333E-7 0.06805 L 8.33333E-7 0.00023 " pathEditMode="relative" rAng="0" ptsTypes="AA">
                                      <p:cBhvr>
                                        <p:cTn id="82" dur="1000" fill="hold"/>
                                        <p:tgtEl>
                                          <p:spTgt spid="202"/>
                                        </p:tgtEl>
                                        <p:attrNameLst>
                                          <p:attrName>ppt_x</p:attrName>
                                          <p:attrName>ppt_y</p:attrName>
                                        </p:attrNameLst>
                                      </p:cBhvr>
                                      <p:rCtr x="0" y="-3403"/>
                                    </p:animMotion>
                                  </p:childTnLst>
                                </p:cTn>
                              </p:par>
                              <p:par>
                                <p:cTn id="83" presetID="10" presetClass="entr" presetSubtype="0" fill="hold" nodeType="withEffect">
                                  <p:stCondLst>
                                    <p:cond delay="500"/>
                                  </p:stCondLst>
                                  <p:childTnLst>
                                    <p:set>
                                      <p:cBhvr>
                                        <p:cTn id="84" dur="1" fill="hold">
                                          <p:stCondLst>
                                            <p:cond delay="0"/>
                                          </p:stCondLst>
                                        </p:cTn>
                                        <p:tgtEl>
                                          <p:spTgt spid="222"/>
                                        </p:tgtEl>
                                        <p:attrNameLst>
                                          <p:attrName>style.visibility</p:attrName>
                                        </p:attrNameLst>
                                      </p:cBhvr>
                                      <p:to>
                                        <p:strVal val="visible"/>
                                      </p:to>
                                    </p:set>
                                    <p:animEffect transition="in" filter="fade">
                                      <p:cBhvr>
                                        <p:cTn id="85" dur="500"/>
                                        <p:tgtEl>
                                          <p:spTgt spid="222"/>
                                        </p:tgtEl>
                                      </p:cBhvr>
                                    </p:animEffect>
                                  </p:childTnLst>
                                </p:cTn>
                              </p:par>
                              <p:par>
                                <p:cTn id="86" presetID="64" presetClass="path" presetSubtype="0" accel="50000" decel="50000" fill="hold" nodeType="withEffect">
                                  <p:stCondLst>
                                    <p:cond delay="500"/>
                                  </p:stCondLst>
                                  <p:childTnLst>
                                    <p:animMotion origin="layout" path="M 8.33333E-7 0.06805 L 8.33333E-7 0.00023 " pathEditMode="relative" rAng="0" ptsTypes="AA">
                                      <p:cBhvr>
                                        <p:cTn id="87" dur="1000" fill="hold"/>
                                        <p:tgtEl>
                                          <p:spTgt spid="222"/>
                                        </p:tgtEl>
                                        <p:attrNameLst>
                                          <p:attrName>ppt_x</p:attrName>
                                          <p:attrName>ppt_y</p:attrName>
                                        </p:attrNameLst>
                                      </p:cBhvr>
                                      <p:rCtr x="0" y="-340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8769FFE3-B4A9-DABD-6587-4FE32909B048}"/>
              </a:ext>
            </a:extLst>
          </p:cNvPr>
          <p:cNvSpPr/>
          <p:nvPr/>
        </p:nvSpPr>
        <p:spPr bwMode="auto">
          <a:xfrm rot="16200000" flipH="1">
            <a:off x="-136453" y="2742488"/>
            <a:ext cx="4025649" cy="2576099"/>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Sans Display"/>
              <a:ea typeface="Segoe UI" pitchFamily="34" charset="0"/>
              <a:cs typeface="Segoe UI" pitchFamily="34" charset="0"/>
            </a:endParaRPr>
          </a:p>
        </p:txBody>
      </p:sp>
      <p:pic>
        <p:nvPicPr>
          <p:cNvPr id="7" name="Picture 6" descr="A qr code on a white background">
            <a:extLst>
              <a:ext uri="{FF2B5EF4-FFF2-40B4-BE49-F238E27FC236}">
                <a16:creationId xmlns:a16="http://schemas.microsoft.com/office/drawing/2014/main" id="{73434B69-5AE9-898D-CD74-79C32E94922A}"/>
              </a:ext>
            </a:extLst>
          </p:cNvPr>
          <p:cNvPicPr>
            <a:picLocks noChangeAspect="1"/>
          </p:cNvPicPr>
          <p:nvPr/>
        </p:nvPicPr>
        <p:blipFill>
          <a:blip r:embed="rId2"/>
          <a:stretch>
            <a:fillRect/>
          </a:stretch>
        </p:blipFill>
        <p:spPr>
          <a:xfrm>
            <a:off x="971115" y="2441954"/>
            <a:ext cx="1810512" cy="1810512"/>
          </a:xfrm>
          <a:prstGeom prst="roundRect">
            <a:avLst>
              <a:gd name="adj" fmla="val 2933"/>
            </a:avLst>
          </a:prstGeom>
          <a:noFill/>
        </p:spPr>
      </p:pic>
      <p:pic>
        <p:nvPicPr>
          <p:cNvPr id="8" name="Graphic 7">
            <a:extLst>
              <a:ext uri="{FF2B5EF4-FFF2-40B4-BE49-F238E27FC236}">
                <a16:creationId xmlns:a16="http://schemas.microsoft.com/office/drawing/2014/main" id="{75B56898-3899-BCD6-7447-3BC0B11179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07588" y="835066"/>
            <a:ext cx="1337566" cy="705394"/>
          </a:xfrm>
          <a:prstGeom prst="rect">
            <a:avLst/>
          </a:prstGeom>
        </p:spPr>
      </p:pic>
      <p:grpSp>
        <p:nvGrpSpPr>
          <p:cNvPr id="9" name="Group 8">
            <a:extLst>
              <a:ext uri="{FF2B5EF4-FFF2-40B4-BE49-F238E27FC236}">
                <a16:creationId xmlns:a16="http://schemas.microsoft.com/office/drawing/2014/main" id="{820D5F12-A3A3-A4CD-77D1-C117AD33C91C}"/>
              </a:ext>
            </a:extLst>
          </p:cNvPr>
          <p:cNvGrpSpPr/>
          <p:nvPr/>
        </p:nvGrpSpPr>
        <p:grpSpPr>
          <a:xfrm>
            <a:off x="370476" y="4696070"/>
            <a:ext cx="7503737" cy="844463"/>
            <a:chOff x="5607459" y="5376024"/>
            <a:chExt cx="5795892" cy="844463"/>
          </a:xfrm>
        </p:grpSpPr>
        <p:sp>
          <p:nvSpPr>
            <p:cNvPr id="10" name="Rectangle: Rounded Corners 11">
              <a:extLst>
                <a:ext uri="{FF2B5EF4-FFF2-40B4-BE49-F238E27FC236}">
                  <a16:creationId xmlns:a16="http://schemas.microsoft.com/office/drawing/2014/main" id="{A5462F07-51EC-FE13-93F4-2314FCEFECD5}"/>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sp>
          <p:nvSpPr>
            <p:cNvPr id="11" name="Rectangle: Rounded Corners 11">
              <a:extLst>
                <a:ext uri="{FF2B5EF4-FFF2-40B4-BE49-F238E27FC236}">
                  <a16:creationId xmlns:a16="http://schemas.microsoft.com/office/drawing/2014/main" id="{E7411E11-9611-5596-57F4-8F8E3C1C7A50}"/>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grpSp>
      <p:pic>
        <p:nvPicPr>
          <p:cNvPr id="12" name="Picture 11" descr="A blurry image of a blue and orange sky&#10;&#10;AI-generated content may be incorrect.">
            <a:extLst>
              <a:ext uri="{FF2B5EF4-FFF2-40B4-BE49-F238E27FC236}">
                <a16:creationId xmlns:a16="http://schemas.microsoft.com/office/drawing/2014/main" id="{8B53E518-C6A8-9ECF-F889-F03B4CEBA56D}"/>
              </a:ext>
            </a:extLst>
          </p:cNvPr>
          <p:cNvPicPr>
            <a:picLocks noChangeAspect="1"/>
          </p:cNvPicPr>
          <p:nvPr/>
        </p:nvPicPr>
        <p:blipFill>
          <a:blip r:embed="rId5" cstate="email">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a:xfrm rot="10800000" flipV="1">
            <a:off x="3624479" y="2"/>
            <a:ext cx="8567520" cy="6646984"/>
          </a:xfrm>
          <a:prstGeom prst="rect">
            <a:avLst/>
          </a:prstGeom>
          <a:effectLst/>
        </p:spPr>
      </p:pic>
      <p:sp>
        <p:nvSpPr>
          <p:cNvPr id="13" name="TextBox 12">
            <a:extLst>
              <a:ext uri="{FF2B5EF4-FFF2-40B4-BE49-F238E27FC236}">
                <a16:creationId xmlns:a16="http://schemas.microsoft.com/office/drawing/2014/main" id="{C4CABB8F-80F5-8CBA-B0D9-1B0D8B936F4A}"/>
              </a:ext>
            </a:extLst>
          </p:cNvPr>
          <p:cNvSpPr txBox="1"/>
          <p:nvPr/>
        </p:nvSpPr>
        <p:spPr>
          <a:xfrm>
            <a:off x="4088315" y="748860"/>
            <a:ext cx="7532185" cy="867930"/>
          </a:xfrm>
          <a:prstGeom prst="rect">
            <a:avLst/>
          </a:prstGeom>
          <a:noFill/>
          <a:ln>
            <a:noFill/>
            <a:prstDash/>
          </a:ln>
          <a:effectLst/>
        </p:spPr>
        <p:txBody>
          <a:bodyPr wrap="square">
            <a:spAutoFit/>
          </a:bodyPr>
          <a:lstStyle/>
          <a:p>
            <a:pPr marL="0" marR="0" lvl="0" indent="0" algn="ctr" defTabSz="914367" rtl="0" eaLnBrk="1" fontAlgn="auto" latinLnBrk="0" hangingPunct="1">
              <a:lnSpc>
                <a:spcPct val="90000"/>
              </a:lnSpc>
              <a:spcBef>
                <a:spcPts val="0"/>
              </a:spcBef>
              <a:spcAft>
                <a:spcPts val="1800"/>
              </a:spcAft>
              <a:buClrTx/>
              <a:buSzTx/>
              <a:buFontTx/>
              <a:buNone/>
              <a:tabLst/>
              <a:defRPr/>
            </a:pPr>
            <a:r>
              <a:rPr kumimoji="0" lang="en-US" sz="28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t>Visit </a:t>
            </a:r>
            <a:r>
              <a:rPr kumimoji="0" lang="en-US" sz="28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hlinkClick r:id="rId7">
                  <a:extLst>
                    <a:ext uri="{A12FA001-AC4F-418D-AE19-62706E023703}">
                      <ahyp:hlinkClr xmlns:ahyp="http://schemas.microsoft.com/office/drawing/2018/hyperlinkcolor" val="tx"/>
                    </a:ext>
                  </a:extLst>
                </a:hlinkClick>
              </a:rPr>
              <a:t>Customer Hub website </a:t>
            </a:r>
            <a:r>
              <a:rPr kumimoji="0" lang="en-US" sz="28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t>for upcoming sessions, updates, and on demand contents!</a:t>
            </a:r>
          </a:p>
        </p:txBody>
      </p:sp>
      <p:sp>
        <p:nvSpPr>
          <p:cNvPr id="14" name="Rectangle: Rounded Corners 13">
            <a:extLst>
              <a:ext uri="{FF2B5EF4-FFF2-40B4-BE49-F238E27FC236}">
                <a16:creationId xmlns:a16="http://schemas.microsoft.com/office/drawing/2014/main" id="{DE7ED2F4-D21B-084A-2A38-BC93B81F409C}"/>
              </a:ext>
            </a:extLst>
          </p:cNvPr>
          <p:cNvSpPr/>
          <p:nvPr/>
        </p:nvSpPr>
        <p:spPr bwMode="auto">
          <a:xfrm rot="16200000" flipH="1">
            <a:off x="5821723" y="257308"/>
            <a:ext cx="4052645" cy="7519459"/>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Sans Display"/>
              <a:ea typeface="+mn-ea"/>
              <a:cs typeface="Segoe UI" pitchFamily="34" charset="0"/>
            </a:endParaRPr>
          </a:p>
        </p:txBody>
      </p:sp>
      <p:pic>
        <p:nvPicPr>
          <p:cNvPr id="16" name="Picture 15">
            <a:extLst>
              <a:ext uri="{FF2B5EF4-FFF2-40B4-BE49-F238E27FC236}">
                <a16:creationId xmlns:a16="http://schemas.microsoft.com/office/drawing/2014/main" id="{09B68A1B-6C97-5CBE-8BA3-9965A9A3366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354189" y="2266134"/>
            <a:ext cx="6987712" cy="3527026"/>
          </a:xfrm>
          <a:prstGeom prst="rect">
            <a:avLst/>
          </a:prstGeom>
        </p:spPr>
      </p:pic>
      <p:sp>
        <p:nvSpPr>
          <p:cNvPr id="18" name="TextBox 17">
            <a:extLst>
              <a:ext uri="{FF2B5EF4-FFF2-40B4-BE49-F238E27FC236}">
                <a16:creationId xmlns:a16="http://schemas.microsoft.com/office/drawing/2014/main" id="{DDBD7BC9-C94D-BA17-C3A3-5295E41DE562}"/>
              </a:ext>
            </a:extLst>
          </p:cNvPr>
          <p:cNvSpPr txBox="1"/>
          <p:nvPr/>
        </p:nvSpPr>
        <p:spPr>
          <a:xfrm>
            <a:off x="711789" y="5033662"/>
            <a:ext cx="2329164" cy="169277"/>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Text"/>
                <a:ea typeface="+mn-ea"/>
                <a:cs typeface="+mn-cs"/>
                <a:hlinkClick r:id="rId7">
                  <a:extLst>
                    <a:ext uri="{A12FA001-AC4F-418D-AE19-62706E023703}">
                      <ahyp:hlinkClr xmlns:ahyp="http://schemas.microsoft.com/office/drawing/2018/hyperlinkcolor" val="tx"/>
                    </a:ext>
                  </a:extLst>
                </a:hlinkClick>
              </a:rPr>
              <a:t>https://aka.ms/CustomerHubSessions</a:t>
            </a:r>
            <a:r>
              <a:rPr kumimoji="0" lang="en-US" sz="1100" b="0" i="0" u="none" strike="noStrike" kern="1200" cap="none" spc="0" normalizeH="0" baseline="0" noProof="0">
                <a:ln>
                  <a:noFill/>
                </a:ln>
                <a:solidFill>
                  <a:srgbClr val="091F2C"/>
                </a:solidFill>
                <a:effectLst/>
                <a:uLnTx/>
                <a:uFillTx/>
                <a:latin typeface="Segoe Sans Text"/>
                <a:ea typeface="+mn-ea"/>
                <a:cs typeface="+mn-cs"/>
              </a:rPr>
              <a:t>​</a:t>
            </a:r>
          </a:p>
        </p:txBody>
      </p:sp>
    </p:spTree>
    <p:extLst>
      <p:ext uri="{BB962C8B-B14F-4D97-AF65-F5344CB8AC3E}">
        <p14:creationId xmlns:p14="http://schemas.microsoft.com/office/powerpoint/2010/main" val="224691423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4E9414-67D2-7A6B-1036-6FF43603D5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92B0129-B0E3-3632-19FB-FCA195293662}"/>
              </a:ext>
            </a:extLst>
          </p:cNvPr>
          <p:cNvSpPr>
            <a:spLocks noGrp="1"/>
          </p:cNvSpPr>
          <p:nvPr>
            <p:ph type="title"/>
          </p:nvPr>
        </p:nvSpPr>
        <p:spPr>
          <a:xfrm>
            <a:off x="571500" y="2792795"/>
            <a:ext cx="4179404" cy="1661993"/>
          </a:xfrm>
          <a:prstGeom prst="rect">
            <a:avLst/>
          </a:prstGeom>
        </p:spPr>
        <p:txBody>
          <a:bodyPr/>
          <a:lstStyle/>
          <a:p>
            <a:r>
              <a:rPr lang="en-US" spc="0"/>
              <a:t>Discover agents that are relevant for you</a:t>
            </a:r>
          </a:p>
        </p:txBody>
      </p:sp>
    </p:spTree>
    <p:extLst>
      <p:ext uri="{BB962C8B-B14F-4D97-AF65-F5344CB8AC3E}">
        <p14:creationId xmlns:p14="http://schemas.microsoft.com/office/powerpoint/2010/main" val="161942565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615AF2-E8EF-C412-4229-22CF042E350A}"/>
            </a:ext>
          </a:extLst>
        </p:cNvPr>
        <p:cNvGrpSpPr/>
        <p:nvPr/>
      </p:nvGrpSpPr>
      <p:grpSpPr>
        <a:xfrm>
          <a:off x="0" y="0"/>
          <a:ext cx="0" cy="0"/>
          <a:chOff x="0" y="0"/>
          <a:chExt cx="0" cy="0"/>
        </a:xfrm>
      </p:grpSpPr>
      <p:sp>
        <p:nvSpPr>
          <p:cNvPr id="4" name="Rectangle: Top Corners Rounded 22">
            <a:extLst>
              <a:ext uri="{FF2B5EF4-FFF2-40B4-BE49-F238E27FC236}">
                <a16:creationId xmlns:a16="http://schemas.microsoft.com/office/drawing/2014/main" id="{022DBF32-04C1-7B0C-13CB-E995F30CA4BD}"/>
              </a:ext>
              <a:ext uri="{C183D7F6-B498-43B3-948B-1728B52AA6E4}">
                <adec:decorative xmlns:adec="http://schemas.microsoft.com/office/drawing/2017/decorative" val="1"/>
              </a:ext>
            </a:extLst>
          </p:cNvPr>
          <p:cNvSpPr>
            <a:spLocks/>
          </p:cNvSpPr>
          <p:nvPr/>
        </p:nvSpPr>
        <p:spPr bwMode="auto">
          <a:xfrm rot="10800000">
            <a:off x="586899" y="4035966"/>
            <a:ext cx="11008836" cy="2364833"/>
          </a:xfrm>
          <a:prstGeom prst="round2SameRect">
            <a:avLst>
              <a:gd name="adj1" fmla="val 4552"/>
              <a:gd name="adj2" fmla="val 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 name="Rounded Rectangle 64">
            <a:extLst>
              <a:ext uri="{FF2B5EF4-FFF2-40B4-BE49-F238E27FC236}">
                <a16:creationId xmlns:a16="http://schemas.microsoft.com/office/drawing/2014/main" id="{4EE362DD-8310-76C0-06CF-21E3A8F94662}"/>
              </a:ext>
              <a:ext uri="{C183D7F6-B498-43B3-948B-1728B52AA6E4}">
                <adec:decorative xmlns:adec="http://schemas.microsoft.com/office/drawing/2017/decorative" val="1"/>
              </a:ext>
            </a:extLst>
          </p:cNvPr>
          <p:cNvSpPr>
            <a:spLocks/>
          </p:cNvSpPr>
          <p:nvPr/>
        </p:nvSpPr>
        <p:spPr bwMode="auto">
          <a:xfrm>
            <a:off x="587851" y="1318499"/>
            <a:ext cx="11017250" cy="5082301"/>
          </a:xfrm>
          <a:prstGeom prst="roundRect">
            <a:avLst>
              <a:gd name="adj" fmla="val 2401"/>
            </a:avLst>
          </a:prstGeom>
          <a:no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noFill/>
              <a:effectLst/>
              <a:uLnTx/>
              <a:uFillTx/>
              <a:latin typeface="Segoe UI Variable Small Semibol" pitchFamily="2" charset="0"/>
              <a:ea typeface="+mn-ea"/>
              <a:cs typeface="+mn-cs"/>
            </a:endParaRPr>
          </a:p>
        </p:txBody>
      </p:sp>
      <p:cxnSp>
        <p:nvCxnSpPr>
          <p:cNvPr id="6" name="Straight Connector 5">
            <a:extLst>
              <a:ext uri="{FF2B5EF4-FFF2-40B4-BE49-F238E27FC236}">
                <a16:creationId xmlns:a16="http://schemas.microsoft.com/office/drawing/2014/main" id="{3E20F57C-507C-5DAB-6E43-721E56598217}"/>
              </a:ext>
              <a:ext uri="{C183D7F6-B498-43B3-948B-1728B52AA6E4}">
                <adec:decorative xmlns:adec="http://schemas.microsoft.com/office/drawing/2017/decorative" val="1"/>
              </a:ext>
            </a:extLst>
          </p:cNvPr>
          <p:cNvCxnSpPr>
            <a:cxnSpLocks/>
          </p:cNvCxnSpPr>
          <p:nvPr/>
        </p:nvCxnSpPr>
        <p:spPr>
          <a:xfrm>
            <a:off x="4288088" y="4246359"/>
            <a:ext cx="0" cy="192024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F6B1141-37A0-6D19-DDD1-2B2288864683}"/>
              </a:ext>
              <a:ext uri="{C183D7F6-B498-43B3-948B-1728B52AA6E4}">
                <adec:decorative xmlns:adec="http://schemas.microsoft.com/office/drawing/2017/decorative" val="1"/>
              </a:ext>
            </a:extLst>
          </p:cNvPr>
          <p:cNvCxnSpPr>
            <a:cxnSpLocks/>
          </p:cNvCxnSpPr>
          <p:nvPr/>
        </p:nvCxnSpPr>
        <p:spPr>
          <a:xfrm>
            <a:off x="7903911" y="4246359"/>
            <a:ext cx="0" cy="192024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9">
            <a:extLst>
              <a:ext uri="{FF2B5EF4-FFF2-40B4-BE49-F238E27FC236}">
                <a16:creationId xmlns:a16="http://schemas.microsoft.com/office/drawing/2014/main" id="{D9202121-5DFC-80AD-622D-22ABC6EAD6B7}"/>
              </a:ext>
            </a:extLst>
          </p:cNvPr>
          <p:cNvSpPr txBox="1">
            <a:spLocks noGrp="1"/>
          </p:cNvSpPr>
          <p:nvPr>
            <p:ph type="title" idx="4294967295"/>
          </p:nvPr>
        </p:nvSpPr>
        <p:spPr>
          <a:xfrm>
            <a:off x="628703" y="457200"/>
            <a:ext cx="11017250"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20" normalizeH="0" baseline="0" noProof="0">
                <a:ln>
                  <a:noFill/>
                </a:ln>
                <a:solidFill>
                  <a:srgbClr val="000000"/>
                </a:solidFill>
                <a:effectLst/>
                <a:uLnTx/>
                <a:uFillTx/>
                <a:latin typeface="Segoe Sans Display Semibold" pitchFamily="2" charset="0"/>
                <a:ea typeface="+mn-ea"/>
                <a:cs typeface="Segoe Sans Display Semibold" pitchFamily="2" charset="0"/>
              </a:rPr>
              <a:t>Agent Store</a:t>
            </a:r>
          </a:p>
        </p:txBody>
      </p:sp>
      <p:sp>
        <p:nvSpPr>
          <p:cNvPr id="8" name="TextBox 7">
            <a:extLst>
              <a:ext uri="{FF2B5EF4-FFF2-40B4-BE49-F238E27FC236}">
                <a16:creationId xmlns:a16="http://schemas.microsoft.com/office/drawing/2014/main" id="{AF1D1761-1518-4750-A0B5-ED7B0BF60115}"/>
              </a:ext>
            </a:extLst>
          </p:cNvPr>
          <p:cNvSpPr txBox="1"/>
          <p:nvPr/>
        </p:nvSpPr>
        <p:spPr>
          <a:xfrm>
            <a:off x="868680" y="4279392"/>
            <a:ext cx="321868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w="3175">
                  <a:noFill/>
                </a:ln>
                <a:solidFill>
                  <a:srgbClr val="0078D4"/>
                </a:solidFill>
                <a:effectLst/>
                <a:uLnTx/>
                <a:uFillTx/>
                <a:latin typeface="Segoe Sans Display Semibold" pitchFamily="2" charset="0"/>
                <a:ea typeface="+mn-ea"/>
                <a:cs typeface="Segoe Sans Display Semibold" pitchFamily="2" charset="0"/>
              </a:rPr>
              <a:t>Discover agents</a:t>
            </a:r>
          </a:p>
        </p:txBody>
      </p:sp>
      <p:sp>
        <p:nvSpPr>
          <p:cNvPr id="9" name="TextBox 8">
            <a:extLst>
              <a:ext uri="{FF2B5EF4-FFF2-40B4-BE49-F238E27FC236}">
                <a16:creationId xmlns:a16="http://schemas.microsoft.com/office/drawing/2014/main" id="{F4E4539B-D459-6AA8-6F95-40F34FCE854F}"/>
              </a:ext>
            </a:extLst>
          </p:cNvPr>
          <p:cNvSpPr txBox="1"/>
          <p:nvPr/>
        </p:nvSpPr>
        <p:spPr>
          <a:xfrm>
            <a:off x="4486656" y="4279392"/>
            <a:ext cx="3218688" cy="276999"/>
          </a:xfrm>
          <a:prstGeom prst="rect">
            <a:avLst/>
          </a:prstGeom>
          <a:noFill/>
        </p:spPr>
        <p:txBody>
          <a:bodyPr wrap="square" lIns="0" tIns="0" rIns="0" bIns="0" rtlCol="0" anchor="ctr">
            <a:noAutofit/>
          </a:bodyPr>
          <a:lstStyle>
            <a:defPPr>
              <a:defRPr lang="en-US"/>
            </a:defPPr>
            <a:lvl1pPr marR="0" lvl="0" indent="0" algn="ctr" fontAlgn="auto">
              <a:spcBef>
                <a:spcPts val="0"/>
              </a:spcBef>
              <a:spcAft>
                <a:spcPts val="0"/>
              </a:spcAft>
              <a:buClrTx/>
              <a:buSzTx/>
              <a:buFontTx/>
              <a:buNone/>
              <a:tabLst/>
              <a:defRPr kumimoji="0" sz="2000" b="1" u="none" strike="noStrike" cap="none" spc="0" normalizeH="0" baseline="0">
                <a:ln w="3175">
                  <a:noFill/>
                </a:ln>
                <a:solidFill>
                  <a:srgbClr val="865FC4"/>
                </a:solidFill>
                <a:effectLst/>
                <a:uLnTx/>
                <a:uFillTx/>
                <a:latin typeface="Segoe Sans Display Semibold" pitchFamily="2" charset="0"/>
                <a:cs typeface="Segoe Sans Display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3175">
                  <a:noFill/>
                </a:ln>
                <a:solidFill>
                  <a:srgbClr val="865FC4"/>
                </a:solidFill>
                <a:effectLst/>
                <a:uLnTx/>
                <a:uFillTx/>
                <a:latin typeface="Segoe Sans Display Semibold" pitchFamily="2" charset="0"/>
                <a:ea typeface="+mn-ea"/>
                <a:cs typeface="Segoe Sans Display Semibold" pitchFamily="2" charset="0"/>
              </a:rPr>
              <a:t>Deploy quickly</a:t>
            </a:r>
          </a:p>
        </p:txBody>
      </p:sp>
      <p:sp>
        <p:nvSpPr>
          <p:cNvPr id="10" name="TextBox 9">
            <a:extLst>
              <a:ext uri="{FF2B5EF4-FFF2-40B4-BE49-F238E27FC236}">
                <a16:creationId xmlns:a16="http://schemas.microsoft.com/office/drawing/2014/main" id="{7858E1BA-4FE5-0E3B-E6FF-52395D9C499E}"/>
              </a:ext>
            </a:extLst>
          </p:cNvPr>
          <p:cNvSpPr txBox="1"/>
          <p:nvPr/>
        </p:nvSpPr>
        <p:spPr>
          <a:xfrm>
            <a:off x="8101584" y="4279392"/>
            <a:ext cx="3218688" cy="276999"/>
          </a:xfrm>
          <a:prstGeom prst="rect">
            <a:avLst/>
          </a:prstGeom>
          <a:noFill/>
        </p:spPr>
        <p:txBody>
          <a:bodyPr wrap="square" lIns="0" tIns="0" rIns="0" bIns="0" rtlCol="0" anchor="ctr">
            <a:noAutofit/>
          </a:bodyPr>
          <a:lstStyle>
            <a:defPPr>
              <a:defRPr lang="en-US"/>
            </a:defPPr>
            <a:lvl1pPr marR="0" lvl="0" indent="0" algn="ctr" fontAlgn="auto">
              <a:spcBef>
                <a:spcPts val="0"/>
              </a:spcBef>
              <a:spcAft>
                <a:spcPts val="0"/>
              </a:spcAft>
              <a:buClrTx/>
              <a:buSzTx/>
              <a:buFontTx/>
              <a:buNone/>
              <a:tabLst/>
              <a:defRPr kumimoji="0" sz="2000" b="1" u="none" strike="noStrike" cap="none" spc="0" normalizeH="0" baseline="0">
                <a:ln w="3175">
                  <a:noFill/>
                </a:ln>
                <a:solidFill>
                  <a:srgbClr val="B447C8"/>
                </a:solidFill>
                <a:effectLst/>
                <a:uLnTx/>
                <a:uFillTx/>
                <a:latin typeface="Segoe Sans Display Semibold" pitchFamily="2" charset="0"/>
                <a:cs typeface="Segoe Sans Display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3175">
                  <a:noFill/>
                </a:ln>
                <a:solidFill>
                  <a:srgbClr val="B447C8"/>
                </a:solidFill>
                <a:effectLst/>
                <a:uLnTx/>
                <a:uFillTx/>
                <a:latin typeface="Segoe Sans Display Semibold" pitchFamily="2" charset="0"/>
                <a:ea typeface="+mn-ea"/>
                <a:cs typeface="Segoe Sans Display Semibold" pitchFamily="2" charset="0"/>
              </a:rPr>
              <a:t>Admin control </a:t>
            </a:r>
          </a:p>
        </p:txBody>
      </p:sp>
      <p:sp>
        <p:nvSpPr>
          <p:cNvPr id="27" name="Content Placeholder 26">
            <a:extLst>
              <a:ext uri="{FF2B5EF4-FFF2-40B4-BE49-F238E27FC236}">
                <a16:creationId xmlns:a16="http://schemas.microsoft.com/office/drawing/2014/main" id="{79637525-D0FE-62AB-CE18-DBCF765F1ECF}"/>
              </a:ext>
            </a:extLst>
          </p:cNvPr>
          <p:cNvSpPr txBox="1">
            <a:spLocks/>
          </p:cNvSpPr>
          <p:nvPr/>
        </p:nvSpPr>
        <p:spPr>
          <a:xfrm>
            <a:off x="868680" y="4736592"/>
            <a:ext cx="3218688" cy="1086901"/>
          </a:xfrm>
          <a:prstGeom prst="rect">
            <a:avLst/>
          </a:prstGeom>
        </p:spPr>
        <p:txBody>
          <a:bodyPr vert="horz" wrap="square" lIns="0" tIns="0" rIns="0" bIns="0" rtlCol="0" anchor="t">
            <a:spAutoFit/>
          </a:bodyPr>
          <a:lstStyle>
            <a:lvl1pPr marL="104400" indent="-105750" algn="l" defTabSz="914400" rtl="0" eaLnBrk="1" latinLnBrk="0" hangingPunct="1">
              <a:lnSpc>
                <a:spcPct val="113000"/>
              </a:lnSpc>
              <a:spcBef>
                <a:spcPts val="360"/>
              </a:spcBef>
              <a:spcAft>
                <a:spcPts val="600"/>
              </a:spcAft>
              <a:buClr>
                <a:srgbClr val="000000"/>
              </a:buClr>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1pPr>
            <a:lvl2pPr marL="3564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2pPr>
            <a:lvl3pPr marL="7416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3pPr>
            <a:lvl4pPr marL="11988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4pPr>
            <a:lvl5pPr marL="16560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3000"/>
              </a:lnSpc>
              <a:spcBef>
                <a:spcPts val="600"/>
              </a:spcBef>
              <a:spcAft>
                <a:spcPts val="1200"/>
              </a:spcAft>
              <a:buClr>
                <a:srgbClr val="000000"/>
              </a:buClr>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Segoe Sans Display"/>
              </a:rPr>
              <a:t>Personalized experience on an integrated platform to discover agents from Microsoft, partners, and your own organization.</a:t>
            </a:r>
          </a:p>
        </p:txBody>
      </p:sp>
      <p:sp>
        <p:nvSpPr>
          <p:cNvPr id="28" name="Content Placeholder 26">
            <a:extLst>
              <a:ext uri="{FF2B5EF4-FFF2-40B4-BE49-F238E27FC236}">
                <a16:creationId xmlns:a16="http://schemas.microsoft.com/office/drawing/2014/main" id="{63F6A5CE-A4D0-C605-6711-686E50C56D3E}"/>
              </a:ext>
            </a:extLst>
          </p:cNvPr>
          <p:cNvSpPr txBox="1">
            <a:spLocks/>
          </p:cNvSpPr>
          <p:nvPr/>
        </p:nvSpPr>
        <p:spPr>
          <a:xfrm>
            <a:off x="4486656" y="4736592"/>
            <a:ext cx="3218688" cy="1086901"/>
          </a:xfrm>
          <a:prstGeom prst="rect">
            <a:avLst/>
          </a:prstGeom>
        </p:spPr>
        <p:txBody>
          <a:bodyPr vert="horz" wrap="square" lIns="0" tIns="0" rIns="0" bIns="0" rtlCol="0" anchor="t">
            <a:spAutoFit/>
          </a:bodyPr>
          <a:lstStyle>
            <a:lvl1pPr marL="104400" indent="-105750" algn="l" defTabSz="914400" rtl="0" eaLnBrk="1" latinLnBrk="0" hangingPunct="1">
              <a:lnSpc>
                <a:spcPct val="113000"/>
              </a:lnSpc>
              <a:spcBef>
                <a:spcPts val="360"/>
              </a:spcBef>
              <a:spcAft>
                <a:spcPts val="600"/>
              </a:spcAft>
              <a:buClr>
                <a:srgbClr val="000000"/>
              </a:buClr>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1pPr>
            <a:lvl2pPr marL="3564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2pPr>
            <a:lvl3pPr marL="7416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3pPr>
            <a:lvl4pPr marL="11988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4pPr>
            <a:lvl5pPr marL="16560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3000"/>
              </a:lnSpc>
              <a:spcBef>
                <a:spcPts val="600"/>
              </a:spcBef>
              <a:spcAft>
                <a:spcPts val="1200"/>
              </a:spcAft>
              <a:buClr>
                <a:srgbClr val="000000"/>
              </a:buClr>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Segoe Sans Display"/>
              </a:rPr>
              <a:t>Accelerate results with ready-to-deploy agents that help boost efficiency and enable smarter decisions. </a:t>
            </a:r>
          </a:p>
        </p:txBody>
      </p:sp>
      <p:sp>
        <p:nvSpPr>
          <p:cNvPr id="29" name="Content Placeholder 26">
            <a:extLst>
              <a:ext uri="{FF2B5EF4-FFF2-40B4-BE49-F238E27FC236}">
                <a16:creationId xmlns:a16="http://schemas.microsoft.com/office/drawing/2014/main" id="{F9F31F9D-75DD-CD78-8525-B79FC0806B02}"/>
              </a:ext>
            </a:extLst>
          </p:cNvPr>
          <p:cNvSpPr txBox="1">
            <a:spLocks/>
          </p:cNvSpPr>
          <p:nvPr/>
        </p:nvSpPr>
        <p:spPr>
          <a:xfrm>
            <a:off x="8101584" y="4736592"/>
            <a:ext cx="3218688" cy="808683"/>
          </a:xfrm>
          <a:prstGeom prst="rect">
            <a:avLst/>
          </a:prstGeom>
        </p:spPr>
        <p:txBody>
          <a:bodyPr vert="horz" wrap="square" lIns="0" tIns="0" rIns="0" bIns="0" rtlCol="0" anchor="t">
            <a:spAutoFit/>
          </a:bodyPr>
          <a:lstStyle>
            <a:lvl1pPr marL="104400" indent="-105750" algn="l" defTabSz="914400" rtl="0" eaLnBrk="1" latinLnBrk="0" hangingPunct="1">
              <a:lnSpc>
                <a:spcPct val="113000"/>
              </a:lnSpc>
              <a:spcBef>
                <a:spcPts val="360"/>
              </a:spcBef>
              <a:spcAft>
                <a:spcPts val="600"/>
              </a:spcAft>
              <a:buClr>
                <a:srgbClr val="000000"/>
              </a:buClr>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1pPr>
            <a:lvl2pPr marL="3564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2pPr>
            <a:lvl3pPr marL="7416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3pPr>
            <a:lvl4pPr marL="11988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4pPr>
            <a:lvl5pPr marL="16560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3000"/>
              </a:lnSpc>
              <a:spcBef>
                <a:spcPts val="600"/>
              </a:spcBef>
              <a:spcAft>
                <a:spcPts val="1200"/>
              </a:spcAft>
              <a:buClr>
                <a:srgbClr val="000000"/>
              </a:buClr>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Segoe Sans Display"/>
              </a:rPr>
              <a:t>Agents are validated for security, compliance, and performance, and IT retains full control and oversight.  </a:t>
            </a:r>
          </a:p>
        </p:txBody>
      </p:sp>
      <p:pic>
        <p:nvPicPr>
          <p:cNvPr id="2" name="Picture 1" descr="A screenshot of a computer&#10;&#10;AI-generated content may be incorrect.">
            <a:extLst>
              <a:ext uri="{FF2B5EF4-FFF2-40B4-BE49-F238E27FC236}">
                <a16:creationId xmlns:a16="http://schemas.microsoft.com/office/drawing/2014/main" id="{3C6A1E38-931F-7F5E-F461-E14962EDB6D5}"/>
              </a:ext>
            </a:extLst>
          </p:cNvPr>
          <p:cNvPicPr>
            <a:picLocks noChangeAspect="1"/>
          </p:cNvPicPr>
          <p:nvPr/>
        </p:nvPicPr>
        <p:blipFill>
          <a:blip r:embed="rId3"/>
          <a:stretch>
            <a:fillRect/>
          </a:stretch>
        </p:blipFill>
        <p:spPr>
          <a:xfrm>
            <a:off x="981399" y="1718949"/>
            <a:ext cx="3057652" cy="1828800"/>
          </a:xfrm>
          <a:prstGeom prst="roundRect">
            <a:avLst>
              <a:gd name="adj" fmla="val 1531"/>
            </a:avLst>
          </a:prstGeom>
          <a:solidFill>
            <a:sysClr val="window" lastClr="FFFFFF"/>
          </a:solidFill>
          <a:effectLst>
            <a:outerShdw blurRad="120303" dist="87506" dir="3600000" sx="102443" sy="102443" algn="tl" rotWithShape="0">
              <a:prstClr val="black">
                <a:alpha val="8000"/>
              </a:prstClr>
            </a:outerShdw>
          </a:effectLst>
        </p:spPr>
      </p:pic>
      <p:pic>
        <p:nvPicPr>
          <p:cNvPr id="30" name="Picture 29" descr="A screenshot of a computer&#10;&#10;AI-generated content may be incorrect.">
            <a:extLst>
              <a:ext uri="{FF2B5EF4-FFF2-40B4-BE49-F238E27FC236}">
                <a16:creationId xmlns:a16="http://schemas.microsoft.com/office/drawing/2014/main" id="{5482E007-D8D9-3CFA-0950-1B7354E8287E}"/>
              </a:ext>
            </a:extLst>
          </p:cNvPr>
          <p:cNvPicPr>
            <a:picLocks noChangeAspect="1"/>
          </p:cNvPicPr>
          <p:nvPr/>
        </p:nvPicPr>
        <p:blipFill>
          <a:blip r:embed="rId4"/>
          <a:stretch>
            <a:fillRect/>
          </a:stretch>
        </p:blipFill>
        <p:spPr>
          <a:xfrm>
            <a:off x="8098650" y="1718949"/>
            <a:ext cx="3138211" cy="1828800"/>
          </a:xfrm>
          <a:prstGeom prst="roundRect">
            <a:avLst>
              <a:gd name="adj" fmla="val 1531"/>
            </a:avLst>
          </a:prstGeom>
          <a:solidFill>
            <a:sysClr val="window" lastClr="FFFFFF"/>
          </a:solidFill>
          <a:effectLst>
            <a:outerShdw blurRad="120303" dist="87506" dir="3600000" sx="102443" sy="102443" algn="tl" rotWithShape="0">
              <a:prstClr val="black">
                <a:alpha val="8000"/>
              </a:prstClr>
            </a:outerShdw>
          </a:effectLst>
        </p:spPr>
      </p:pic>
      <p:pic>
        <p:nvPicPr>
          <p:cNvPr id="31" name="Picture 30" descr="A screenshot of a web page&#10;&#10;AI-generated content may be incorrect.">
            <a:extLst>
              <a:ext uri="{FF2B5EF4-FFF2-40B4-BE49-F238E27FC236}">
                <a16:creationId xmlns:a16="http://schemas.microsoft.com/office/drawing/2014/main" id="{44D20025-30F6-F5DD-0FFA-209F26D11A0D}"/>
              </a:ext>
            </a:extLst>
          </p:cNvPr>
          <p:cNvPicPr>
            <a:picLocks noChangeAspect="1"/>
          </p:cNvPicPr>
          <p:nvPr/>
        </p:nvPicPr>
        <p:blipFill>
          <a:blip r:embed="rId5"/>
          <a:stretch>
            <a:fillRect/>
          </a:stretch>
        </p:blipFill>
        <p:spPr>
          <a:xfrm>
            <a:off x="5339394" y="1562158"/>
            <a:ext cx="1513213" cy="2142383"/>
          </a:xfrm>
          <a:prstGeom prst="roundRect">
            <a:avLst>
              <a:gd name="adj" fmla="val 1531"/>
            </a:avLst>
          </a:prstGeom>
          <a:solidFill>
            <a:sysClr val="window" lastClr="FFFFFF"/>
          </a:solidFill>
          <a:effectLst>
            <a:outerShdw blurRad="120303" dist="87506" dir="3600000" sx="102443" sy="102443" algn="tl" rotWithShape="0">
              <a:prstClr val="black">
                <a:alpha val="8000"/>
              </a:prstClr>
            </a:outerShdw>
          </a:effectLst>
        </p:spPr>
      </p:pic>
      <p:sp>
        <p:nvSpPr>
          <p:cNvPr id="11" name="Rectangle: Rounded Corners 5">
            <a:extLst>
              <a:ext uri="{FF2B5EF4-FFF2-40B4-BE49-F238E27FC236}">
                <a16:creationId xmlns:a16="http://schemas.microsoft.com/office/drawing/2014/main" id="{3A08A90C-8C1B-8D39-E67F-435B04AFEB03}"/>
              </a:ext>
              <a:ext uri="{C183D7F6-B498-43B3-948B-1728B52AA6E4}">
                <adec:decorative xmlns:adec="http://schemas.microsoft.com/office/drawing/2017/decorative" val="1"/>
              </a:ext>
            </a:extLst>
          </p:cNvPr>
          <p:cNvSpPr>
            <a:spLocks/>
          </p:cNvSpPr>
          <p:nvPr/>
        </p:nvSpPr>
        <p:spPr bwMode="auto">
          <a:xfrm flipV="1">
            <a:off x="838200" y="4009519"/>
            <a:ext cx="10515600" cy="45720"/>
          </a:xfrm>
          <a:prstGeom prst="roundRect">
            <a:avLst>
              <a:gd name="adj" fmla="val 50000"/>
            </a:avLst>
          </a:prstGeom>
          <a:gradFill flip="none" rotWithShape="1">
            <a:gsLst>
              <a:gs pos="8000">
                <a:srgbClr val="3E76D4"/>
              </a:gs>
              <a:gs pos="59000">
                <a:srgbClr val="8661C5"/>
              </a:gs>
              <a:gs pos="94000">
                <a:srgbClr val="C73ECC"/>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highlight>
                <a:srgbClr val="FF0000"/>
              </a:highligh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7042FE27-E91D-DC08-F061-48D866455EF1}"/>
              </a:ext>
              <a:ext uri="{C183D7F6-B498-43B3-948B-1728B52AA6E4}">
                <adec:decorative xmlns:adec="http://schemas.microsoft.com/office/drawing/2017/decorative" val="1"/>
              </a:ext>
            </a:extLst>
          </p:cNvPr>
          <p:cNvSpPr/>
          <p:nvPr/>
        </p:nvSpPr>
        <p:spPr bwMode="auto">
          <a:xfrm>
            <a:off x="2409121" y="3956770"/>
            <a:ext cx="142112" cy="142112"/>
          </a:xfrm>
          <a:prstGeom prst="ellipse">
            <a:avLst/>
          </a:prstGeom>
          <a:solidFill>
            <a:srgbClr val="516FCE"/>
          </a:solidFill>
          <a:ln w="31750">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3" name="Oval 12">
            <a:extLst>
              <a:ext uri="{FF2B5EF4-FFF2-40B4-BE49-F238E27FC236}">
                <a16:creationId xmlns:a16="http://schemas.microsoft.com/office/drawing/2014/main" id="{326E1F45-5C15-2FA8-43D2-639B9D0F045F}"/>
              </a:ext>
              <a:ext uri="{C183D7F6-B498-43B3-948B-1728B52AA6E4}">
                <adec:decorative xmlns:adec="http://schemas.microsoft.com/office/drawing/2017/decorative" val="1"/>
              </a:ext>
            </a:extLst>
          </p:cNvPr>
          <p:cNvSpPr/>
          <p:nvPr/>
        </p:nvSpPr>
        <p:spPr bwMode="auto">
          <a:xfrm>
            <a:off x="6024944" y="3966396"/>
            <a:ext cx="142112" cy="142112"/>
          </a:xfrm>
          <a:prstGeom prst="ellipse">
            <a:avLst/>
          </a:prstGeom>
          <a:solidFill>
            <a:srgbClr val="865FC4"/>
          </a:solidFill>
          <a:ln w="31750">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4" name="Oval 13">
            <a:extLst>
              <a:ext uri="{FF2B5EF4-FFF2-40B4-BE49-F238E27FC236}">
                <a16:creationId xmlns:a16="http://schemas.microsoft.com/office/drawing/2014/main" id="{09A2D021-DDE5-3AB3-7BE0-ED11B748A26F}"/>
              </a:ext>
              <a:ext uri="{C183D7F6-B498-43B3-948B-1728B52AA6E4}">
                <adec:decorative xmlns:adec="http://schemas.microsoft.com/office/drawing/2017/decorative" val="1"/>
              </a:ext>
            </a:extLst>
          </p:cNvPr>
          <p:cNvSpPr/>
          <p:nvPr/>
        </p:nvSpPr>
        <p:spPr bwMode="auto">
          <a:xfrm>
            <a:off x="9640767" y="3963329"/>
            <a:ext cx="142112" cy="142112"/>
          </a:xfrm>
          <a:prstGeom prst="ellipse">
            <a:avLst/>
          </a:prstGeom>
          <a:solidFill>
            <a:srgbClr val="B447C8"/>
          </a:solidFill>
          <a:ln w="31750">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407653727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518D9E-C28B-B8AF-9A56-86729AD266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3B50429-2B2A-3D7B-C4B3-D8A6D3957B75}"/>
              </a:ext>
            </a:extLst>
          </p:cNvPr>
          <p:cNvSpPr>
            <a:spLocks noGrp="1"/>
          </p:cNvSpPr>
          <p:nvPr>
            <p:ph type="title"/>
          </p:nvPr>
        </p:nvSpPr>
        <p:spPr>
          <a:xfrm>
            <a:off x="571500" y="2792795"/>
            <a:ext cx="4179404" cy="2308324"/>
          </a:xfrm>
          <a:prstGeom prst="rect">
            <a:avLst/>
          </a:prstGeom>
        </p:spPr>
        <p:txBody>
          <a:bodyPr/>
          <a:lstStyle/>
          <a:p>
            <a:r>
              <a:rPr lang="en-US" spc="0"/>
              <a:t>Introduction to Agent Templates in Copilot Studio </a:t>
            </a:r>
            <a:r>
              <a:rPr lang="en-US"/>
              <a:t>a</a:t>
            </a:r>
            <a:r>
              <a:rPr lang="en-US" spc="0"/>
              <a:t>gent </a:t>
            </a:r>
            <a:r>
              <a:rPr lang="en-US"/>
              <a:t>b</a:t>
            </a:r>
            <a:r>
              <a:rPr lang="en-US" spc="0"/>
              <a:t>uilder </a:t>
            </a:r>
          </a:p>
        </p:txBody>
      </p:sp>
    </p:spTree>
    <p:extLst>
      <p:ext uri="{BB962C8B-B14F-4D97-AF65-F5344CB8AC3E}">
        <p14:creationId xmlns:p14="http://schemas.microsoft.com/office/powerpoint/2010/main" val="108851660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02426-9614-AEB5-A26F-E16A46E832C0}"/>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5FFF8217-2FB4-BAEC-ECF9-751D8D629A47}"/>
              </a:ext>
            </a:extLst>
          </p:cNvPr>
          <p:cNvSpPr txBox="1">
            <a:spLocks noGrp="1"/>
          </p:cNvSpPr>
          <p:nvPr>
            <p:ph type="title"/>
          </p:nvPr>
        </p:nvSpPr>
        <p:spPr>
          <a:xfrm>
            <a:off x="588263" y="364487"/>
            <a:ext cx="1101852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en-US" sz="3200">
                <a:cs typeface="Segoe UI"/>
              </a:rPr>
              <a:t>Start creating agents using Agent Templates </a:t>
            </a:r>
            <a:endParaRPr lang="en-US" sz="3200" b="0" i="0" u="none" strike="noStrike" kern="1200" cap="none" spc="-50" normalizeH="0" baseline="0" noProof="0">
              <a:ln w="3175">
                <a:noFill/>
              </a:ln>
              <a:solidFill>
                <a:srgbClr val="000000"/>
              </a:solidFill>
              <a:effectLst/>
              <a:uLnTx/>
              <a:uFillTx/>
              <a:latin typeface="Segoe UI Semibold"/>
              <a:cs typeface="Segoe UI"/>
            </a:endParaRPr>
          </a:p>
        </p:txBody>
      </p:sp>
      <p:sp>
        <p:nvSpPr>
          <p:cNvPr id="19" name="TextBox 18">
            <a:extLst>
              <a:ext uri="{FF2B5EF4-FFF2-40B4-BE49-F238E27FC236}">
                <a16:creationId xmlns:a16="http://schemas.microsoft.com/office/drawing/2014/main" id="{155CF905-F19F-5BBD-2201-3DBB9C8DE01A}"/>
              </a:ext>
            </a:extLst>
          </p:cNvPr>
          <p:cNvSpPr txBox="1"/>
          <p:nvPr/>
        </p:nvSpPr>
        <p:spPr>
          <a:xfrm>
            <a:off x="527431" y="860814"/>
            <a:ext cx="11079351" cy="138499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hlinkClick r:id="rId3"/>
              </a:rPr>
              <a:t>Agent Templates </a:t>
            </a:r>
            <a:r>
              <a:rPr kumimoji="0" lang="en-US" sz="1400" b="0" i="0" u="none" strike="noStrike" kern="1200" cap="none" spc="0" normalizeH="0" baseline="0" noProof="0">
                <a:ln>
                  <a:noFill/>
                </a:ln>
                <a:solidFill>
                  <a:srgbClr val="000000"/>
                </a:solidFill>
                <a:effectLst/>
                <a:uLnTx/>
                <a:uFillTx/>
                <a:latin typeface="Segoe UI"/>
                <a:ea typeface="+mn-ea"/>
                <a:cs typeface="+mn-cs"/>
              </a:rPr>
              <a:t>are part of Copilot Studio agent builder </a:t>
            </a:r>
            <a:endParaRPr lang="en-US" sz="1400" b="0" i="0" u="none" strike="noStrike" kern="1200" cap="none" spc="0" normalizeH="0" baseline="0" noProof="0">
              <a:ln>
                <a:noFill/>
              </a:ln>
              <a:solidFill>
                <a:srgbClr val="000000"/>
              </a:solidFill>
              <a:effectLst/>
              <a:uLnTx/>
              <a:uFillTx/>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cap="none" spc="0" normalizeH="0" baseline="0" noProof="0">
              <a:ln>
                <a:noFill/>
              </a:ln>
              <a:solidFill>
                <a:srgbClr val="000000"/>
              </a:solidFill>
              <a:effectLst/>
              <a:uLnTx/>
              <a:uFillTx/>
              <a:latin typeface="Segoe UI"/>
              <a:cs typeface="Segoe UI"/>
            </a:endParaRPr>
          </a:p>
          <a:p>
            <a:pPr defTabSz="914400">
              <a:defRPr/>
            </a:pPr>
            <a:r>
              <a:rPr kumimoji="0" lang="en-US" sz="1400" b="0" i="0" u="none" strike="noStrike" kern="1200" cap="none" spc="0" normalizeH="0" baseline="0" noProof="0">
                <a:ln>
                  <a:noFill/>
                </a:ln>
                <a:solidFill>
                  <a:srgbClr val="000000"/>
                </a:solidFill>
                <a:effectLst/>
                <a:uLnTx/>
                <a:uFillTx/>
                <a:latin typeface="Segoe Sans Display Semibold"/>
                <a:cs typeface="Segoe Sans Display Semibold"/>
              </a:rPr>
              <a:t>Get started with agent templates </a:t>
            </a:r>
            <a:r>
              <a:rPr kumimoji="0" lang="en-US" sz="1400" b="0" i="0" u="none" strike="noStrike" kern="1200" cap="none" spc="0" normalizeH="0" baseline="0" noProof="0">
                <a:ln>
                  <a:noFill/>
                </a:ln>
                <a:solidFill>
                  <a:srgbClr val="000000"/>
                </a:solidFill>
                <a:effectLst/>
                <a:uLnTx/>
                <a:uFillTx/>
                <a:latin typeface="Segoe UI"/>
                <a:ea typeface="+mn-ea"/>
                <a:cs typeface="+mn-cs"/>
              </a:rPr>
              <a:t>by selecting “</a:t>
            </a:r>
            <a:r>
              <a:rPr lang="en-US" sz="1400">
                <a:solidFill>
                  <a:srgbClr val="000000"/>
                </a:solidFill>
                <a:latin typeface="Segoe UI"/>
              </a:rPr>
              <a:t>New agent</a:t>
            </a:r>
            <a:r>
              <a:rPr kumimoji="0" lang="en-US" sz="1400" b="0" i="0" u="none" strike="noStrike" kern="1200" cap="none" spc="0" normalizeH="0" baseline="0" noProof="0">
                <a:ln>
                  <a:noFill/>
                </a:ln>
                <a:solidFill>
                  <a:srgbClr val="000000"/>
                </a:solidFill>
                <a:effectLst/>
                <a:uLnTx/>
                <a:uFillTx/>
                <a:latin typeface="Segoe UI"/>
                <a:ea typeface="+mn-ea"/>
                <a:cs typeface="+mn-cs"/>
              </a:rPr>
              <a:t>” in the left hand pane of Copilot Chat. Search for a specific template or browse the library.</a:t>
            </a:r>
            <a:endParaRPr lang="en-US" sz="1400" b="0" i="0" u="none" strike="noStrike" kern="1200" cap="none" spc="0" normalizeH="0" baseline="0" noProof="0">
              <a:ln>
                <a:noFill/>
              </a:ln>
              <a:solidFill>
                <a:srgbClr val="000000"/>
              </a:solidFill>
              <a:effectLst/>
              <a:uLnTx/>
              <a:uFillTx/>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cap="none" spc="0" normalizeH="0" baseline="0" noProof="0">
              <a:ln>
                <a:noFill/>
              </a:ln>
              <a:solidFill>
                <a:srgbClr val="000000"/>
              </a:solidFill>
              <a:effectLst/>
              <a:uLnTx/>
              <a:uFillTx/>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Agent Templates from Microsoft to try today:</a:t>
            </a:r>
            <a:endParaRPr lang="en-US" sz="1400" b="0" i="0" u="none" strike="noStrike" kern="1200" cap="none" spc="0" normalizeH="0" baseline="0" noProof="0">
              <a:ln>
                <a:noFill/>
              </a:ln>
              <a:solidFill>
                <a:srgbClr val="000000"/>
              </a:solidFill>
              <a:effectLst/>
              <a:uLnTx/>
              <a:uFillTx/>
              <a:latin typeface="Segoe UI"/>
              <a:cs typeface="Segoe UI"/>
            </a:endParaRPr>
          </a:p>
        </p:txBody>
      </p:sp>
      <p:sp>
        <p:nvSpPr>
          <p:cNvPr id="20" name="TextBox 19">
            <a:extLst>
              <a:ext uri="{FF2B5EF4-FFF2-40B4-BE49-F238E27FC236}">
                <a16:creationId xmlns:a16="http://schemas.microsoft.com/office/drawing/2014/main" id="{7E3809A7-8471-BA42-034A-C7F3F82A205E}"/>
              </a:ext>
            </a:extLst>
          </p:cNvPr>
          <p:cNvSpPr txBox="1"/>
          <p:nvPr/>
        </p:nvSpPr>
        <p:spPr>
          <a:xfrm>
            <a:off x="6894513" y="5401638"/>
            <a:ext cx="4716462" cy="64633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esides the agents from Microsoft, your organization may have created agents for you to use as well. You can view these in the “Built for your org” section in the agent library.</a:t>
            </a:r>
          </a:p>
        </p:txBody>
      </p:sp>
      <p:grpSp>
        <p:nvGrpSpPr>
          <p:cNvPr id="41" name="Group 40">
            <a:extLst>
              <a:ext uri="{FF2B5EF4-FFF2-40B4-BE49-F238E27FC236}">
                <a16:creationId xmlns:a16="http://schemas.microsoft.com/office/drawing/2014/main" id="{6A5029FA-28AA-A193-9727-69FA362C3B58}"/>
              </a:ext>
            </a:extLst>
          </p:cNvPr>
          <p:cNvGrpSpPr/>
          <p:nvPr/>
        </p:nvGrpSpPr>
        <p:grpSpPr>
          <a:xfrm>
            <a:off x="571500" y="2355241"/>
            <a:ext cx="1674840" cy="1338175"/>
            <a:chOff x="563374" y="2633312"/>
            <a:chExt cx="2158060" cy="1734835"/>
          </a:xfrm>
        </p:grpSpPr>
        <p:sp>
          <p:nvSpPr>
            <p:cNvPr id="16" name="Rectangle: Rounded Corners 15">
              <a:extLst>
                <a:ext uri="{FF2B5EF4-FFF2-40B4-BE49-F238E27FC236}">
                  <a16:creationId xmlns:a16="http://schemas.microsoft.com/office/drawing/2014/main" id="{3B049F25-3B27-8CAA-AE9F-88082ADA1C2C}"/>
                </a:ext>
                <a:ext uri="{C183D7F6-B498-43B3-948B-1728B52AA6E4}">
                  <adec:decorative xmlns:adec="http://schemas.microsoft.com/office/drawing/2017/decorative" val="1"/>
                </a:ext>
              </a:extLst>
            </p:cNvPr>
            <p:cNvSpPr/>
            <p:nvPr/>
          </p:nvSpPr>
          <p:spPr bwMode="auto">
            <a:xfrm>
              <a:off x="563374" y="2636414"/>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TextBox 16">
              <a:extLst>
                <a:ext uri="{FF2B5EF4-FFF2-40B4-BE49-F238E27FC236}">
                  <a16:creationId xmlns:a16="http://schemas.microsoft.com/office/drawing/2014/main" id="{702AA0C8-0C33-84E5-A39B-F05299BC6FA6}"/>
                </a:ext>
              </a:extLst>
            </p:cNvPr>
            <p:cNvSpPr txBox="1"/>
            <p:nvPr/>
          </p:nvSpPr>
          <p:spPr>
            <a:xfrm>
              <a:off x="691156" y="2633312"/>
              <a:ext cx="1881089" cy="379057"/>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Prompt coach</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18" name="TextBox 17">
              <a:extLst>
                <a:ext uri="{FF2B5EF4-FFF2-40B4-BE49-F238E27FC236}">
                  <a16:creationId xmlns:a16="http://schemas.microsoft.com/office/drawing/2014/main" id="{67368448-E8AF-4D53-5C76-7CAF501E0254}"/>
                </a:ext>
              </a:extLst>
            </p:cNvPr>
            <p:cNvSpPr txBox="1"/>
            <p:nvPr/>
          </p:nvSpPr>
          <p:spPr>
            <a:xfrm>
              <a:off x="563374" y="3889338"/>
              <a:ext cx="2072113" cy="47880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Create effective Copilot prompts</a:t>
              </a:r>
            </a:p>
          </p:txBody>
        </p:sp>
        <p:pic>
          <p:nvPicPr>
            <p:cNvPr id="21" name="Picture 20">
              <a:extLst>
                <a:ext uri="{FF2B5EF4-FFF2-40B4-BE49-F238E27FC236}">
                  <a16:creationId xmlns:a16="http://schemas.microsoft.com/office/drawing/2014/main" id="{1A340503-8726-A8CD-1A05-1B5E6ECD0E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1318348" y="3012475"/>
              <a:ext cx="626706" cy="626704"/>
            </a:xfrm>
            <a:prstGeom prst="rect">
              <a:avLst/>
            </a:prstGeom>
          </p:spPr>
        </p:pic>
      </p:grpSp>
      <p:grpSp>
        <p:nvGrpSpPr>
          <p:cNvPr id="43" name="Group 42">
            <a:extLst>
              <a:ext uri="{FF2B5EF4-FFF2-40B4-BE49-F238E27FC236}">
                <a16:creationId xmlns:a16="http://schemas.microsoft.com/office/drawing/2014/main" id="{AC47EBC7-946E-7786-69CA-F31F6ECEB20E}"/>
              </a:ext>
            </a:extLst>
          </p:cNvPr>
          <p:cNvGrpSpPr/>
          <p:nvPr/>
        </p:nvGrpSpPr>
        <p:grpSpPr>
          <a:xfrm>
            <a:off x="571500" y="5247610"/>
            <a:ext cx="1666217" cy="1336502"/>
            <a:chOff x="2791130" y="2632925"/>
            <a:chExt cx="2158060" cy="1736194"/>
          </a:xfrm>
        </p:grpSpPr>
        <p:sp>
          <p:nvSpPr>
            <p:cNvPr id="7" name="Rectangle: Rounded Corners 6">
              <a:extLst>
                <a:ext uri="{FF2B5EF4-FFF2-40B4-BE49-F238E27FC236}">
                  <a16:creationId xmlns:a16="http://schemas.microsoft.com/office/drawing/2014/main" id="{E486E66E-3F7E-404D-952E-EEE9947F5A8F}"/>
                </a:ext>
                <a:ext uri="{C183D7F6-B498-43B3-948B-1728B52AA6E4}">
                  <adec:decorative xmlns:adec="http://schemas.microsoft.com/office/drawing/2017/decorative" val="1"/>
                </a:ext>
              </a:extLst>
            </p:cNvPr>
            <p:cNvSpPr/>
            <p:nvPr/>
          </p:nvSpPr>
          <p:spPr bwMode="auto">
            <a:xfrm>
              <a:off x="2791130" y="2636414"/>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 name="TextBox 7">
              <a:extLst>
                <a:ext uri="{FF2B5EF4-FFF2-40B4-BE49-F238E27FC236}">
                  <a16:creationId xmlns:a16="http://schemas.microsoft.com/office/drawing/2014/main" id="{867D0A2E-AF10-7BAB-CD6F-CC75299D2334}"/>
                </a:ext>
              </a:extLst>
            </p:cNvPr>
            <p:cNvSpPr txBox="1"/>
            <p:nvPr/>
          </p:nvSpPr>
          <p:spPr>
            <a:xfrm>
              <a:off x="3022073" y="2632925"/>
              <a:ext cx="1696175" cy="379829"/>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Idea coach</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9" name="TextBox 8">
              <a:extLst>
                <a:ext uri="{FF2B5EF4-FFF2-40B4-BE49-F238E27FC236}">
                  <a16:creationId xmlns:a16="http://schemas.microsoft.com/office/drawing/2014/main" id="{B2583EF5-23D8-3E47-C434-62AC7A9F38A9}"/>
                </a:ext>
              </a:extLst>
            </p:cNvPr>
            <p:cNvSpPr txBox="1"/>
            <p:nvPr/>
          </p:nvSpPr>
          <p:spPr>
            <a:xfrm>
              <a:off x="2858419" y="3889335"/>
              <a:ext cx="2015548" cy="479784"/>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Get brainstorming assistance</a:t>
              </a:r>
            </a:p>
          </p:txBody>
        </p:sp>
        <p:pic>
          <p:nvPicPr>
            <p:cNvPr id="22" name="Picture 21">
              <a:extLst>
                <a:ext uri="{FF2B5EF4-FFF2-40B4-BE49-F238E27FC236}">
                  <a16:creationId xmlns:a16="http://schemas.microsoft.com/office/drawing/2014/main" id="{43439102-8CD1-E058-FCEC-EF5DDF9ABDD0}"/>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3549625" y="3012475"/>
              <a:ext cx="626706" cy="626704"/>
            </a:xfrm>
            <a:prstGeom prst="rect">
              <a:avLst/>
            </a:prstGeom>
          </p:spPr>
        </p:pic>
      </p:grpSp>
      <p:grpSp>
        <p:nvGrpSpPr>
          <p:cNvPr id="45" name="Group 44">
            <a:extLst>
              <a:ext uri="{FF2B5EF4-FFF2-40B4-BE49-F238E27FC236}">
                <a16:creationId xmlns:a16="http://schemas.microsoft.com/office/drawing/2014/main" id="{8F66D76B-FE59-52DC-3390-FAC719589F5D}"/>
              </a:ext>
            </a:extLst>
          </p:cNvPr>
          <p:cNvGrpSpPr/>
          <p:nvPr/>
        </p:nvGrpSpPr>
        <p:grpSpPr>
          <a:xfrm>
            <a:off x="2667000" y="3810000"/>
            <a:ext cx="1675510" cy="1324848"/>
            <a:chOff x="5029590" y="2634237"/>
            <a:chExt cx="2158060" cy="1709162"/>
          </a:xfrm>
        </p:grpSpPr>
        <p:sp>
          <p:nvSpPr>
            <p:cNvPr id="10" name="Rectangle: Rounded Corners 9">
              <a:extLst>
                <a:ext uri="{FF2B5EF4-FFF2-40B4-BE49-F238E27FC236}">
                  <a16:creationId xmlns:a16="http://schemas.microsoft.com/office/drawing/2014/main" id="{37F5A6F3-D4B7-58F5-6474-683CEFBC9ADA}"/>
                </a:ext>
                <a:ext uri="{C183D7F6-B498-43B3-948B-1728B52AA6E4}">
                  <adec:decorative xmlns:adec="http://schemas.microsoft.com/office/drawing/2017/decorative" val="1"/>
                </a:ext>
              </a:extLst>
            </p:cNvPr>
            <p:cNvSpPr/>
            <p:nvPr/>
          </p:nvSpPr>
          <p:spPr bwMode="auto">
            <a:xfrm>
              <a:off x="502959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TextBox 10">
              <a:extLst>
                <a:ext uri="{FF2B5EF4-FFF2-40B4-BE49-F238E27FC236}">
                  <a16:creationId xmlns:a16="http://schemas.microsoft.com/office/drawing/2014/main" id="{50A724CE-84AB-DEF4-2C65-862C549BB132}"/>
                </a:ext>
              </a:extLst>
            </p:cNvPr>
            <p:cNvSpPr txBox="1"/>
            <p:nvPr/>
          </p:nvSpPr>
          <p:spPr>
            <a:xfrm>
              <a:off x="5244256" y="2634237"/>
              <a:ext cx="1696175" cy="377204"/>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Writing coach</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12" name="TextBox 11">
              <a:extLst>
                <a:ext uri="{FF2B5EF4-FFF2-40B4-BE49-F238E27FC236}">
                  <a16:creationId xmlns:a16="http://schemas.microsoft.com/office/drawing/2014/main" id="{664F87FA-5CF4-26CA-866F-6FD2B8F919E0}"/>
                </a:ext>
              </a:extLst>
            </p:cNvPr>
            <p:cNvSpPr txBox="1"/>
            <p:nvPr/>
          </p:nvSpPr>
          <p:spPr>
            <a:xfrm>
              <a:off x="5166575" y="4008628"/>
              <a:ext cx="1884090" cy="184666"/>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Refine your writing</a:t>
              </a:r>
            </a:p>
          </p:txBody>
        </p:sp>
        <p:pic>
          <p:nvPicPr>
            <p:cNvPr id="23" name="Picture 22">
              <a:extLst>
                <a:ext uri="{FF2B5EF4-FFF2-40B4-BE49-F238E27FC236}">
                  <a16:creationId xmlns:a16="http://schemas.microsoft.com/office/drawing/2014/main" id="{110AFED3-DDDE-0A31-F64D-68B983AFFDC0}"/>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5807884" y="3107489"/>
              <a:ext cx="616698" cy="616696"/>
            </a:xfrm>
            <a:prstGeom prst="rect">
              <a:avLst/>
            </a:prstGeom>
          </p:spPr>
        </p:pic>
      </p:grpSp>
      <p:grpSp>
        <p:nvGrpSpPr>
          <p:cNvPr id="48" name="Group 47">
            <a:extLst>
              <a:ext uri="{FF2B5EF4-FFF2-40B4-BE49-F238E27FC236}">
                <a16:creationId xmlns:a16="http://schemas.microsoft.com/office/drawing/2014/main" id="{21C915CA-D8F4-1B1B-A30A-8C3FA1029CD3}"/>
              </a:ext>
            </a:extLst>
          </p:cNvPr>
          <p:cNvGrpSpPr/>
          <p:nvPr/>
        </p:nvGrpSpPr>
        <p:grpSpPr>
          <a:xfrm>
            <a:off x="4800600" y="2362200"/>
            <a:ext cx="1702941" cy="1324848"/>
            <a:chOff x="7268050" y="2634237"/>
            <a:chExt cx="2193391" cy="1709162"/>
          </a:xfrm>
        </p:grpSpPr>
        <p:sp>
          <p:nvSpPr>
            <p:cNvPr id="4" name="Rectangle: Rounded Corners 3">
              <a:extLst>
                <a:ext uri="{FF2B5EF4-FFF2-40B4-BE49-F238E27FC236}">
                  <a16:creationId xmlns:a16="http://schemas.microsoft.com/office/drawing/2014/main" id="{0611CB60-C9C2-B44F-41C5-A70DF99AA806}"/>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 name="TextBox 4">
              <a:extLst>
                <a:ext uri="{FF2B5EF4-FFF2-40B4-BE49-F238E27FC236}">
                  <a16:creationId xmlns:a16="http://schemas.microsoft.com/office/drawing/2014/main" id="{A91106F2-9D2E-F632-EC0C-D9EEDD77342F}"/>
                </a:ext>
              </a:extLst>
            </p:cNvPr>
            <p:cNvSpPr txBox="1"/>
            <p:nvPr/>
          </p:nvSpPr>
          <p:spPr>
            <a:xfrm>
              <a:off x="7497341" y="2634237"/>
              <a:ext cx="1699476" cy="377204"/>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Career coach</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6" name="TextBox 5">
              <a:extLst>
                <a:ext uri="{FF2B5EF4-FFF2-40B4-BE49-F238E27FC236}">
                  <a16:creationId xmlns:a16="http://schemas.microsoft.com/office/drawing/2014/main" id="{1F58609A-EFBB-30D4-51F1-46188E3C80BB}"/>
                </a:ext>
              </a:extLst>
            </p:cNvPr>
            <p:cNvSpPr txBox="1"/>
            <p:nvPr/>
          </p:nvSpPr>
          <p:spPr>
            <a:xfrm>
              <a:off x="7277975" y="3847123"/>
              <a:ext cx="2183466" cy="47646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Get personalized career advice and action plans</a:t>
              </a:r>
            </a:p>
          </p:txBody>
        </p:sp>
        <p:pic>
          <p:nvPicPr>
            <p:cNvPr id="24" name="Picture 23">
              <a:extLst>
                <a:ext uri="{FF2B5EF4-FFF2-40B4-BE49-F238E27FC236}">
                  <a16:creationId xmlns:a16="http://schemas.microsoft.com/office/drawing/2014/main" id="{4B2D9936-F4F1-0835-5309-D8CEBBBBF6C9}"/>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8033727" y="3014709"/>
              <a:ext cx="626706" cy="626704"/>
            </a:xfrm>
            <a:prstGeom prst="rect">
              <a:avLst/>
            </a:prstGeom>
          </p:spPr>
        </p:pic>
      </p:grpSp>
      <p:grpSp>
        <p:nvGrpSpPr>
          <p:cNvPr id="52" name="Group 51">
            <a:extLst>
              <a:ext uri="{FF2B5EF4-FFF2-40B4-BE49-F238E27FC236}">
                <a16:creationId xmlns:a16="http://schemas.microsoft.com/office/drawing/2014/main" id="{B6A2D1DD-B058-AF6E-1105-F58D3059AF2B}"/>
              </a:ext>
            </a:extLst>
          </p:cNvPr>
          <p:cNvGrpSpPr/>
          <p:nvPr/>
        </p:nvGrpSpPr>
        <p:grpSpPr>
          <a:xfrm>
            <a:off x="4787756" y="5267218"/>
            <a:ext cx="1688353" cy="1340529"/>
            <a:chOff x="9489967" y="2636415"/>
            <a:chExt cx="2174602" cy="1729391"/>
          </a:xfrm>
        </p:grpSpPr>
        <p:sp>
          <p:nvSpPr>
            <p:cNvPr id="13" name="Rectangle: Rounded Corners 12">
              <a:extLst>
                <a:ext uri="{FF2B5EF4-FFF2-40B4-BE49-F238E27FC236}">
                  <a16:creationId xmlns:a16="http://schemas.microsoft.com/office/drawing/2014/main" id="{AA8FB9B7-F64E-F948-1B6D-F729FBF4E108}"/>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AF4A868A-B191-B77E-CCA8-E6C7C6C88E84}"/>
                </a:ext>
              </a:extLst>
            </p:cNvPr>
            <p:cNvSpPr txBox="1"/>
            <p:nvPr/>
          </p:nvSpPr>
          <p:spPr>
            <a:xfrm>
              <a:off x="9618231" y="2676645"/>
              <a:ext cx="1849624" cy="292388"/>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Learning coach</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15" name="TextBox 14">
              <a:extLst>
                <a:ext uri="{FF2B5EF4-FFF2-40B4-BE49-F238E27FC236}">
                  <a16:creationId xmlns:a16="http://schemas.microsoft.com/office/drawing/2014/main" id="{199012D7-B5F8-C2D7-8AD9-566CBE81FA04}"/>
                </a:ext>
              </a:extLst>
            </p:cNvPr>
            <p:cNvSpPr txBox="1"/>
            <p:nvPr/>
          </p:nvSpPr>
          <p:spPr>
            <a:xfrm>
              <a:off x="9489967" y="3889338"/>
              <a:ext cx="2170234" cy="47646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Learn about topics and refine your skills</a:t>
              </a:r>
            </a:p>
          </p:txBody>
        </p:sp>
        <p:pic>
          <p:nvPicPr>
            <p:cNvPr id="25" name="Picture 24">
              <a:extLst>
                <a:ext uri="{FF2B5EF4-FFF2-40B4-BE49-F238E27FC236}">
                  <a16:creationId xmlns:a16="http://schemas.microsoft.com/office/drawing/2014/main" id="{20E3A827-4E93-6F31-2785-D320C2BE922A}"/>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10272186" y="3012475"/>
              <a:ext cx="626706" cy="626704"/>
            </a:xfrm>
            <a:prstGeom prst="rect">
              <a:avLst/>
            </a:prstGeom>
          </p:spPr>
        </p:pic>
      </p:grpSp>
      <p:sp>
        <p:nvSpPr>
          <p:cNvPr id="2" name="TextBox 1">
            <a:extLst>
              <a:ext uri="{FF2B5EF4-FFF2-40B4-BE49-F238E27FC236}">
                <a16:creationId xmlns:a16="http://schemas.microsoft.com/office/drawing/2014/main" id="{E425060D-37E8-175A-9EEB-C129AE76F3DE}"/>
              </a:ext>
            </a:extLst>
          </p:cNvPr>
          <p:cNvSpPr txBox="1"/>
          <p:nvPr/>
        </p:nvSpPr>
        <p:spPr>
          <a:xfrm>
            <a:off x="6904038" y="6269038"/>
            <a:ext cx="404971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a:ln>
                  <a:noFill/>
                </a:ln>
                <a:solidFill>
                  <a:srgbClr val="091F2C"/>
                </a:solidFill>
                <a:effectLst/>
                <a:uLnTx/>
                <a:uFillTx/>
                <a:latin typeface="Segoe Sans Display"/>
                <a:ea typeface="+mn-ea"/>
                <a:cs typeface="+mn-cs"/>
              </a:rPr>
              <a:t>1</a:t>
            </a:r>
            <a:r>
              <a:rPr kumimoji="0" lang="en-US" sz="1200" b="0" i="0" u="none" strike="noStrike" kern="1200" cap="none" spc="0" normalizeH="0" baseline="0" noProof="0">
                <a:ln>
                  <a:noFill/>
                </a:ln>
                <a:solidFill>
                  <a:srgbClr val="091F2C"/>
                </a:solidFill>
                <a:effectLst/>
                <a:uLnTx/>
                <a:uFillTx/>
                <a:latin typeface="Segoe Sans Display"/>
                <a:ea typeface="+mn-ea"/>
                <a:cs typeface="+mn-cs"/>
              </a:rPr>
              <a:t>Agent creation is only available if your organization admin has enabled this capability.</a:t>
            </a:r>
          </a:p>
        </p:txBody>
      </p:sp>
      <p:grpSp>
        <p:nvGrpSpPr>
          <p:cNvPr id="42" name="Group 41">
            <a:extLst>
              <a:ext uri="{FF2B5EF4-FFF2-40B4-BE49-F238E27FC236}">
                <a16:creationId xmlns:a16="http://schemas.microsoft.com/office/drawing/2014/main" id="{90601F29-7FD6-C58F-6876-8D73AE83331E}"/>
              </a:ext>
            </a:extLst>
          </p:cNvPr>
          <p:cNvGrpSpPr/>
          <p:nvPr/>
        </p:nvGrpSpPr>
        <p:grpSpPr>
          <a:xfrm>
            <a:off x="571500" y="3809998"/>
            <a:ext cx="1665616" cy="1333549"/>
            <a:chOff x="557513" y="4411463"/>
            <a:chExt cx="2158060" cy="1738275"/>
          </a:xfrm>
        </p:grpSpPr>
        <p:sp>
          <p:nvSpPr>
            <p:cNvPr id="29" name="Rectangle: Rounded Corners 28">
              <a:extLst>
                <a:ext uri="{FF2B5EF4-FFF2-40B4-BE49-F238E27FC236}">
                  <a16:creationId xmlns:a16="http://schemas.microsoft.com/office/drawing/2014/main" id="{3C620FA8-E592-A553-D046-4C5462EC9909}"/>
                </a:ext>
                <a:ext uri="{C183D7F6-B498-43B3-948B-1728B52AA6E4}">
                  <adec:decorative xmlns:adec="http://schemas.microsoft.com/office/drawing/2017/decorative" val="1"/>
                </a:ext>
              </a:extLst>
            </p:cNvPr>
            <p:cNvSpPr/>
            <p:nvPr/>
          </p:nvSpPr>
          <p:spPr bwMode="auto">
            <a:xfrm>
              <a:off x="557513" y="4415392"/>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 name="TextBox 30">
              <a:extLst>
                <a:ext uri="{FF2B5EF4-FFF2-40B4-BE49-F238E27FC236}">
                  <a16:creationId xmlns:a16="http://schemas.microsoft.com/office/drawing/2014/main" id="{681E6C0D-56C2-2AD3-F48A-31BA481FC4CB}"/>
                </a:ext>
              </a:extLst>
            </p:cNvPr>
            <p:cNvSpPr txBox="1"/>
            <p:nvPr/>
          </p:nvSpPr>
          <p:spPr>
            <a:xfrm>
              <a:off x="557513" y="4411463"/>
              <a:ext cx="2155386" cy="403142"/>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Customer Insights</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32" name="TextBox 31">
              <a:extLst>
                <a:ext uri="{FF2B5EF4-FFF2-40B4-BE49-F238E27FC236}">
                  <a16:creationId xmlns:a16="http://schemas.microsoft.com/office/drawing/2014/main" id="{588169A4-4812-438F-45CA-BF5129D1492F}"/>
                </a:ext>
              </a:extLst>
            </p:cNvPr>
            <p:cNvSpPr txBox="1"/>
            <p:nvPr/>
          </p:nvSpPr>
          <p:spPr>
            <a:xfrm>
              <a:off x="683794" y="5668315"/>
              <a:ext cx="1957308" cy="481423"/>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Get to know your customers </a:t>
              </a:r>
            </a:p>
          </p:txBody>
        </p:sp>
        <p:pic>
          <p:nvPicPr>
            <p:cNvPr id="47" name="Picture 46">
              <a:extLst>
                <a:ext uri="{FF2B5EF4-FFF2-40B4-BE49-F238E27FC236}">
                  <a16:creationId xmlns:a16="http://schemas.microsoft.com/office/drawing/2014/main" id="{0C43CBAF-9881-5A33-0A5F-D2C2E79E5B4D}"/>
                </a:ext>
              </a:extLst>
            </p:cNvPr>
            <p:cNvPicPr>
              <a:picLocks noChangeAspect="1"/>
            </p:cNvPicPr>
            <p:nvPr/>
          </p:nvPicPr>
          <p:blipFill>
            <a:blip r:embed="rId9">
              <a:clrChange>
                <a:clrFrom>
                  <a:srgbClr val="FDFDFD"/>
                </a:clrFrom>
                <a:clrTo>
                  <a:srgbClr val="FDFDFD">
                    <a:alpha val="0"/>
                  </a:srgbClr>
                </a:clrTo>
              </a:clrChange>
            </a:blip>
            <a:stretch>
              <a:fillRect/>
            </a:stretch>
          </p:blipFill>
          <p:spPr>
            <a:xfrm>
              <a:off x="1110507" y="4868414"/>
              <a:ext cx="847971" cy="712296"/>
            </a:xfrm>
            <a:prstGeom prst="rect">
              <a:avLst/>
            </a:prstGeom>
          </p:spPr>
        </p:pic>
      </p:grpSp>
      <p:grpSp>
        <p:nvGrpSpPr>
          <p:cNvPr id="44" name="Group 43">
            <a:extLst>
              <a:ext uri="{FF2B5EF4-FFF2-40B4-BE49-F238E27FC236}">
                <a16:creationId xmlns:a16="http://schemas.microsoft.com/office/drawing/2014/main" id="{4741602C-2F72-4218-71B0-31458B252C8E}"/>
              </a:ext>
            </a:extLst>
          </p:cNvPr>
          <p:cNvGrpSpPr/>
          <p:nvPr/>
        </p:nvGrpSpPr>
        <p:grpSpPr>
          <a:xfrm>
            <a:off x="2667000" y="2362200"/>
            <a:ext cx="1670694" cy="1323117"/>
            <a:chOff x="2776832" y="4415392"/>
            <a:chExt cx="2174933" cy="1706985"/>
          </a:xfrm>
        </p:grpSpPr>
        <p:sp>
          <p:nvSpPr>
            <p:cNvPr id="28" name="Rectangle: Rounded Corners 27">
              <a:extLst>
                <a:ext uri="{FF2B5EF4-FFF2-40B4-BE49-F238E27FC236}">
                  <a16:creationId xmlns:a16="http://schemas.microsoft.com/office/drawing/2014/main" id="{E0B2EDAE-1C90-F6D3-752B-A3118CD86FFE}"/>
                </a:ext>
                <a:ext uri="{C183D7F6-B498-43B3-948B-1728B52AA6E4}">
                  <adec:decorative xmlns:adec="http://schemas.microsoft.com/office/drawing/2017/decorative" val="1"/>
                </a:ext>
              </a:extLst>
            </p:cNvPr>
            <p:cNvSpPr/>
            <p:nvPr/>
          </p:nvSpPr>
          <p:spPr bwMode="auto">
            <a:xfrm>
              <a:off x="2785269" y="4415392"/>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3" name="TextBox 32">
              <a:extLst>
                <a:ext uri="{FF2B5EF4-FFF2-40B4-BE49-F238E27FC236}">
                  <a16:creationId xmlns:a16="http://schemas.microsoft.com/office/drawing/2014/main" id="{1A74AA6A-27D9-F16F-2DF5-750F1FFAF6A5}"/>
                </a:ext>
              </a:extLst>
            </p:cNvPr>
            <p:cNvSpPr txBox="1"/>
            <p:nvPr/>
          </p:nvSpPr>
          <p:spPr>
            <a:xfrm>
              <a:off x="2776832" y="4514791"/>
              <a:ext cx="2174933" cy="38642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Interview Questions</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34" name="TextBox 33">
              <a:extLst>
                <a:ext uri="{FF2B5EF4-FFF2-40B4-BE49-F238E27FC236}">
                  <a16:creationId xmlns:a16="http://schemas.microsoft.com/office/drawing/2014/main" id="{8060D92D-7B64-2A5F-C4ED-9A7D2B52D054}"/>
                </a:ext>
              </a:extLst>
            </p:cNvPr>
            <p:cNvSpPr txBox="1"/>
            <p:nvPr/>
          </p:nvSpPr>
          <p:spPr>
            <a:xfrm>
              <a:off x="2852558" y="5668315"/>
              <a:ext cx="2009119" cy="369332"/>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Generate professional interview questions </a:t>
              </a:r>
            </a:p>
          </p:txBody>
        </p:sp>
        <p:pic>
          <p:nvPicPr>
            <p:cNvPr id="49" name="Picture 48">
              <a:extLst>
                <a:ext uri="{FF2B5EF4-FFF2-40B4-BE49-F238E27FC236}">
                  <a16:creationId xmlns:a16="http://schemas.microsoft.com/office/drawing/2014/main" id="{1B476D0B-73CF-EEAD-6627-32772CB8BC2A}"/>
                </a:ext>
              </a:extLst>
            </p:cNvPr>
            <p:cNvPicPr>
              <a:picLocks noChangeAspect="1"/>
            </p:cNvPicPr>
            <p:nvPr/>
          </p:nvPicPr>
          <p:blipFill>
            <a:blip r:embed="rId10">
              <a:clrChange>
                <a:clrFrom>
                  <a:srgbClr val="FDFDFD"/>
                </a:clrFrom>
                <a:clrTo>
                  <a:srgbClr val="FDFDFD">
                    <a:alpha val="0"/>
                  </a:srgbClr>
                </a:clrTo>
              </a:clrChange>
            </a:blip>
            <a:stretch>
              <a:fillRect/>
            </a:stretch>
          </p:blipFill>
          <p:spPr>
            <a:xfrm>
              <a:off x="3369955" y="4899563"/>
              <a:ext cx="887997" cy="751382"/>
            </a:xfrm>
            <a:prstGeom prst="rect">
              <a:avLst/>
            </a:prstGeom>
          </p:spPr>
        </p:pic>
      </p:grpSp>
      <p:grpSp>
        <p:nvGrpSpPr>
          <p:cNvPr id="46" name="Group 45">
            <a:extLst>
              <a:ext uri="{FF2B5EF4-FFF2-40B4-BE49-F238E27FC236}">
                <a16:creationId xmlns:a16="http://schemas.microsoft.com/office/drawing/2014/main" id="{DE73B963-921E-32D1-B63C-A3B7E5345034}"/>
              </a:ext>
            </a:extLst>
          </p:cNvPr>
          <p:cNvGrpSpPr/>
          <p:nvPr/>
        </p:nvGrpSpPr>
        <p:grpSpPr>
          <a:xfrm>
            <a:off x="2667001" y="5257801"/>
            <a:ext cx="1689100" cy="1336411"/>
            <a:chOff x="5006226" y="4411881"/>
            <a:chExt cx="2175564" cy="1736273"/>
          </a:xfrm>
        </p:grpSpPr>
        <p:sp>
          <p:nvSpPr>
            <p:cNvPr id="30" name="Rectangle: Rounded Corners 29">
              <a:extLst>
                <a:ext uri="{FF2B5EF4-FFF2-40B4-BE49-F238E27FC236}">
                  <a16:creationId xmlns:a16="http://schemas.microsoft.com/office/drawing/2014/main" id="{F8F6D93F-E8D1-AA2B-7B31-E9EE53A75D52}"/>
                </a:ext>
                <a:ext uri="{C183D7F6-B498-43B3-948B-1728B52AA6E4}">
                  <adec:decorative xmlns:adec="http://schemas.microsoft.com/office/drawing/2017/decorative" val="1"/>
                </a:ext>
              </a:extLst>
            </p:cNvPr>
            <p:cNvSpPr/>
            <p:nvPr/>
          </p:nvSpPr>
          <p:spPr bwMode="auto">
            <a:xfrm>
              <a:off x="502372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TextBox 34">
              <a:extLst>
                <a:ext uri="{FF2B5EF4-FFF2-40B4-BE49-F238E27FC236}">
                  <a16:creationId xmlns:a16="http://schemas.microsoft.com/office/drawing/2014/main" id="{2DD42566-9538-ABC8-8120-2676EBA134D3}"/>
                </a:ext>
              </a:extLst>
            </p:cNvPr>
            <p:cNvSpPr txBox="1"/>
            <p:nvPr/>
          </p:nvSpPr>
          <p:spPr>
            <a:xfrm>
              <a:off x="5238395" y="4411881"/>
              <a:ext cx="1696175" cy="37987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Meeting coach</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36" name="TextBox 35">
              <a:extLst>
                <a:ext uri="{FF2B5EF4-FFF2-40B4-BE49-F238E27FC236}">
                  <a16:creationId xmlns:a16="http://schemas.microsoft.com/office/drawing/2014/main" id="{CCF8D806-AE1D-2FC5-08B2-C6EA3005DE29}"/>
                </a:ext>
              </a:extLst>
            </p:cNvPr>
            <p:cNvSpPr txBox="1"/>
            <p:nvPr/>
          </p:nvSpPr>
          <p:spPr>
            <a:xfrm>
              <a:off x="5006226" y="5668316"/>
              <a:ext cx="2175564" cy="479838"/>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Create and run effective meetings </a:t>
              </a:r>
            </a:p>
          </p:txBody>
        </p:sp>
        <p:pic>
          <p:nvPicPr>
            <p:cNvPr id="51" name="Picture 50">
              <a:extLst>
                <a:ext uri="{FF2B5EF4-FFF2-40B4-BE49-F238E27FC236}">
                  <a16:creationId xmlns:a16="http://schemas.microsoft.com/office/drawing/2014/main" id="{883D87C3-4F4C-CEA3-6046-5223FB65941C}"/>
                </a:ext>
              </a:extLst>
            </p:cNvPr>
            <p:cNvPicPr>
              <a:picLocks noChangeAspect="1"/>
            </p:cNvPicPr>
            <p:nvPr/>
          </p:nvPicPr>
          <p:blipFill>
            <a:blip r:embed="rId11">
              <a:clrChange>
                <a:clrFrom>
                  <a:srgbClr val="FDFDFD"/>
                </a:clrFrom>
                <a:clrTo>
                  <a:srgbClr val="FDFDFD">
                    <a:alpha val="0"/>
                  </a:srgbClr>
                </a:clrTo>
              </a:clrChange>
            </a:blip>
            <a:stretch>
              <a:fillRect/>
            </a:stretch>
          </p:blipFill>
          <p:spPr>
            <a:xfrm>
              <a:off x="5593055" y="4816154"/>
              <a:ext cx="847979" cy="761745"/>
            </a:xfrm>
            <a:prstGeom prst="rect">
              <a:avLst/>
            </a:prstGeom>
          </p:spPr>
        </p:pic>
      </p:grpSp>
      <p:grpSp>
        <p:nvGrpSpPr>
          <p:cNvPr id="50" name="Group 49">
            <a:extLst>
              <a:ext uri="{FF2B5EF4-FFF2-40B4-BE49-F238E27FC236}">
                <a16:creationId xmlns:a16="http://schemas.microsoft.com/office/drawing/2014/main" id="{83584D83-38C5-29AE-51EE-8A25732AAB4C}"/>
              </a:ext>
            </a:extLst>
          </p:cNvPr>
          <p:cNvGrpSpPr/>
          <p:nvPr/>
        </p:nvGrpSpPr>
        <p:grpSpPr>
          <a:xfrm>
            <a:off x="4800600" y="3818563"/>
            <a:ext cx="1666217" cy="1333708"/>
            <a:chOff x="7262189" y="4415393"/>
            <a:chExt cx="2158060" cy="1732761"/>
          </a:xfrm>
        </p:grpSpPr>
        <p:sp>
          <p:nvSpPr>
            <p:cNvPr id="27" name="Rectangle: Rounded Corners 26">
              <a:extLst>
                <a:ext uri="{FF2B5EF4-FFF2-40B4-BE49-F238E27FC236}">
                  <a16:creationId xmlns:a16="http://schemas.microsoft.com/office/drawing/2014/main" id="{2AC5E2DC-19D2-7609-8DD6-4CD7E7A69DA7}"/>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 name="TextBox 36">
              <a:extLst>
                <a:ext uri="{FF2B5EF4-FFF2-40B4-BE49-F238E27FC236}">
                  <a16:creationId xmlns:a16="http://schemas.microsoft.com/office/drawing/2014/main" id="{BEF6D9AA-91DB-91AC-74E2-D829ED4BEAE7}"/>
                </a:ext>
              </a:extLst>
            </p:cNvPr>
            <p:cNvSpPr txBox="1"/>
            <p:nvPr/>
          </p:nvSpPr>
          <p:spPr>
            <a:xfrm>
              <a:off x="7491481" y="4455623"/>
              <a:ext cx="1699476" cy="292388"/>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Quiz Tutor</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38" name="TextBox 37">
              <a:extLst>
                <a:ext uri="{FF2B5EF4-FFF2-40B4-BE49-F238E27FC236}">
                  <a16:creationId xmlns:a16="http://schemas.microsoft.com/office/drawing/2014/main" id="{42C43ADC-831C-F1EA-09A7-0BDB8DC5AC9B}"/>
                </a:ext>
              </a:extLst>
            </p:cNvPr>
            <p:cNvSpPr txBox="1"/>
            <p:nvPr/>
          </p:nvSpPr>
          <p:spPr>
            <a:xfrm>
              <a:off x="7272171" y="5668316"/>
              <a:ext cx="2129109" cy="47983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Create fun engaging quiz questions </a:t>
              </a:r>
            </a:p>
          </p:txBody>
        </p:sp>
        <p:pic>
          <p:nvPicPr>
            <p:cNvPr id="53" name="Picture 52">
              <a:extLst>
                <a:ext uri="{FF2B5EF4-FFF2-40B4-BE49-F238E27FC236}">
                  <a16:creationId xmlns:a16="http://schemas.microsoft.com/office/drawing/2014/main" id="{B08E1F5F-5F5B-996B-5454-34552EDE4676}"/>
                </a:ext>
              </a:extLst>
            </p:cNvPr>
            <p:cNvPicPr>
              <a:picLocks noChangeAspect="1"/>
            </p:cNvPicPr>
            <p:nvPr/>
          </p:nvPicPr>
          <p:blipFill>
            <a:blip r:embed="rId12">
              <a:clrChange>
                <a:clrFrom>
                  <a:srgbClr val="FDFDFD"/>
                </a:clrFrom>
                <a:clrTo>
                  <a:srgbClr val="FDFDFD">
                    <a:alpha val="0"/>
                  </a:srgbClr>
                </a:clrTo>
              </a:clrChange>
            </a:blip>
            <a:stretch>
              <a:fillRect/>
            </a:stretch>
          </p:blipFill>
          <p:spPr>
            <a:xfrm>
              <a:off x="8025831" y="4881090"/>
              <a:ext cx="717721" cy="717721"/>
            </a:xfrm>
            <a:prstGeom prst="rect">
              <a:avLst/>
            </a:prstGeom>
          </p:spPr>
        </p:pic>
      </p:grpSp>
      <p:grpSp>
        <p:nvGrpSpPr>
          <p:cNvPr id="58" name="Group 57">
            <a:extLst>
              <a:ext uri="{FF2B5EF4-FFF2-40B4-BE49-F238E27FC236}">
                <a16:creationId xmlns:a16="http://schemas.microsoft.com/office/drawing/2014/main" id="{CC4E093D-8895-BC16-9E0E-E9EF3FDAECDE}"/>
              </a:ext>
            </a:extLst>
          </p:cNvPr>
          <p:cNvGrpSpPr/>
          <p:nvPr/>
        </p:nvGrpSpPr>
        <p:grpSpPr>
          <a:xfrm>
            <a:off x="6894513" y="2362200"/>
            <a:ext cx="1675510" cy="1324848"/>
            <a:chOff x="7268050" y="2634237"/>
            <a:chExt cx="2158060" cy="1709162"/>
          </a:xfrm>
        </p:grpSpPr>
        <p:sp>
          <p:nvSpPr>
            <p:cNvPr id="59" name="Rectangle: Rounded Corners 58">
              <a:extLst>
                <a:ext uri="{FF2B5EF4-FFF2-40B4-BE49-F238E27FC236}">
                  <a16:creationId xmlns:a16="http://schemas.microsoft.com/office/drawing/2014/main" id="{4CF760CF-E814-EF3D-CD60-CFB37F388153}"/>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 name="TextBox 59">
              <a:extLst>
                <a:ext uri="{FF2B5EF4-FFF2-40B4-BE49-F238E27FC236}">
                  <a16:creationId xmlns:a16="http://schemas.microsoft.com/office/drawing/2014/main" id="{A457D711-9A29-5DA9-2FDE-5CB6A69F32BC}"/>
                </a:ext>
              </a:extLst>
            </p:cNvPr>
            <p:cNvSpPr txBox="1"/>
            <p:nvPr/>
          </p:nvSpPr>
          <p:spPr>
            <a:xfrm>
              <a:off x="7268050" y="2634237"/>
              <a:ext cx="2112178" cy="377204"/>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Scrum Assistant</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61" name="TextBox 60">
              <a:extLst>
                <a:ext uri="{FF2B5EF4-FFF2-40B4-BE49-F238E27FC236}">
                  <a16:creationId xmlns:a16="http://schemas.microsoft.com/office/drawing/2014/main" id="{938EA604-2A02-CF4C-C982-C326BD27FF2C}"/>
                </a:ext>
              </a:extLst>
            </p:cNvPr>
            <p:cNvSpPr txBox="1"/>
            <p:nvPr/>
          </p:nvSpPr>
          <p:spPr>
            <a:xfrm>
              <a:off x="7268050" y="3794104"/>
              <a:ext cx="2112178" cy="47646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Supporting the </a:t>
              </a:r>
              <a:br>
                <a:rPr kumimoji="0" lang="en-US" sz="1200" b="0" i="0" u="none" strike="noStrike" kern="1200" cap="none" spc="0" normalizeH="0" baseline="0" noProof="0">
                  <a:ln>
                    <a:noFill/>
                  </a:ln>
                  <a:solidFill>
                    <a:srgbClr val="000000"/>
                  </a:solidFill>
                  <a:effectLst/>
                  <a:uLnTx/>
                  <a:uFillTx/>
                  <a:latin typeface="Segoe UI"/>
                  <a:ea typeface="+mn-ea"/>
                  <a:cs typeface="Segoe UI"/>
                </a:rPr>
              </a:br>
              <a:r>
                <a:rPr kumimoji="0" lang="en-US" sz="1200" b="0" i="0" u="none" strike="noStrike" kern="1200" cap="none" spc="0" normalizeH="0" baseline="0" noProof="0">
                  <a:ln>
                    <a:noFill/>
                  </a:ln>
                  <a:solidFill>
                    <a:srgbClr val="000000"/>
                  </a:solidFill>
                  <a:effectLst/>
                  <a:uLnTx/>
                  <a:uFillTx/>
                  <a:latin typeface="Segoe UI"/>
                  <a:ea typeface="+mn-ea"/>
                  <a:cs typeface="Segoe UI"/>
                </a:rPr>
                <a:t>scrum team</a:t>
              </a:r>
            </a:p>
          </p:txBody>
        </p:sp>
      </p:grpSp>
      <p:pic>
        <p:nvPicPr>
          <p:cNvPr id="63" name="Picture 62">
            <a:extLst>
              <a:ext uri="{FF2B5EF4-FFF2-40B4-BE49-F238E27FC236}">
                <a16:creationId xmlns:a16="http://schemas.microsoft.com/office/drawing/2014/main" id="{1842936B-B9B4-096A-7C99-0B26F422125F}"/>
              </a:ext>
            </a:extLst>
          </p:cNvPr>
          <p:cNvPicPr>
            <a:picLocks noChangeAspect="1"/>
          </p:cNvPicPr>
          <p:nvPr/>
        </p:nvPicPr>
        <p:blipFill>
          <a:blip r:embed="rId13">
            <a:clrChange>
              <a:clrFrom>
                <a:srgbClr val="FDFDFD"/>
              </a:clrFrom>
              <a:clrTo>
                <a:srgbClr val="FDFDFD">
                  <a:alpha val="0"/>
                </a:srgbClr>
              </a:clrTo>
            </a:clrChange>
          </a:blip>
          <a:stretch>
            <a:fillRect/>
          </a:stretch>
        </p:blipFill>
        <p:spPr>
          <a:xfrm>
            <a:off x="7352552" y="2699056"/>
            <a:ext cx="649001" cy="548640"/>
          </a:xfrm>
          <a:prstGeom prst="rect">
            <a:avLst/>
          </a:prstGeom>
        </p:spPr>
      </p:pic>
      <p:grpSp>
        <p:nvGrpSpPr>
          <p:cNvPr id="64" name="Group 63">
            <a:extLst>
              <a:ext uri="{FF2B5EF4-FFF2-40B4-BE49-F238E27FC236}">
                <a16:creationId xmlns:a16="http://schemas.microsoft.com/office/drawing/2014/main" id="{B34F949E-A2C8-7412-0358-97FE6B7BBD61}"/>
              </a:ext>
            </a:extLst>
          </p:cNvPr>
          <p:cNvGrpSpPr/>
          <p:nvPr/>
        </p:nvGrpSpPr>
        <p:grpSpPr>
          <a:xfrm>
            <a:off x="6894513" y="3810000"/>
            <a:ext cx="1675510" cy="1340316"/>
            <a:chOff x="7268050" y="2634237"/>
            <a:chExt cx="2158060" cy="1729117"/>
          </a:xfrm>
        </p:grpSpPr>
        <p:sp>
          <p:nvSpPr>
            <p:cNvPr id="65" name="Rectangle: Rounded Corners 64">
              <a:extLst>
                <a:ext uri="{FF2B5EF4-FFF2-40B4-BE49-F238E27FC236}">
                  <a16:creationId xmlns:a16="http://schemas.microsoft.com/office/drawing/2014/main" id="{4BF95294-FA54-2D43-3529-D52110FD74B6}"/>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 name="TextBox 65">
              <a:extLst>
                <a:ext uri="{FF2B5EF4-FFF2-40B4-BE49-F238E27FC236}">
                  <a16:creationId xmlns:a16="http://schemas.microsoft.com/office/drawing/2014/main" id="{7C127E14-97F7-9BAC-575C-9A0D4DC68FFD}"/>
                </a:ext>
              </a:extLst>
            </p:cNvPr>
            <p:cNvSpPr txBox="1"/>
            <p:nvPr/>
          </p:nvSpPr>
          <p:spPr>
            <a:xfrm>
              <a:off x="7268050" y="2634237"/>
              <a:ext cx="2112178" cy="63529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Request for Proposal Generator</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67" name="TextBox 66">
              <a:extLst>
                <a:ext uri="{FF2B5EF4-FFF2-40B4-BE49-F238E27FC236}">
                  <a16:creationId xmlns:a16="http://schemas.microsoft.com/office/drawing/2014/main" id="{B3B984E6-E031-117B-08C4-8490A3AA36AC}"/>
                </a:ext>
              </a:extLst>
            </p:cNvPr>
            <p:cNvSpPr txBox="1"/>
            <p:nvPr/>
          </p:nvSpPr>
          <p:spPr>
            <a:xfrm>
              <a:off x="7268050" y="3886886"/>
              <a:ext cx="2112178" cy="47646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Accelerate proposal creation</a:t>
              </a:r>
            </a:p>
          </p:txBody>
        </p:sp>
      </p:grpSp>
      <p:pic>
        <p:nvPicPr>
          <p:cNvPr id="68" name="Picture 67" descr="Request for Proposal Generator avatar">
            <a:extLst>
              <a:ext uri="{FF2B5EF4-FFF2-40B4-BE49-F238E27FC236}">
                <a16:creationId xmlns:a16="http://schemas.microsoft.com/office/drawing/2014/main" id="{789F2D2F-A389-BB8F-2A31-7B97FF204318}"/>
              </a:ext>
            </a:extLst>
          </p:cNvPr>
          <p:cNvPicPr>
            <a:picLocks noChangeAspect="1"/>
          </p:cNvPicPr>
          <p:nvPr/>
        </p:nvPicPr>
        <p:blipFill>
          <a:blip r:embed="rId14"/>
          <a:stretch>
            <a:fillRect/>
          </a:stretch>
        </p:blipFill>
        <p:spPr>
          <a:xfrm>
            <a:off x="7479689" y="4267200"/>
            <a:ext cx="431411" cy="431411"/>
          </a:xfrm>
          <a:prstGeom prst="rect">
            <a:avLst/>
          </a:prstGeom>
        </p:spPr>
      </p:pic>
      <p:grpSp>
        <p:nvGrpSpPr>
          <p:cNvPr id="26" name="Group 25">
            <a:extLst>
              <a:ext uri="{FF2B5EF4-FFF2-40B4-BE49-F238E27FC236}">
                <a16:creationId xmlns:a16="http://schemas.microsoft.com/office/drawing/2014/main" id="{DE081646-8514-01D2-282C-B434A80FE7AF}"/>
              </a:ext>
            </a:extLst>
          </p:cNvPr>
          <p:cNvGrpSpPr/>
          <p:nvPr/>
        </p:nvGrpSpPr>
        <p:grpSpPr>
          <a:xfrm>
            <a:off x="9029700" y="3810000"/>
            <a:ext cx="1684407" cy="1333707"/>
            <a:chOff x="6894512" y="5257795"/>
            <a:chExt cx="1684407" cy="1333707"/>
          </a:xfrm>
        </p:grpSpPr>
        <p:grpSp>
          <p:nvGrpSpPr>
            <p:cNvPr id="69" name="Group 68">
              <a:extLst>
                <a:ext uri="{FF2B5EF4-FFF2-40B4-BE49-F238E27FC236}">
                  <a16:creationId xmlns:a16="http://schemas.microsoft.com/office/drawing/2014/main" id="{4481B5F6-49AA-47F3-5A9B-D7F249C61F3C}"/>
                </a:ext>
              </a:extLst>
            </p:cNvPr>
            <p:cNvGrpSpPr/>
            <p:nvPr/>
          </p:nvGrpSpPr>
          <p:grpSpPr>
            <a:xfrm>
              <a:off x="6894512" y="5257795"/>
              <a:ext cx="1684407" cy="1333707"/>
              <a:chOff x="7262189" y="4415393"/>
              <a:chExt cx="2181620" cy="1732762"/>
            </a:xfrm>
          </p:grpSpPr>
          <p:sp>
            <p:nvSpPr>
              <p:cNvPr id="70" name="Rectangle: Rounded Corners 69">
                <a:extLst>
                  <a:ext uri="{FF2B5EF4-FFF2-40B4-BE49-F238E27FC236}">
                    <a16:creationId xmlns:a16="http://schemas.microsoft.com/office/drawing/2014/main" id="{119790E5-FC52-408B-9CC7-055D32FAFFD1}"/>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1" name="TextBox 70">
                <a:extLst>
                  <a:ext uri="{FF2B5EF4-FFF2-40B4-BE49-F238E27FC236}">
                    <a16:creationId xmlns:a16="http://schemas.microsoft.com/office/drawing/2014/main" id="{2A52361F-BA6C-82D5-3985-5A16CEA0333E}"/>
                  </a:ext>
                </a:extLst>
              </p:cNvPr>
              <p:cNvSpPr txBox="1"/>
              <p:nvPr/>
            </p:nvSpPr>
            <p:spPr>
              <a:xfrm>
                <a:off x="7262189" y="4415397"/>
                <a:ext cx="2123958" cy="639785"/>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Corporate Comms Crafter</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72" name="TextBox 71">
                <a:extLst>
                  <a:ext uri="{FF2B5EF4-FFF2-40B4-BE49-F238E27FC236}">
                    <a16:creationId xmlns:a16="http://schemas.microsoft.com/office/drawing/2014/main" id="{9E7CFE9C-C235-0DF5-CE72-8F726F782AD1}"/>
                  </a:ext>
                </a:extLst>
              </p:cNvPr>
              <p:cNvSpPr txBox="1"/>
              <p:nvPr/>
            </p:nvSpPr>
            <p:spPr>
              <a:xfrm>
                <a:off x="7262190" y="5668316"/>
                <a:ext cx="2181619" cy="47983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Create brand aligned communications</a:t>
                </a:r>
              </a:p>
            </p:txBody>
          </p:sp>
        </p:grpSp>
        <p:pic>
          <p:nvPicPr>
            <p:cNvPr id="74" name="Picture 73" descr="Corporate Comms Crafter avatar">
              <a:extLst>
                <a:ext uri="{FF2B5EF4-FFF2-40B4-BE49-F238E27FC236}">
                  <a16:creationId xmlns:a16="http://schemas.microsoft.com/office/drawing/2014/main" id="{9BEAF61B-E54B-CF76-011D-A985A17967BC}"/>
                </a:ext>
              </a:extLst>
            </p:cNvPr>
            <p:cNvPicPr>
              <a:picLocks noChangeAspect="1"/>
            </p:cNvPicPr>
            <p:nvPr/>
          </p:nvPicPr>
          <p:blipFill>
            <a:blip r:embed="rId15"/>
            <a:stretch>
              <a:fillRect/>
            </a:stretch>
          </p:blipFill>
          <p:spPr>
            <a:xfrm>
              <a:off x="7508854" y="5711536"/>
              <a:ext cx="484440" cy="484440"/>
            </a:xfrm>
            <a:prstGeom prst="rect">
              <a:avLst/>
            </a:prstGeom>
          </p:spPr>
        </p:pic>
      </p:grpSp>
      <p:grpSp>
        <p:nvGrpSpPr>
          <p:cNvPr id="75" name="Group 74">
            <a:extLst>
              <a:ext uri="{FF2B5EF4-FFF2-40B4-BE49-F238E27FC236}">
                <a16:creationId xmlns:a16="http://schemas.microsoft.com/office/drawing/2014/main" id="{FEC5C8EA-935D-540B-089C-FCE5BA4F1344}"/>
              </a:ext>
            </a:extLst>
          </p:cNvPr>
          <p:cNvGrpSpPr/>
          <p:nvPr/>
        </p:nvGrpSpPr>
        <p:grpSpPr>
          <a:xfrm>
            <a:off x="9029700" y="2369044"/>
            <a:ext cx="1666217" cy="1333707"/>
            <a:chOff x="7262189" y="4415393"/>
            <a:chExt cx="2158060" cy="1732762"/>
          </a:xfrm>
        </p:grpSpPr>
        <p:sp>
          <p:nvSpPr>
            <p:cNvPr id="76" name="Rectangle: Rounded Corners 75">
              <a:extLst>
                <a:ext uri="{FF2B5EF4-FFF2-40B4-BE49-F238E27FC236}">
                  <a16:creationId xmlns:a16="http://schemas.microsoft.com/office/drawing/2014/main" id="{095B116C-8CB9-7307-0DAB-66356CD1CFF8}"/>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7" name="TextBox 76">
              <a:extLst>
                <a:ext uri="{FF2B5EF4-FFF2-40B4-BE49-F238E27FC236}">
                  <a16:creationId xmlns:a16="http://schemas.microsoft.com/office/drawing/2014/main" id="{1EB2C7FE-87CE-8C4D-DCBB-95E31FDD6D35}"/>
                </a:ext>
              </a:extLst>
            </p:cNvPr>
            <p:cNvSpPr txBox="1"/>
            <p:nvPr/>
          </p:nvSpPr>
          <p:spPr>
            <a:xfrm>
              <a:off x="7262189" y="4451914"/>
              <a:ext cx="2123958" cy="379873"/>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Text Translator</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78" name="TextBox 77">
              <a:extLst>
                <a:ext uri="{FF2B5EF4-FFF2-40B4-BE49-F238E27FC236}">
                  <a16:creationId xmlns:a16="http://schemas.microsoft.com/office/drawing/2014/main" id="{8A0CECDC-3467-0A15-E1CC-EF8416C6C3ED}"/>
                </a:ext>
              </a:extLst>
            </p:cNvPr>
            <p:cNvSpPr txBox="1"/>
            <p:nvPr/>
          </p:nvSpPr>
          <p:spPr>
            <a:xfrm>
              <a:off x="7315648" y="5668316"/>
              <a:ext cx="2062276" cy="47983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Translate text from one language to another</a:t>
              </a:r>
            </a:p>
          </p:txBody>
        </p:sp>
      </p:grpSp>
      <p:pic>
        <p:nvPicPr>
          <p:cNvPr id="79" name="Picture 78" descr="Text Translator avatar">
            <a:extLst>
              <a:ext uri="{FF2B5EF4-FFF2-40B4-BE49-F238E27FC236}">
                <a16:creationId xmlns:a16="http://schemas.microsoft.com/office/drawing/2014/main" id="{FED69482-B92A-6273-CE13-43D597B7FD4D}"/>
              </a:ext>
            </a:extLst>
          </p:cNvPr>
          <p:cNvPicPr>
            <a:picLocks noChangeAspect="1"/>
          </p:cNvPicPr>
          <p:nvPr/>
        </p:nvPicPr>
        <p:blipFill>
          <a:blip r:embed="rId16"/>
          <a:stretch>
            <a:fillRect/>
          </a:stretch>
        </p:blipFill>
        <p:spPr>
          <a:xfrm>
            <a:off x="9599360" y="2689132"/>
            <a:ext cx="567775" cy="567775"/>
          </a:xfrm>
          <a:prstGeom prst="rect">
            <a:avLst/>
          </a:prstGeom>
        </p:spPr>
      </p:pic>
    </p:spTree>
    <p:extLst>
      <p:ext uri="{BB962C8B-B14F-4D97-AF65-F5344CB8AC3E}">
        <p14:creationId xmlns:p14="http://schemas.microsoft.com/office/powerpoint/2010/main" val="206430510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0B7757-9D6B-142B-8982-59D666DB361E}"/>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5ECAB4ED-8A6D-4092-336D-E4EBADCE6119}"/>
              </a:ext>
            </a:extLst>
          </p:cNvPr>
          <p:cNvSpPr txBox="1">
            <a:spLocks noGrp="1"/>
          </p:cNvSpPr>
          <p:nvPr>
            <p:ph type="title"/>
          </p:nvPr>
        </p:nvSpPr>
        <p:spPr>
          <a:xfrm>
            <a:off x="588263" y="494585"/>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en-US"/>
              <a:t>C</a:t>
            </a:r>
            <a:r>
              <a:rPr lang="en-US" sz="3600"/>
              <a:t>reating agents using Agent Templates </a:t>
            </a:r>
            <a:endParaRPr kumimoji="0" lang="en-US" sz="3600" b="0" i="0" u="none" strike="noStrike" kern="1200" cap="none" spc="-50" normalizeH="0" baseline="0" noProof="0">
              <a:ln w="3175">
                <a:noFill/>
              </a:ln>
              <a:solidFill>
                <a:srgbClr val="000000"/>
              </a:solidFill>
              <a:effectLst/>
              <a:uLnTx/>
              <a:uFillTx/>
              <a:latin typeface="Segoe UI Semibold"/>
              <a:ea typeface="+mn-ea"/>
              <a:cs typeface="Segoe UI Semibold"/>
            </a:endParaRPr>
          </a:p>
        </p:txBody>
      </p:sp>
      <p:graphicFrame>
        <p:nvGraphicFramePr>
          <p:cNvPr id="41" name="Diagram 40">
            <a:extLst>
              <a:ext uri="{FF2B5EF4-FFF2-40B4-BE49-F238E27FC236}">
                <a16:creationId xmlns:a16="http://schemas.microsoft.com/office/drawing/2014/main" id="{FC1B3FFE-DD4F-7C92-7761-F74104E4C3B7}"/>
              </a:ext>
            </a:extLst>
          </p:cNvPr>
          <p:cNvGraphicFramePr/>
          <p:nvPr>
            <p:extLst>
              <p:ext uri="{D42A27DB-BD31-4B8C-83A1-F6EECF244321}">
                <p14:modId xmlns:p14="http://schemas.microsoft.com/office/powerpoint/2010/main" val="233135090"/>
              </p:ext>
            </p:extLst>
          </p:nvPr>
        </p:nvGraphicFramePr>
        <p:xfrm>
          <a:off x="588263" y="1137424"/>
          <a:ext cx="11112412" cy="20819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E94CF77A-6F53-07B0-5076-9A13B4B6A05E}"/>
              </a:ext>
            </a:extLst>
          </p:cNvPr>
          <p:cNvPicPr>
            <a:picLocks noChangeAspect="1"/>
          </p:cNvPicPr>
          <p:nvPr/>
        </p:nvPicPr>
        <p:blipFill>
          <a:blip r:embed="rId8"/>
          <a:stretch>
            <a:fillRect/>
          </a:stretch>
        </p:blipFill>
        <p:spPr>
          <a:xfrm>
            <a:off x="170053" y="3219412"/>
            <a:ext cx="2994500" cy="3055162"/>
          </a:xfrm>
          <a:prstGeom prst="roundRect">
            <a:avLst>
              <a:gd name="adj" fmla="val 4114"/>
            </a:avLst>
          </a:prstGeom>
          <a:ln>
            <a:noFill/>
          </a:ln>
          <a:effectLst>
            <a:outerShdw blurRad="292100" dist="139700" dir="2700000" algn="tl" rotWithShape="0">
              <a:srgbClr val="333333">
                <a:alpha val="65000"/>
              </a:srgbClr>
            </a:outerShdw>
          </a:effectLst>
        </p:spPr>
      </p:pic>
      <p:sp>
        <p:nvSpPr>
          <p:cNvPr id="5" name="TextBox 4">
            <a:extLst>
              <a:ext uri="{FF2B5EF4-FFF2-40B4-BE49-F238E27FC236}">
                <a16:creationId xmlns:a16="http://schemas.microsoft.com/office/drawing/2014/main" id="{AC39A7B8-2AE6-E82D-8491-2727221A9D86}"/>
              </a:ext>
            </a:extLst>
          </p:cNvPr>
          <p:cNvSpPr txBox="1"/>
          <p:nvPr/>
        </p:nvSpPr>
        <p:spPr>
          <a:xfrm>
            <a:off x="3556850" y="3638589"/>
            <a:ext cx="2146853" cy="2154436"/>
          </a:xfrm>
          <a:prstGeom prst="rect">
            <a:avLst/>
          </a:prstGeom>
          <a:noFill/>
        </p:spPr>
        <p:txBody>
          <a:bodyPr wrap="square" lIns="0" tIns="0" rIns="0" bIns="0" rtlCol="0">
            <a:spAutoFit/>
          </a:bodyPr>
          <a:lstStyle/>
          <a:p>
            <a:pPr algn="l"/>
            <a:r>
              <a:rPr lang="en-IN" sz="2000"/>
              <a:t>Refine:</a:t>
            </a:r>
          </a:p>
          <a:p>
            <a:pPr marL="457200" indent="-457200" algn="l">
              <a:buFont typeface="+mj-lt"/>
              <a:buAutoNum type="arabicPeriod"/>
            </a:pPr>
            <a:r>
              <a:rPr lang="en-IN" sz="2000"/>
              <a:t>Details</a:t>
            </a:r>
          </a:p>
          <a:p>
            <a:pPr marL="457200" indent="-457200" algn="l">
              <a:buFont typeface="+mj-lt"/>
              <a:buAutoNum type="arabicPeriod"/>
            </a:pPr>
            <a:r>
              <a:rPr lang="en-IN" sz="2000"/>
              <a:t>Instructions</a:t>
            </a:r>
          </a:p>
          <a:p>
            <a:pPr marL="457200" indent="-457200" algn="l">
              <a:buFont typeface="+mj-lt"/>
              <a:buAutoNum type="arabicPeriod"/>
            </a:pPr>
            <a:r>
              <a:rPr lang="en-IN" sz="2000"/>
              <a:t>Knowledge</a:t>
            </a:r>
          </a:p>
          <a:p>
            <a:pPr marL="457200" indent="-457200" algn="l">
              <a:buFont typeface="+mj-lt"/>
              <a:buAutoNum type="arabicPeriod"/>
            </a:pPr>
            <a:r>
              <a:rPr lang="en-IN" sz="2000"/>
              <a:t>Capabilities</a:t>
            </a:r>
          </a:p>
          <a:p>
            <a:pPr marL="457200" indent="-457200" algn="l">
              <a:buFont typeface="+mj-lt"/>
              <a:buAutoNum type="arabicPeriod"/>
            </a:pPr>
            <a:r>
              <a:rPr lang="en-IN" sz="2000"/>
              <a:t>Suggested Prompts</a:t>
            </a:r>
          </a:p>
        </p:txBody>
      </p:sp>
      <p:pic>
        <p:nvPicPr>
          <p:cNvPr id="7" name="Picture 6">
            <a:extLst>
              <a:ext uri="{FF2B5EF4-FFF2-40B4-BE49-F238E27FC236}">
                <a16:creationId xmlns:a16="http://schemas.microsoft.com/office/drawing/2014/main" id="{457905E2-01D6-393B-D54A-F913952A94BE}"/>
              </a:ext>
            </a:extLst>
          </p:cNvPr>
          <p:cNvPicPr>
            <a:picLocks noChangeAspect="1"/>
          </p:cNvPicPr>
          <p:nvPr/>
        </p:nvPicPr>
        <p:blipFill>
          <a:blip r:embed="rId9"/>
          <a:stretch>
            <a:fillRect/>
          </a:stretch>
        </p:blipFill>
        <p:spPr>
          <a:xfrm>
            <a:off x="6096001" y="3219412"/>
            <a:ext cx="2771212" cy="3055162"/>
          </a:xfrm>
          <a:prstGeom prst="roundRect">
            <a:avLst>
              <a:gd name="adj" fmla="val 4114"/>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FDEC98CB-70D0-B6D2-B016-A9A2E3ED029A}"/>
              </a:ext>
            </a:extLst>
          </p:cNvPr>
          <p:cNvPicPr>
            <a:picLocks noChangeAspect="1"/>
          </p:cNvPicPr>
          <p:nvPr/>
        </p:nvPicPr>
        <p:blipFill>
          <a:blip r:embed="rId10"/>
          <a:srcRect l="1148" t="931" r="1874" b="2503"/>
          <a:stretch>
            <a:fillRect/>
          </a:stretch>
        </p:blipFill>
        <p:spPr>
          <a:xfrm>
            <a:off x="9155745" y="3696452"/>
            <a:ext cx="2771212" cy="2096573"/>
          </a:xfrm>
          <a:prstGeom prst="roundRect">
            <a:avLst>
              <a:gd name="adj" fmla="val 4114"/>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4491248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DCEDB8-754C-8F21-F880-154B600C04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4FDDAB4-B1A3-8D19-2F2C-16576C48B41D}"/>
              </a:ext>
            </a:extLst>
          </p:cNvPr>
          <p:cNvSpPr>
            <a:spLocks noGrp="1"/>
          </p:cNvSpPr>
          <p:nvPr>
            <p:ph type="title"/>
          </p:nvPr>
        </p:nvSpPr>
        <p:spPr>
          <a:xfrm>
            <a:off x="461528" y="400655"/>
            <a:ext cx="6084052" cy="1036033"/>
          </a:xfrm>
        </p:spPr>
        <p:txBody>
          <a:bodyPr>
            <a:noAutofit/>
          </a:bodyPr>
          <a:lstStyle/>
          <a:p>
            <a:r>
              <a:rPr lang="en-GB" sz="3200">
                <a:solidFill>
                  <a:schemeClr val="tx1"/>
                </a:solidFill>
              </a:rPr>
              <a:t>Configuration Settings/Options in Agent Builder</a:t>
            </a:r>
            <a:endParaRPr lang="en-US" sz="3200">
              <a:solidFill>
                <a:schemeClr val="tx1"/>
              </a:solidFill>
            </a:endParaRPr>
          </a:p>
        </p:txBody>
      </p:sp>
      <p:sp>
        <p:nvSpPr>
          <p:cNvPr id="5" name="TextBox 4">
            <a:extLst>
              <a:ext uri="{FF2B5EF4-FFF2-40B4-BE49-F238E27FC236}">
                <a16:creationId xmlns:a16="http://schemas.microsoft.com/office/drawing/2014/main" id="{F4D2EA84-D08A-8881-E75A-8944392EBAC8}"/>
              </a:ext>
            </a:extLst>
          </p:cNvPr>
          <p:cNvSpPr txBox="1"/>
          <p:nvPr/>
        </p:nvSpPr>
        <p:spPr>
          <a:xfrm>
            <a:off x="461528" y="1570305"/>
            <a:ext cx="6125703" cy="5062924"/>
          </a:xfrm>
          <a:prstGeom prst="rect">
            <a:avLst/>
          </a:prstGeom>
          <a:noFill/>
        </p:spPr>
        <p:txBody>
          <a:bodyPr wrap="square">
            <a:sp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lang="en-US" sz="1900" b="1">
                <a:solidFill>
                  <a:srgbClr val="1E1E1E"/>
                </a:solidFill>
                <a:latin typeface="+mj-lt"/>
                <a:cs typeface="Segoe Sans Display" pitchFamily="2" charset="0"/>
              </a:rPr>
              <a:t>Description:</a:t>
            </a:r>
            <a:r>
              <a:rPr kumimoji="0" lang="en-US" sz="1900" b="1" i="0" u="none" strike="noStrike" kern="1200" cap="none" spc="0" normalizeH="0" baseline="0" noProof="0">
                <a:ln>
                  <a:noFill/>
                </a:ln>
                <a:solidFill>
                  <a:srgbClr val="1E1E1E"/>
                </a:solidFill>
                <a:effectLst/>
                <a:uLnTx/>
                <a:uFillTx/>
                <a:latin typeface="Segoe UI"/>
                <a:ea typeface="+mn-ea"/>
                <a:cs typeface="Segoe Sans Display" pitchFamily="2" charset="0"/>
              </a:rPr>
              <a:t> </a:t>
            </a:r>
            <a:r>
              <a:rPr kumimoji="0" lang="en-US" sz="1900" i="0" u="none" strike="noStrike" kern="1200" cap="none" spc="0" normalizeH="0" baseline="0" noProof="0">
                <a:ln>
                  <a:noFill/>
                </a:ln>
                <a:solidFill>
                  <a:srgbClr val="1E1E1E"/>
                </a:solidFill>
                <a:effectLst/>
                <a:uLnTx/>
                <a:uFillTx/>
                <a:latin typeface="Segoe UI"/>
                <a:ea typeface="+mn-ea"/>
                <a:cs typeface="Segoe Sans Display" pitchFamily="2" charset="0"/>
              </a:rPr>
              <a:t>Describes the purpose of your agent</a:t>
            </a:r>
          </a:p>
          <a:p>
            <a:pPr marL="0" marR="0" lvl="0" indent="0" algn="l" defTabSz="932472" rtl="0" eaLnBrk="1" fontAlgn="auto" latinLnBrk="0" hangingPunct="1">
              <a:lnSpc>
                <a:spcPct val="100000"/>
              </a:lnSpc>
              <a:spcBef>
                <a:spcPct val="0"/>
              </a:spcBef>
              <a:spcAft>
                <a:spcPct val="0"/>
              </a:spcAft>
              <a:buClrTx/>
              <a:buSzTx/>
              <a:buFontTx/>
              <a:buNone/>
              <a:tabLst/>
              <a:defRPr/>
            </a:pPr>
            <a:endParaRPr lang="en-US" sz="1900" b="1">
              <a:solidFill>
                <a:srgbClr val="1E1E1E"/>
              </a:solidFill>
              <a:latin typeface="Segoe UI"/>
              <a:cs typeface="Segoe Sans Display" pitchFamily="2" charset="0"/>
            </a:endParaRPr>
          </a:p>
          <a:p>
            <a:pPr marL="0" marR="0" lvl="0" indent="0" algn="l" defTabSz="932472" rtl="0" eaLnBrk="1" fontAlgn="auto" latinLnBrk="0" hangingPunct="1">
              <a:lnSpc>
                <a:spcPct val="100000"/>
              </a:lnSpc>
              <a:spcBef>
                <a:spcPct val="0"/>
              </a:spcBef>
              <a:spcAft>
                <a:spcPct val="0"/>
              </a:spcAft>
              <a:buClrTx/>
              <a:buSzTx/>
              <a:buFontTx/>
              <a:buNone/>
              <a:tabLst/>
              <a:defRPr/>
            </a:pPr>
            <a:r>
              <a:rPr lang="en-US" sz="1900" b="1">
                <a:solidFill>
                  <a:srgbClr val="1E1E1E"/>
                </a:solidFill>
                <a:latin typeface="+mj-lt"/>
                <a:cs typeface="Segoe Sans Display" pitchFamily="2" charset="0"/>
              </a:rPr>
              <a:t>Instructions:</a:t>
            </a:r>
            <a:r>
              <a:rPr kumimoji="0" lang="en-US" sz="1900" b="1" i="0" u="none" strike="noStrike" kern="1200" cap="none" spc="0" normalizeH="0" baseline="0" noProof="0">
                <a:ln>
                  <a:noFill/>
                </a:ln>
                <a:solidFill>
                  <a:srgbClr val="1E1E1E"/>
                </a:solidFill>
                <a:effectLst/>
                <a:uLnTx/>
                <a:uFillTx/>
                <a:latin typeface="Segoe UI"/>
                <a:ea typeface="+mn-ea"/>
                <a:cs typeface="Segoe Sans Display" pitchFamily="2" charset="0"/>
              </a:rPr>
              <a:t> </a:t>
            </a:r>
            <a:r>
              <a:rPr kumimoji="0" lang="en-US" sz="1900" i="0" u="none" strike="noStrike" kern="1200" cap="none" spc="0" normalizeH="0" baseline="0" noProof="0">
                <a:ln>
                  <a:noFill/>
                </a:ln>
                <a:solidFill>
                  <a:srgbClr val="1E1E1E"/>
                </a:solidFill>
                <a:effectLst/>
                <a:uLnTx/>
                <a:uFillTx/>
                <a:latin typeface="Segoe UI"/>
                <a:ea typeface="+mn-ea"/>
                <a:cs typeface="Segoe Sans Display" pitchFamily="2" charset="0"/>
              </a:rPr>
              <a:t>Defines how the agent should work to achieve its specific goals</a:t>
            </a:r>
          </a:p>
          <a:p>
            <a:pPr marL="0" marR="0" lvl="0" indent="0" algn="l" defTabSz="932472" rtl="0" eaLnBrk="1" fontAlgn="auto" latinLnBrk="0" hangingPunct="1">
              <a:lnSpc>
                <a:spcPct val="100000"/>
              </a:lnSpc>
              <a:spcBef>
                <a:spcPct val="0"/>
              </a:spcBef>
              <a:spcAft>
                <a:spcPct val="0"/>
              </a:spcAft>
              <a:buClrTx/>
              <a:buSzTx/>
              <a:buFontTx/>
              <a:buNone/>
              <a:tabLst/>
              <a:defRPr/>
            </a:pPr>
            <a:endParaRPr lang="en-US" sz="1900" b="1">
              <a:solidFill>
                <a:srgbClr val="1E1E1E"/>
              </a:solidFill>
              <a:latin typeface="Segoe UI"/>
              <a:cs typeface="Segoe Sans Display" pitchFamily="2" charset="0"/>
            </a:endParaRPr>
          </a:p>
          <a:p>
            <a:pPr marL="0" marR="0" lvl="0" indent="0" algn="l" defTabSz="932472" rtl="0" eaLnBrk="1" fontAlgn="auto" latinLnBrk="0" hangingPunct="1">
              <a:lnSpc>
                <a:spcPct val="100000"/>
              </a:lnSpc>
              <a:spcBef>
                <a:spcPct val="0"/>
              </a:spcBef>
              <a:spcAft>
                <a:spcPct val="0"/>
              </a:spcAft>
              <a:buClrTx/>
              <a:buSzTx/>
              <a:buFontTx/>
              <a:buNone/>
              <a:tabLst/>
              <a:defRPr/>
            </a:pPr>
            <a:r>
              <a:rPr lang="en-US" sz="1900" b="1">
                <a:solidFill>
                  <a:srgbClr val="1E1E1E"/>
                </a:solidFill>
                <a:latin typeface="+mj-lt"/>
                <a:cs typeface="Segoe Sans Display" pitchFamily="2" charset="0"/>
              </a:rPr>
              <a:t>Knowledge:</a:t>
            </a:r>
            <a:r>
              <a:rPr kumimoji="0" lang="en-US" sz="1900" b="1" i="0" u="none" strike="noStrike" kern="1200" cap="none" spc="0" normalizeH="0" baseline="0" noProof="0">
                <a:ln>
                  <a:noFill/>
                </a:ln>
                <a:solidFill>
                  <a:srgbClr val="1E1E1E"/>
                </a:solidFill>
                <a:effectLst/>
                <a:uLnTx/>
                <a:uFillTx/>
                <a:latin typeface="Segoe UI"/>
                <a:ea typeface="+mn-ea"/>
                <a:cs typeface="Segoe Sans Display" pitchFamily="2" charset="0"/>
              </a:rPr>
              <a:t> </a:t>
            </a:r>
            <a:r>
              <a:rPr kumimoji="0" lang="en-US" sz="1900" i="0" u="none" strike="noStrike" kern="1200" cap="none" spc="0" normalizeH="0" baseline="0" noProof="0">
                <a:ln>
                  <a:noFill/>
                </a:ln>
                <a:solidFill>
                  <a:srgbClr val="1E1E1E"/>
                </a:solidFill>
                <a:effectLst/>
                <a:uLnTx/>
                <a:uFillTx/>
                <a:latin typeface="Segoe UI"/>
                <a:ea typeface="+mn-ea"/>
                <a:cs typeface="Segoe Sans Display" pitchFamily="2" charset="0"/>
              </a:rPr>
              <a:t>Data/Content the agent uses to provide responses based on the context of the user’s request</a:t>
            </a:r>
          </a:p>
          <a:p>
            <a:pPr marL="0" marR="0" lvl="0" indent="0" algn="l" defTabSz="932472" rtl="0" eaLnBrk="1" fontAlgn="auto" latinLnBrk="0" hangingPunct="1">
              <a:lnSpc>
                <a:spcPct val="100000"/>
              </a:lnSpc>
              <a:spcBef>
                <a:spcPct val="0"/>
              </a:spcBef>
              <a:spcAft>
                <a:spcPct val="0"/>
              </a:spcAft>
              <a:buClrTx/>
              <a:buSzTx/>
              <a:buFontTx/>
              <a:buNone/>
              <a:tabLst/>
              <a:defRPr/>
            </a:pPr>
            <a:endParaRPr lang="en-US" sz="1900">
              <a:solidFill>
                <a:srgbClr val="1E1E1E"/>
              </a:solidFill>
              <a:latin typeface="Segoe UI"/>
              <a:cs typeface="Segoe Sans Display" pitchFamily="2" charset="0"/>
            </a:endParaRPr>
          </a:p>
          <a:p>
            <a:pPr marL="0" marR="0" lvl="0" indent="0" algn="l" defTabSz="932472" rtl="0" eaLnBrk="1" fontAlgn="auto" latinLnBrk="0" hangingPunct="1">
              <a:lnSpc>
                <a:spcPct val="100000"/>
              </a:lnSpc>
              <a:spcBef>
                <a:spcPct val="0"/>
              </a:spcBef>
              <a:spcAft>
                <a:spcPct val="0"/>
              </a:spcAft>
              <a:buClrTx/>
              <a:buSzTx/>
              <a:buFontTx/>
              <a:buNone/>
              <a:tabLst/>
              <a:defRPr/>
            </a:pPr>
            <a:r>
              <a:rPr lang="en-US" sz="1900" b="1">
                <a:solidFill>
                  <a:srgbClr val="1E1E1E"/>
                </a:solidFill>
                <a:latin typeface="+mj-lt"/>
                <a:cs typeface="Segoe Sans Display" pitchFamily="2" charset="0"/>
              </a:rPr>
              <a:t>Capabilities:</a:t>
            </a:r>
          </a:p>
          <a:p>
            <a:pPr marL="342900" marR="0" lvl="0" indent="-342900" algn="l" defTabSz="932472"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US" sz="1900">
                <a:solidFill>
                  <a:srgbClr val="1E1E1E"/>
                </a:solidFill>
                <a:latin typeface="+mj-lt"/>
                <a:cs typeface="Segoe Sans Display" pitchFamily="2" charset="0"/>
              </a:rPr>
              <a:t>Code Interpreter: </a:t>
            </a:r>
            <a:r>
              <a:rPr kumimoji="0" lang="en-US" sz="1900" i="0" u="none" strike="noStrike" kern="1200" cap="none" spc="0" normalizeH="0" baseline="0" noProof="0">
                <a:ln>
                  <a:noFill/>
                </a:ln>
                <a:solidFill>
                  <a:srgbClr val="1E1E1E"/>
                </a:solidFill>
                <a:effectLst/>
                <a:uLnTx/>
                <a:uFillTx/>
                <a:latin typeface="Segoe UI"/>
                <a:ea typeface="+mn-ea"/>
                <a:cs typeface="Segoe Sans Display" pitchFamily="2" charset="0"/>
              </a:rPr>
              <a:t>Converts natural language into code to create visualizations, solve math problems, and analyze data.</a:t>
            </a:r>
          </a:p>
          <a:p>
            <a:pPr marL="342900" marR="0" lvl="0" indent="-342900" algn="l" defTabSz="932472"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US" sz="1900">
                <a:solidFill>
                  <a:srgbClr val="1E1E1E"/>
                </a:solidFill>
                <a:latin typeface="+mj-lt"/>
                <a:cs typeface="Segoe Sans Display" pitchFamily="2" charset="0"/>
              </a:rPr>
              <a:t>Image Generator: </a:t>
            </a:r>
            <a:r>
              <a:rPr lang="en-US" sz="1900">
                <a:solidFill>
                  <a:srgbClr val="1E1E1E"/>
                </a:solidFill>
                <a:latin typeface="Segoe UI"/>
                <a:cs typeface="Segoe Sans Display" pitchFamily="2" charset="0"/>
              </a:rPr>
              <a:t>Creates visual aids (like images and art) in response to user prompts.</a:t>
            </a:r>
            <a:endParaRPr kumimoji="0" lang="en-US" sz="1900" i="0" u="none" strike="noStrike" kern="1200" cap="none" spc="0" normalizeH="0" baseline="0" noProof="0">
              <a:ln>
                <a:noFill/>
              </a:ln>
              <a:solidFill>
                <a:srgbClr val="1E1E1E"/>
              </a:solidFill>
              <a:effectLst/>
              <a:uLnTx/>
              <a:uFillTx/>
              <a:latin typeface="Segoe UI"/>
              <a:ea typeface="+mn-ea"/>
              <a:cs typeface="Segoe Sans Display" pitchFamily="2" charset="0"/>
            </a:endParaRPr>
          </a:p>
          <a:p>
            <a:pPr marL="0" marR="0" lvl="0" indent="0" algn="l" defTabSz="932472" rtl="0" eaLnBrk="1" fontAlgn="auto" latinLnBrk="0" hangingPunct="1">
              <a:lnSpc>
                <a:spcPct val="100000"/>
              </a:lnSpc>
              <a:spcBef>
                <a:spcPct val="0"/>
              </a:spcBef>
              <a:spcAft>
                <a:spcPct val="0"/>
              </a:spcAft>
              <a:buClrTx/>
              <a:buSzTx/>
              <a:buFontTx/>
              <a:buNone/>
              <a:tabLst/>
              <a:defRPr/>
            </a:pPr>
            <a:endParaRPr lang="en-US" sz="1900">
              <a:solidFill>
                <a:srgbClr val="1E1E1E"/>
              </a:solidFill>
              <a:latin typeface="Segoe UI"/>
              <a:cs typeface="Segoe Sans Display" pitchFamily="2" charset="0"/>
            </a:endParaRPr>
          </a:p>
          <a:p>
            <a:pPr marL="0" marR="0" lvl="0" indent="0" algn="l" defTabSz="932472" rtl="0" eaLnBrk="1" fontAlgn="auto" latinLnBrk="0" hangingPunct="1">
              <a:lnSpc>
                <a:spcPct val="100000"/>
              </a:lnSpc>
              <a:spcBef>
                <a:spcPct val="0"/>
              </a:spcBef>
              <a:spcAft>
                <a:spcPct val="0"/>
              </a:spcAft>
              <a:buClrTx/>
              <a:buSzTx/>
              <a:buFontTx/>
              <a:buNone/>
              <a:tabLst/>
              <a:defRPr/>
            </a:pPr>
            <a:r>
              <a:rPr kumimoji="0" lang="en-US" sz="1900" b="1" i="0" u="none" strike="noStrike" kern="1200" cap="none" spc="0" normalizeH="0" baseline="0" noProof="0">
                <a:ln>
                  <a:noFill/>
                </a:ln>
                <a:solidFill>
                  <a:srgbClr val="1E1E1E"/>
                </a:solidFill>
                <a:effectLst/>
                <a:uLnTx/>
                <a:uFillTx/>
                <a:latin typeface="+mj-lt"/>
                <a:ea typeface="+mn-ea"/>
                <a:cs typeface="Segoe Sans Display" pitchFamily="2" charset="0"/>
              </a:rPr>
              <a:t>Suggested Prompts: </a:t>
            </a:r>
            <a:r>
              <a:rPr kumimoji="0" lang="en-US" sz="1900" i="0" u="none" strike="noStrike" kern="1200" cap="none" spc="0" normalizeH="0" baseline="0" noProof="0">
                <a:ln>
                  <a:noFill/>
                </a:ln>
                <a:solidFill>
                  <a:srgbClr val="1E1E1E"/>
                </a:solidFill>
                <a:effectLst/>
                <a:uLnTx/>
                <a:uFillTx/>
                <a:latin typeface="Segoe UI"/>
                <a:ea typeface="+mn-ea"/>
                <a:cs typeface="Segoe Sans Display" pitchFamily="2" charset="0"/>
              </a:rPr>
              <a:t>Suggests ways of starting conversations with the agent</a:t>
            </a:r>
          </a:p>
        </p:txBody>
      </p:sp>
      <p:pic>
        <p:nvPicPr>
          <p:cNvPr id="8" name="Picture 7">
            <a:extLst>
              <a:ext uri="{FF2B5EF4-FFF2-40B4-BE49-F238E27FC236}">
                <a16:creationId xmlns:a16="http://schemas.microsoft.com/office/drawing/2014/main" id="{1632C8DC-1BD8-2592-0175-8A889A17A222}"/>
              </a:ext>
            </a:extLst>
          </p:cNvPr>
          <p:cNvPicPr>
            <a:picLocks noChangeAspect="1"/>
          </p:cNvPicPr>
          <p:nvPr/>
        </p:nvPicPr>
        <p:blipFill>
          <a:blip r:embed="rId3"/>
          <a:srcRect t="15266" b="11707"/>
          <a:stretch>
            <a:fillRect/>
          </a:stretch>
        </p:blipFill>
        <p:spPr>
          <a:xfrm>
            <a:off x="7140757" y="34608"/>
            <a:ext cx="5043109" cy="2058352"/>
          </a:xfrm>
          <a:prstGeom prst="roundRect">
            <a:avLst>
              <a:gd name="adj" fmla="val 9357"/>
            </a:avLst>
          </a:prstGeom>
          <a:ln w="28575">
            <a:solidFill>
              <a:schemeClr val="bg1"/>
            </a:solidFill>
          </a:ln>
          <a:effectLst>
            <a:outerShdw blurRad="63500" sx="102000" sy="102000" algn="ctr" rotWithShape="0">
              <a:prstClr val="black">
                <a:alpha val="40000"/>
              </a:prstClr>
            </a:outerShdw>
          </a:effectLst>
        </p:spPr>
      </p:pic>
      <p:pic>
        <p:nvPicPr>
          <p:cNvPr id="10" name="Picture 9">
            <a:extLst>
              <a:ext uri="{FF2B5EF4-FFF2-40B4-BE49-F238E27FC236}">
                <a16:creationId xmlns:a16="http://schemas.microsoft.com/office/drawing/2014/main" id="{8582FA99-BC7E-15C3-8CBE-F629349F8503}"/>
              </a:ext>
            </a:extLst>
          </p:cNvPr>
          <p:cNvPicPr>
            <a:picLocks noChangeAspect="1"/>
          </p:cNvPicPr>
          <p:nvPr/>
        </p:nvPicPr>
        <p:blipFill>
          <a:blip r:embed="rId4"/>
          <a:srcRect l="1667" t="9561" r="-1" b="38662"/>
          <a:stretch>
            <a:fillRect/>
          </a:stretch>
        </p:blipFill>
        <p:spPr>
          <a:xfrm>
            <a:off x="6839815" y="1701754"/>
            <a:ext cx="5040070" cy="2756611"/>
          </a:xfrm>
          <a:prstGeom prst="roundRect">
            <a:avLst>
              <a:gd name="adj" fmla="val 9357"/>
            </a:avLst>
          </a:prstGeom>
          <a:ln w="28575">
            <a:solidFill>
              <a:schemeClr val="bg1"/>
            </a:solidFill>
          </a:ln>
          <a:effectLst>
            <a:outerShdw blurRad="63500" sx="102000" sy="102000" algn="ctr" rotWithShape="0">
              <a:prstClr val="black">
                <a:alpha val="40000"/>
              </a:prstClr>
            </a:outerShdw>
          </a:effectLst>
        </p:spPr>
      </p:pic>
      <p:pic>
        <p:nvPicPr>
          <p:cNvPr id="12" name="Picture 11">
            <a:extLst>
              <a:ext uri="{FF2B5EF4-FFF2-40B4-BE49-F238E27FC236}">
                <a16:creationId xmlns:a16="http://schemas.microsoft.com/office/drawing/2014/main" id="{7DBCC252-17F5-48BC-7FE3-28CF215E0B7D}"/>
              </a:ext>
            </a:extLst>
          </p:cNvPr>
          <p:cNvPicPr>
            <a:picLocks noChangeAspect="1"/>
          </p:cNvPicPr>
          <p:nvPr/>
        </p:nvPicPr>
        <p:blipFill>
          <a:blip r:embed="rId5"/>
          <a:stretch>
            <a:fillRect/>
          </a:stretch>
        </p:blipFill>
        <p:spPr>
          <a:xfrm>
            <a:off x="7140757" y="4067158"/>
            <a:ext cx="5043109" cy="2642913"/>
          </a:xfrm>
          <a:prstGeom prst="roundRect">
            <a:avLst>
              <a:gd name="adj" fmla="val 9357"/>
            </a:avLst>
          </a:prstGeom>
          <a:ln w="28575">
            <a:solidFill>
              <a:schemeClr val="bg1"/>
            </a:solidFill>
          </a:ln>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4966677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719E8B-9529-DCDC-9CA9-A7F5788B6A24}"/>
            </a:ext>
          </a:extLst>
        </p:cNvPr>
        <p:cNvGrpSpPr/>
        <p:nvPr/>
      </p:nvGrpSpPr>
      <p:grpSpPr>
        <a:xfrm>
          <a:off x="0" y="0"/>
          <a:ext cx="0" cy="0"/>
          <a:chOff x="0" y="0"/>
          <a:chExt cx="0" cy="0"/>
        </a:xfrm>
      </p:grpSpPr>
      <p:sp>
        <p:nvSpPr>
          <p:cNvPr id="32" name="TextBox 31">
            <a:extLst>
              <a:ext uri="{FF2B5EF4-FFF2-40B4-BE49-F238E27FC236}">
                <a16:creationId xmlns:a16="http://schemas.microsoft.com/office/drawing/2014/main" id="{C313DBBB-B571-DD6F-30C4-FCA867AEA5C8}"/>
              </a:ext>
              <a:ext uri="{C183D7F6-B498-43B3-948B-1728B52AA6E4}">
                <adec:decorative xmlns:adec="http://schemas.microsoft.com/office/drawing/2017/decorative" val="1"/>
              </a:ext>
            </a:extLst>
          </p:cNvPr>
          <p:cNvSpPr txBox="1">
            <a:spLocks/>
          </p:cNvSpPr>
          <p:nvPr/>
        </p:nvSpPr>
        <p:spPr>
          <a:xfrm>
            <a:off x="5021521" y="1391349"/>
            <a:ext cx="6585262" cy="4267028"/>
          </a:xfrm>
          <a:prstGeom prst="roundRect">
            <a:avLst>
              <a:gd name="adj" fmla="val 3190"/>
            </a:avLst>
          </a:prstGeom>
          <a:solidFill>
            <a:srgbClr val="F7F6FE"/>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defPPr>
              <a:defRPr lang="en-US"/>
            </a:defPPr>
            <a:lvl1pPr algn="ctr" defTabSz="698548">
              <a:defRPr sz="2200" spc="-50">
                <a:ln w="3175">
                  <a:noFill/>
                </a:ln>
                <a:gradFill>
                  <a:gsLst>
                    <a:gs pos="21000">
                      <a:srgbClr val="0078D4"/>
                    </a:gs>
                    <a:gs pos="100000">
                      <a:srgbClr val="C03BC4"/>
                    </a:gs>
                  </a:gsLst>
                  <a:lin ang="2400000" scaled="0"/>
                </a:gradFill>
                <a:latin typeface="Segoe UI Semibold" panose="020B0702040204020203" pitchFamily="34" charset="0"/>
                <a:cs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98548"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50" normalizeH="0" baseline="0" noProof="0">
              <a:ln w="3175">
                <a:noFill/>
              </a:ln>
              <a:gradFill>
                <a:gsLst>
                  <a:gs pos="21000">
                    <a:srgbClr val="0078D4"/>
                  </a:gs>
                  <a:gs pos="100000">
                    <a:srgbClr val="C03BC4"/>
                  </a:gs>
                </a:gsLst>
                <a:lin ang="2400000" scaled="0"/>
              </a:gradFill>
              <a:effectLst/>
              <a:uLnTx/>
              <a:uFillTx/>
              <a:latin typeface="Segoe UI Semibold" panose="020B0702040204020203" pitchFamily="34" charset="0"/>
              <a:ea typeface="+mn-ea"/>
              <a:cs typeface="Segoe UI Semibold"/>
            </a:endParaRPr>
          </a:p>
        </p:txBody>
      </p:sp>
      <p:sp>
        <p:nvSpPr>
          <p:cNvPr id="44" name="TextBox 43">
            <a:extLst>
              <a:ext uri="{FF2B5EF4-FFF2-40B4-BE49-F238E27FC236}">
                <a16:creationId xmlns:a16="http://schemas.microsoft.com/office/drawing/2014/main" id="{3ECB54EA-E188-9C82-BA96-60FEC7422B9C}"/>
              </a:ext>
            </a:extLst>
          </p:cNvPr>
          <p:cNvSpPr txBox="1"/>
          <p:nvPr/>
        </p:nvSpPr>
        <p:spPr>
          <a:xfrm>
            <a:off x="599010" y="1997839"/>
            <a:ext cx="4336127" cy="3170099"/>
          </a:xfrm>
          <a:prstGeom prst="rect">
            <a:avLst/>
          </a:prstGeom>
          <a:noFill/>
        </p:spPr>
        <p:txBody>
          <a:bodyPr wrap="square">
            <a:sp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kumimoji="0" lang="en-CA" sz="2000" b="1" i="0" u="none" strike="noStrike" kern="1200" cap="none" spc="0" normalizeH="0" baseline="0" noProof="0">
                <a:ln>
                  <a:noFill/>
                </a:ln>
                <a:solidFill>
                  <a:srgbClr val="1E1E1E"/>
                </a:solidFill>
                <a:effectLst/>
                <a:uLnTx/>
                <a:uFillTx/>
                <a:latin typeface="Segoe UI"/>
                <a:ea typeface="+mn-ea"/>
                <a:cs typeface="Segoe Sans Display" pitchFamily="2" charset="0"/>
              </a:rPr>
              <a:t>Instructions</a:t>
            </a:r>
            <a:r>
              <a:rPr kumimoji="0" lang="en-CA" sz="2000" b="0" i="0" u="none" strike="noStrike" kern="1200" cap="none" spc="0" normalizeH="0" baseline="0" noProof="0">
                <a:ln>
                  <a:noFill/>
                </a:ln>
                <a:solidFill>
                  <a:srgbClr val="1E1E1E"/>
                </a:solidFill>
                <a:effectLst/>
                <a:uLnTx/>
                <a:uFillTx/>
                <a:latin typeface="Segoe UI"/>
                <a:ea typeface="+mn-ea"/>
                <a:cs typeface="Segoe Sans Display" pitchFamily="2" charset="0"/>
              </a:rPr>
              <a:t> define the agent and tailor its experience to business requirements and expected outcomes.</a:t>
            </a:r>
          </a:p>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CA" sz="2000" b="0" i="0" u="none" strike="noStrike" kern="1200" cap="none" spc="0" normalizeH="0" baseline="0" noProof="0">
              <a:ln>
                <a:noFill/>
              </a:ln>
              <a:solidFill>
                <a:srgbClr val="1E1E1E"/>
              </a:solidFill>
              <a:effectLst/>
              <a:uLnTx/>
              <a:uFillTx/>
              <a:latin typeface="Segoe UI"/>
              <a:ea typeface="+mn-ea"/>
              <a:cs typeface="Segoe Sans Display" pitchFamily="2" charset="0"/>
            </a:endParaRPr>
          </a:p>
          <a:p>
            <a:pPr marL="0" marR="0" lvl="0" indent="0" algn="l" defTabSz="932472" rtl="0" eaLnBrk="1" fontAlgn="auto" latinLnBrk="0" hangingPunct="1">
              <a:lnSpc>
                <a:spcPct val="100000"/>
              </a:lnSpc>
              <a:spcBef>
                <a:spcPct val="0"/>
              </a:spcBef>
              <a:spcAft>
                <a:spcPct val="0"/>
              </a:spcAft>
              <a:buClrTx/>
              <a:buSzTx/>
              <a:buFontTx/>
              <a:buNone/>
              <a:tabLst/>
              <a:defRPr/>
            </a:pPr>
            <a:r>
              <a:rPr kumimoji="0" lang="en-CA" sz="2000" b="0" i="0" u="none" strike="noStrike" kern="1200" cap="none" spc="0" normalizeH="0" baseline="0" noProof="0">
                <a:ln>
                  <a:noFill/>
                </a:ln>
                <a:solidFill>
                  <a:srgbClr val="1E1E1E"/>
                </a:solidFill>
                <a:effectLst/>
                <a:uLnTx/>
                <a:uFillTx/>
                <a:latin typeface="Segoe UI"/>
                <a:ea typeface="+mn-ea"/>
                <a:cs typeface="Segoe Sans Display" pitchFamily="2" charset="0"/>
              </a:rPr>
              <a:t>Not every skill can be fully described in instructions; some will require you to configure</a:t>
            </a:r>
            <a:r>
              <a:rPr lang="en-CA" sz="2000">
                <a:solidFill>
                  <a:srgbClr val="1E1E1E"/>
                </a:solidFill>
                <a:latin typeface="Segoe UI"/>
                <a:cs typeface="Segoe Sans Display" pitchFamily="2" charset="0"/>
              </a:rPr>
              <a:t> other options such as</a:t>
            </a:r>
            <a:r>
              <a:rPr kumimoji="0" lang="en-CA" sz="2000" b="0" i="0" u="none" strike="noStrike" kern="1200" cap="none" spc="0" normalizeH="0" baseline="0" noProof="0">
                <a:ln>
                  <a:noFill/>
                </a:ln>
                <a:solidFill>
                  <a:srgbClr val="1E1E1E"/>
                </a:solidFill>
                <a:effectLst/>
                <a:uLnTx/>
                <a:uFillTx/>
                <a:latin typeface="Segoe UI"/>
                <a:ea typeface="+mn-ea"/>
                <a:cs typeface="Segoe Sans Display" pitchFamily="2" charset="0"/>
              </a:rPr>
              <a:t> </a:t>
            </a:r>
            <a:r>
              <a:rPr kumimoji="0" lang="en-CA" sz="2000" b="1" i="0" u="none" strike="noStrike" kern="1200" cap="none" spc="0" normalizeH="0" baseline="0" noProof="0">
                <a:ln>
                  <a:noFill/>
                </a:ln>
                <a:solidFill>
                  <a:srgbClr val="1E1E1E"/>
                </a:solidFill>
                <a:effectLst/>
                <a:uLnTx/>
                <a:uFillTx/>
                <a:latin typeface="Segoe UI"/>
                <a:ea typeface="+mn-ea"/>
                <a:cs typeface="Segoe Sans Display" pitchFamily="2" charset="0"/>
              </a:rPr>
              <a:t>knowledge</a:t>
            </a:r>
            <a:r>
              <a:rPr kumimoji="0" lang="en-CA" sz="2000" b="0" i="0" u="none" strike="noStrike" kern="1200" cap="none" spc="0" normalizeH="0" baseline="0" noProof="0">
                <a:ln>
                  <a:noFill/>
                </a:ln>
                <a:solidFill>
                  <a:srgbClr val="1E1E1E"/>
                </a:solidFill>
                <a:effectLst/>
                <a:uLnTx/>
                <a:uFillTx/>
                <a:latin typeface="Segoe UI"/>
                <a:ea typeface="+mn-ea"/>
                <a:cs typeface="Segoe Sans Display" pitchFamily="2" charset="0"/>
              </a:rPr>
              <a:t> sources or </a:t>
            </a:r>
            <a:r>
              <a:rPr kumimoji="0" lang="en-CA" sz="2000" b="1" i="0" u="none" strike="noStrike" kern="1200" cap="none" spc="0" normalizeH="0" baseline="0" noProof="0">
                <a:ln>
                  <a:noFill/>
                </a:ln>
                <a:solidFill>
                  <a:srgbClr val="1E1E1E"/>
                </a:solidFill>
                <a:effectLst/>
                <a:uLnTx/>
                <a:uFillTx/>
                <a:latin typeface="Segoe UI"/>
                <a:ea typeface="+mn-ea"/>
                <a:cs typeface="Segoe Sans Display" pitchFamily="2" charset="0"/>
              </a:rPr>
              <a:t>actions</a:t>
            </a:r>
            <a:r>
              <a:rPr kumimoji="0" lang="en-CA" sz="2000" b="0" i="0" u="none" strike="noStrike" kern="1200" cap="none" spc="0" normalizeH="0" baseline="0" noProof="0">
                <a:ln>
                  <a:noFill/>
                </a:ln>
                <a:solidFill>
                  <a:srgbClr val="1E1E1E"/>
                </a:solidFill>
                <a:effectLst/>
                <a:uLnTx/>
                <a:uFillTx/>
                <a:latin typeface="Segoe UI"/>
                <a:ea typeface="+mn-ea"/>
                <a:cs typeface="Segoe Sans Display" pitchFamily="2" charset="0"/>
              </a:rPr>
              <a:t> (coming soon).</a:t>
            </a:r>
          </a:p>
        </p:txBody>
      </p:sp>
      <p:sp>
        <p:nvSpPr>
          <p:cNvPr id="4" name="Rounded Rectangle 2">
            <a:extLst>
              <a:ext uri="{FF2B5EF4-FFF2-40B4-BE49-F238E27FC236}">
                <a16:creationId xmlns:a16="http://schemas.microsoft.com/office/drawing/2014/main" id="{A8BDE404-5186-0D9A-76B6-71EBDE1E014A}"/>
              </a:ext>
            </a:extLst>
          </p:cNvPr>
          <p:cNvSpPr/>
          <p:nvPr/>
        </p:nvSpPr>
        <p:spPr bwMode="auto">
          <a:xfrm>
            <a:off x="6647309" y="1176852"/>
            <a:ext cx="3399358" cy="430887"/>
          </a:xfrm>
          <a:prstGeom prst="roundRect">
            <a:avLst/>
          </a:prstGeom>
          <a:gradFill flip="none" rotWithShape="1">
            <a:gsLst>
              <a:gs pos="47000">
                <a:srgbClr val="0078D4"/>
              </a:gs>
              <a:gs pos="100000">
                <a:srgbClr val="7354CA"/>
              </a:gs>
            </a:gsLst>
            <a:lin ang="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20" normalizeH="0" baseline="0" noProof="0">
                <a:ln>
                  <a:noFill/>
                </a:ln>
                <a:solidFill>
                  <a:srgbClr val="FFFFFF"/>
                </a:solidFill>
                <a:effectLst/>
                <a:uLnTx/>
                <a:uFillTx/>
                <a:latin typeface="Segoe UI"/>
                <a:ea typeface="+mn-ea"/>
                <a:cs typeface="Segoe UI" pitchFamily="34" charset="0"/>
              </a:rPr>
              <a:t>Key Components of Instructions</a:t>
            </a:r>
            <a:endParaRPr kumimoji="0" lang="en-US" sz="1400" b="1" i="0" u="none" strike="noStrike" kern="1200" cap="none" spc="-20" normalizeH="0" baseline="0" noProof="0">
              <a:ln>
                <a:noFill/>
              </a:ln>
              <a:solidFill>
                <a:srgbClr val="FFFFFF"/>
              </a:solidFill>
              <a:effectLst/>
              <a:uLnTx/>
              <a:uFillTx/>
              <a:latin typeface="Segoe UI"/>
              <a:ea typeface="+mn-ea"/>
              <a:cs typeface="Segoe UI" pitchFamily="34" charset="0"/>
            </a:endParaRPr>
          </a:p>
        </p:txBody>
      </p:sp>
      <p:sp>
        <p:nvSpPr>
          <p:cNvPr id="46" name="Rounded Rectangle 26" descr="Purpose">
            <a:extLst>
              <a:ext uri="{FF2B5EF4-FFF2-40B4-BE49-F238E27FC236}">
                <a16:creationId xmlns:a16="http://schemas.microsoft.com/office/drawing/2014/main" id="{22C4A8FC-7A41-5A1A-B7B9-E67B5F4514D2}"/>
              </a:ext>
            </a:extLst>
          </p:cNvPr>
          <p:cNvSpPr/>
          <p:nvPr/>
        </p:nvSpPr>
        <p:spPr bwMode="auto">
          <a:xfrm>
            <a:off x="5364180" y="2201494"/>
            <a:ext cx="1779379" cy="1221346"/>
          </a:xfrm>
          <a:prstGeom prst="roundRect">
            <a:avLst>
              <a:gd name="adj" fmla="val 14536"/>
            </a:avLst>
          </a:prstGeom>
          <a:solidFill>
            <a:srgbClr val="008272"/>
          </a:solidFill>
          <a:ln w="15875" cap="flat" cmpd="sng" algn="ctr">
            <a:solidFill>
              <a:srgbClr val="4AC5B1"/>
            </a:solidFill>
            <a:prstDash val="solid"/>
            <a:headEnd type="none" w="med" len="med"/>
            <a:tailEnd type="none" w="med" len="med"/>
          </a:ln>
          <a:effectLst>
            <a:outerShdw blurRad="114300" dist="63500" dir="2700000" algn="tl" rotWithShape="0">
              <a:srgbClr val="454142">
                <a:alpha val="20000"/>
              </a:srgbClr>
            </a:outerShdw>
          </a:effectLst>
        </p:spPr>
        <p:txBody>
          <a:bodyPr rot="0" spcFirstLastPara="0" vert="horz" wrap="square" lIns="36000" tIns="0" rIns="3600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CA"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rPr>
              <a:t>Purpose</a:t>
            </a:r>
          </a:p>
        </p:txBody>
      </p:sp>
      <p:sp>
        <p:nvSpPr>
          <p:cNvPr id="38" name="TextBox 9">
            <a:extLst>
              <a:ext uri="{FF2B5EF4-FFF2-40B4-BE49-F238E27FC236}">
                <a16:creationId xmlns:a16="http://schemas.microsoft.com/office/drawing/2014/main" id="{D3501514-5D33-9B8A-F1C1-48AC7F990827}"/>
              </a:ext>
            </a:extLst>
          </p:cNvPr>
          <p:cNvSpPr txBox="1"/>
          <p:nvPr/>
        </p:nvSpPr>
        <p:spPr>
          <a:xfrm>
            <a:off x="5412904" y="3717633"/>
            <a:ext cx="1681929" cy="553998"/>
          </a:xfrm>
          <a:prstGeom prst="rect">
            <a:avLst/>
          </a:prstGeom>
          <a:noFill/>
        </p:spPr>
        <p:txBody>
          <a:bodyPr wrap="squar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Segoe Sans Display" pitchFamily="2" charset="0"/>
              </a:rPr>
              <a:t>What this agent is and its goals</a:t>
            </a:r>
          </a:p>
        </p:txBody>
      </p:sp>
      <p:sp>
        <p:nvSpPr>
          <p:cNvPr id="47" name="Rounded Rectangle 37" descr="Guidelines">
            <a:extLst>
              <a:ext uri="{FF2B5EF4-FFF2-40B4-BE49-F238E27FC236}">
                <a16:creationId xmlns:a16="http://schemas.microsoft.com/office/drawing/2014/main" id="{12D124C9-DECC-87D1-DEBD-6B7393148607}"/>
              </a:ext>
            </a:extLst>
          </p:cNvPr>
          <p:cNvSpPr/>
          <p:nvPr/>
        </p:nvSpPr>
        <p:spPr bwMode="auto">
          <a:xfrm>
            <a:off x="7451110" y="2207654"/>
            <a:ext cx="1791758" cy="1215186"/>
          </a:xfrm>
          <a:prstGeom prst="roundRect">
            <a:avLst>
              <a:gd name="adj" fmla="val 15091"/>
            </a:avLst>
          </a:prstGeom>
          <a:solidFill>
            <a:srgbClr val="B4009E"/>
          </a:solidFill>
          <a:ln w="15875" cap="flat" cmpd="sng" algn="ctr">
            <a:solidFill>
              <a:srgbClr val="C03BC4"/>
            </a:solidFill>
            <a:prstDash val="solid"/>
            <a:headEnd type="none" w="med" len="med"/>
            <a:tailEnd type="none" w="med" len="med"/>
          </a:ln>
          <a:effectLst>
            <a:outerShdw blurRad="114300" dist="63500" dir="2700000" algn="tl" rotWithShape="0">
              <a:srgbClr val="454142">
                <a:alpha val="20000"/>
              </a:srgbClr>
            </a:outerShdw>
          </a:effectLst>
        </p:spPr>
        <p:txBody>
          <a:bodyPr rot="0" spcFirstLastPara="0" vert="horz" wrap="square" lIns="36000" tIns="0" rIns="3600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CA"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rPr>
              <a:t>Guidelines</a:t>
            </a:r>
          </a:p>
        </p:txBody>
      </p:sp>
      <p:sp>
        <p:nvSpPr>
          <p:cNvPr id="39" name="TextBox 7">
            <a:extLst>
              <a:ext uri="{FF2B5EF4-FFF2-40B4-BE49-F238E27FC236}">
                <a16:creationId xmlns:a16="http://schemas.microsoft.com/office/drawing/2014/main" id="{C4E28669-7E24-D234-8ABD-00BB831BC85B}"/>
              </a:ext>
            </a:extLst>
          </p:cNvPr>
          <p:cNvSpPr txBox="1"/>
          <p:nvPr/>
        </p:nvSpPr>
        <p:spPr>
          <a:xfrm>
            <a:off x="7205482" y="3717633"/>
            <a:ext cx="2294806" cy="830997"/>
          </a:xfrm>
          <a:prstGeom prst="rect">
            <a:avLst/>
          </a:prstGeom>
          <a:noFill/>
        </p:spPr>
        <p:txBody>
          <a:bodyPr wrap="square" lIns="0" tIns="0" rIns="0" bIns="0" rtlCol="0" anchor="t">
            <a:spAutoFit/>
          </a:bodyPr>
          <a:lstStyle>
            <a:defPPr>
              <a:defRPr lang="en-US"/>
            </a:defPPr>
            <a:lvl1pPr algn="ctr" defTabSz="914367">
              <a:defRPr>
                <a:solidFill>
                  <a:prstClr val="black"/>
                </a:solidFill>
                <a:cs typeface="Segoe Sans Display"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Segoe Sans Display" pitchFamily="2" charset="0"/>
              </a:rPr>
              <a:t>General directions, tone, rules and restrictions</a:t>
            </a:r>
          </a:p>
        </p:txBody>
      </p:sp>
      <p:sp>
        <p:nvSpPr>
          <p:cNvPr id="48" name="Rounded Rectangle 34" descr="Skills">
            <a:extLst>
              <a:ext uri="{FF2B5EF4-FFF2-40B4-BE49-F238E27FC236}">
                <a16:creationId xmlns:a16="http://schemas.microsoft.com/office/drawing/2014/main" id="{0181EB38-E485-88A5-1214-DC28F8568664}"/>
              </a:ext>
            </a:extLst>
          </p:cNvPr>
          <p:cNvSpPr/>
          <p:nvPr/>
        </p:nvSpPr>
        <p:spPr bwMode="auto">
          <a:xfrm>
            <a:off x="9550419" y="2201494"/>
            <a:ext cx="1779379" cy="1215186"/>
          </a:xfrm>
          <a:prstGeom prst="roundRect">
            <a:avLst>
              <a:gd name="adj" fmla="val 15867"/>
            </a:avLst>
          </a:prstGeom>
          <a:solidFill>
            <a:srgbClr val="E25B00"/>
          </a:solidFill>
          <a:ln w="15875" cap="flat" cmpd="sng" algn="ctr">
            <a:solidFill>
              <a:srgbClr val="FFA38B"/>
            </a:solidFill>
            <a:prstDash val="solid"/>
            <a:headEnd type="none" w="med" len="med"/>
            <a:tailEnd type="none" w="med" len="med"/>
          </a:ln>
          <a:effectLst>
            <a:outerShdw blurRad="114300" dist="63500" dir="2700000" algn="tl" rotWithShape="0">
              <a:srgbClr val="454142">
                <a:alpha val="20000"/>
              </a:srgbClr>
            </a:outerShdw>
          </a:effectLst>
        </p:spPr>
        <p:txBody>
          <a:bodyPr rot="0" spcFirstLastPara="0" vert="horz" wrap="square" lIns="36000" tIns="0" rIns="3600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CA"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rPr>
              <a:t>Skills</a:t>
            </a:r>
          </a:p>
        </p:txBody>
      </p:sp>
      <p:sp>
        <p:nvSpPr>
          <p:cNvPr id="41" name="TextBox 6">
            <a:extLst>
              <a:ext uri="{FF2B5EF4-FFF2-40B4-BE49-F238E27FC236}">
                <a16:creationId xmlns:a16="http://schemas.microsoft.com/office/drawing/2014/main" id="{1FCA4684-7CAC-5F8F-A8D9-78589466D5E6}"/>
              </a:ext>
            </a:extLst>
          </p:cNvPr>
          <p:cNvSpPr txBox="1"/>
          <p:nvPr/>
        </p:nvSpPr>
        <p:spPr>
          <a:xfrm>
            <a:off x="9562211" y="3717634"/>
            <a:ext cx="1779378" cy="1384995"/>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Segoe Sans Display" pitchFamily="2" charset="0"/>
              </a:rPr>
              <a:t>Granular tasks with step-by-step workflow, that can be handled by LLM</a:t>
            </a:r>
            <a:endParaRPr kumimoji="0" lang="en-US" sz="1800" b="0" i="0" u="none" strike="noStrike" kern="1200" cap="none" spc="0" normalizeH="0" baseline="0" noProof="0">
              <a:ln>
                <a:noFill/>
              </a:ln>
              <a:solidFill>
                <a:prstClr val="black"/>
              </a:solidFill>
              <a:effectLst/>
              <a:uLnTx/>
              <a:uFillTx/>
              <a:latin typeface="Segoe UI"/>
              <a:ea typeface="+mn-ea"/>
              <a:cs typeface="Segoe Sans Display" pitchFamily="2" charset="0"/>
            </a:endParaRPr>
          </a:p>
        </p:txBody>
      </p:sp>
      <p:sp>
        <p:nvSpPr>
          <p:cNvPr id="3" name="TextBox 2">
            <a:extLst>
              <a:ext uri="{FF2B5EF4-FFF2-40B4-BE49-F238E27FC236}">
                <a16:creationId xmlns:a16="http://schemas.microsoft.com/office/drawing/2014/main" id="{F0D800CB-884F-525D-002F-75218FF44C32}"/>
              </a:ext>
            </a:extLst>
          </p:cNvPr>
          <p:cNvSpPr txBox="1"/>
          <p:nvPr/>
        </p:nvSpPr>
        <p:spPr>
          <a:xfrm>
            <a:off x="2846640" y="6285396"/>
            <a:ext cx="6814456" cy="363946"/>
          </a:xfrm>
          <a:prstGeom prst="rect">
            <a:avLst/>
          </a:prstGeom>
          <a:noFill/>
        </p:spPr>
        <p:txBody>
          <a:bodyPr wrap="square">
            <a:spAutoFit/>
          </a:bodyPr>
          <a:lstStyle/>
          <a:p>
            <a:pPr algn="ctr"/>
            <a:r>
              <a:rPr lang="en-US">
                <a:hlinkClick r:id="rId3"/>
              </a:rPr>
              <a:t>Write effective instructions for declarative agents | Microsoft Learn</a:t>
            </a:r>
            <a:endParaRPr lang="en-US"/>
          </a:p>
        </p:txBody>
      </p:sp>
    </p:spTree>
    <p:extLst>
      <p:ext uri="{BB962C8B-B14F-4D97-AF65-F5344CB8AC3E}">
        <p14:creationId xmlns:p14="http://schemas.microsoft.com/office/powerpoint/2010/main" val="206918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AFB010-E8DB-E5A0-984C-88FED6E6A0A7}"/>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CCEDC2FA-0E0B-F1E8-BC77-8132D86579AE}"/>
              </a:ext>
              <a:ext uri="{C183D7F6-B498-43B3-948B-1728B52AA6E4}">
                <adec:decorative xmlns:adec="http://schemas.microsoft.com/office/drawing/2017/decorative" val="1"/>
              </a:ext>
            </a:extLst>
          </p:cNvPr>
          <p:cNvSpPr txBox="1">
            <a:spLocks/>
          </p:cNvSpPr>
          <p:nvPr/>
        </p:nvSpPr>
        <p:spPr>
          <a:xfrm>
            <a:off x="4067098" y="1071597"/>
            <a:ext cx="7965907" cy="5009832"/>
          </a:xfrm>
          <a:prstGeom prst="roundRect">
            <a:avLst>
              <a:gd name="adj" fmla="val 3190"/>
            </a:avLst>
          </a:prstGeom>
          <a:solidFill>
            <a:srgbClr val="F7F6FE"/>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defPPr>
              <a:defRPr lang="en-US"/>
            </a:defPPr>
            <a:lvl1pPr algn="ctr" defTabSz="698548">
              <a:defRPr sz="2200" spc="-50">
                <a:ln w="3175">
                  <a:noFill/>
                </a:ln>
                <a:gradFill>
                  <a:gsLst>
                    <a:gs pos="21000">
                      <a:srgbClr val="0078D4"/>
                    </a:gs>
                    <a:gs pos="100000">
                      <a:srgbClr val="C03BC4"/>
                    </a:gs>
                  </a:gsLst>
                  <a:lin ang="2400000" scaled="0"/>
                </a:gradFill>
                <a:latin typeface="Segoe UI Semibold" panose="020B0702040204020203" pitchFamily="34" charset="0"/>
                <a:cs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98548"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50" normalizeH="0" baseline="0" noProof="0">
              <a:ln w="3175">
                <a:noFill/>
              </a:ln>
              <a:gradFill>
                <a:gsLst>
                  <a:gs pos="21000">
                    <a:srgbClr val="0078D4"/>
                  </a:gs>
                  <a:gs pos="100000">
                    <a:srgbClr val="C03BC4"/>
                  </a:gs>
                </a:gsLst>
                <a:lin ang="2400000" scaled="0"/>
              </a:gradFill>
              <a:effectLst/>
              <a:uLnTx/>
              <a:uFillTx/>
              <a:latin typeface="Segoe UI Semibold" panose="020B0702040204020203" pitchFamily="34" charset="0"/>
              <a:ea typeface="+mn-ea"/>
              <a:cs typeface="Segoe UI Semibold"/>
            </a:endParaRPr>
          </a:p>
        </p:txBody>
      </p:sp>
      <p:sp>
        <p:nvSpPr>
          <p:cNvPr id="11" name="Title 8">
            <a:extLst>
              <a:ext uri="{FF2B5EF4-FFF2-40B4-BE49-F238E27FC236}">
                <a16:creationId xmlns:a16="http://schemas.microsoft.com/office/drawing/2014/main" id="{FAC78B42-C546-6BCD-8B97-9DB5760EB226}"/>
              </a:ext>
            </a:extLst>
          </p:cNvPr>
          <p:cNvSpPr>
            <a:spLocks noGrp="1"/>
          </p:cNvSpPr>
          <p:nvPr>
            <p:ph type="title"/>
          </p:nvPr>
        </p:nvSpPr>
        <p:spPr>
          <a:xfrm>
            <a:off x="586740" y="384752"/>
            <a:ext cx="11018520" cy="430887"/>
          </a:xfrm>
        </p:spPr>
        <p:txBody>
          <a:bodyPr>
            <a:normAutofit fontScale="90000"/>
          </a:bodyPr>
          <a:lstStyle/>
          <a:p>
            <a:r>
              <a:rPr lang="en-US">
                <a:solidFill>
                  <a:schemeClr val="tx1"/>
                </a:solidFill>
              </a:rPr>
              <a:t>Writing Great Agent Instructions</a:t>
            </a:r>
            <a:endParaRPr lang="en-CA">
              <a:solidFill>
                <a:schemeClr val="tx1"/>
              </a:solidFill>
            </a:endParaRPr>
          </a:p>
        </p:txBody>
      </p:sp>
      <p:sp>
        <p:nvSpPr>
          <p:cNvPr id="84" name="TextBox 83">
            <a:extLst>
              <a:ext uri="{FF2B5EF4-FFF2-40B4-BE49-F238E27FC236}">
                <a16:creationId xmlns:a16="http://schemas.microsoft.com/office/drawing/2014/main" id="{AEB116F2-6A2A-A846-F5E8-7DF3AE02EBD7}"/>
              </a:ext>
            </a:extLst>
          </p:cNvPr>
          <p:cNvSpPr txBox="1"/>
          <p:nvPr/>
        </p:nvSpPr>
        <p:spPr>
          <a:xfrm>
            <a:off x="473690" y="1913083"/>
            <a:ext cx="3471082" cy="3170099"/>
          </a:xfrm>
          <a:prstGeom prst="rect">
            <a:avLst/>
          </a:prstGeom>
          <a:noFill/>
        </p:spPr>
        <p:txBody>
          <a:bodyPr wrap="square">
            <a:sp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kumimoji="0" lang="en-CA" sz="2000" b="0" i="0" u="none" strike="noStrike" kern="1200" cap="none" spc="0" normalizeH="0" baseline="0" noProof="0">
                <a:ln>
                  <a:noFill/>
                </a:ln>
                <a:solidFill>
                  <a:srgbClr val="1E1E1E"/>
                </a:solidFill>
                <a:effectLst/>
                <a:uLnTx/>
                <a:uFillTx/>
                <a:latin typeface="Segoe Sans Display" pitchFamily="2" charset="0"/>
                <a:ea typeface="+mn-ea"/>
                <a:cs typeface="Segoe Sans Display" pitchFamily="2" charset="0"/>
              </a:rPr>
              <a:t>To get the best user experience, it’s important to focus on some of the </a:t>
            </a:r>
            <a:r>
              <a:rPr kumimoji="0" lang="en-CA" sz="2000" b="1" i="0" u="none" strike="noStrike" kern="1200" cap="none" spc="-38" normalizeH="0" baseline="0" noProof="0">
                <a:ln w="3175">
                  <a:noFill/>
                </a:ln>
                <a:gradFill flip="none" rotWithShape="1">
                  <a:gsLst>
                    <a:gs pos="50000">
                      <a:srgbClr val="8661C5"/>
                    </a:gs>
                    <a:gs pos="0">
                      <a:srgbClr val="3E76D4"/>
                    </a:gs>
                    <a:gs pos="100000">
                      <a:srgbClr val="C73ECC"/>
                    </a:gs>
                  </a:gsLst>
                  <a:lin ang="2700000" scaled="1"/>
                  <a:tileRect/>
                </a:gradFill>
                <a:effectLst/>
                <a:uLnTx/>
                <a:uFillTx/>
                <a:latin typeface="Segoe Sans Display" pitchFamily="2" charset="0"/>
                <a:ea typeface="+mn-ea"/>
                <a:cs typeface="Segoe Sans Display" pitchFamily="2" charset="0"/>
              </a:rPr>
              <a:t>key elements </a:t>
            </a:r>
            <a:r>
              <a:rPr kumimoji="0" lang="en-CA" sz="2000" b="0" i="0" u="none" strike="noStrike" kern="1200" cap="none" spc="0" normalizeH="0" baseline="0" noProof="0">
                <a:ln>
                  <a:noFill/>
                </a:ln>
                <a:solidFill>
                  <a:srgbClr val="1E1E1E"/>
                </a:solidFill>
                <a:effectLst/>
                <a:uLnTx/>
                <a:uFillTx/>
                <a:latin typeface="Segoe Sans Display" pitchFamily="2" charset="0"/>
                <a:ea typeface="+mn-ea"/>
                <a:cs typeface="Segoe Sans Display" pitchFamily="2" charset="0"/>
              </a:rPr>
              <a:t>when phrasing your instructions.</a:t>
            </a:r>
          </a:p>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CA" sz="2000" b="0" i="0" u="none" strike="noStrike" kern="1200" cap="none" spc="0" normalizeH="0" baseline="0" noProof="0">
              <a:ln>
                <a:noFill/>
              </a:ln>
              <a:solidFill>
                <a:srgbClr val="1E1E1E"/>
              </a:solidFill>
              <a:effectLst/>
              <a:uLnTx/>
              <a:uFillTx/>
              <a:latin typeface="Segoe Sans Display" pitchFamily="2" charset="0"/>
              <a:ea typeface="+mn-ea"/>
              <a:cs typeface="Segoe Sans Display" pitchFamily="2" charset="0"/>
            </a:endParaRPr>
          </a:p>
          <a:p>
            <a:pPr marL="0" marR="0" lvl="0" indent="0" algn="l" defTabSz="932472" rtl="0" eaLnBrk="1" fontAlgn="auto" latinLnBrk="0" hangingPunct="1">
              <a:lnSpc>
                <a:spcPct val="100000"/>
              </a:lnSpc>
              <a:spcBef>
                <a:spcPct val="0"/>
              </a:spcBef>
              <a:spcAft>
                <a:spcPct val="0"/>
              </a:spcAft>
              <a:buClrTx/>
              <a:buSzTx/>
              <a:buFontTx/>
              <a:buNone/>
              <a:tabLst/>
              <a:defRPr/>
            </a:pPr>
            <a:r>
              <a:rPr kumimoji="0" lang="en-CA" sz="2000" b="0" i="0" u="none" strike="noStrike" kern="1200" cap="none" spc="0" normalizeH="0" baseline="0" noProof="0">
                <a:ln>
                  <a:noFill/>
                </a:ln>
                <a:solidFill>
                  <a:srgbClr val="1E1E1E"/>
                </a:solidFill>
                <a:effectLst/>
                <a:uLnTx/>
                <a:uFillTx/>
                <a:latin typeface="Segoe UI"/>
                <a:ea typeface="+mn-ea"/>
                <a:cs typeface="Segoe Sans Display" pitchFamily="2" charset="0"/>
              </a:rPr>
              <a:t>You can provide as many details as needed to minimize user’s effort in prompting your agent.</a:t>
            </a:r>
            <a:endParaRPr kumimoji="0" lang="en-CA" sz="2000" b="0" i="0" u="none" strike="noStrike" kern="1200" cap="none" spc="0" normalizeH="0" baseline="0" noProof="0">
              <a:ln>
                <a:noFill/>
              </a:ln>
              <a:solidFill>
                <a:srgbClr val="1E1E1E"/>
              </a:solidFill>
              <a:effectLst/>
              <a:uLnTx/>
              <a:uFillTx/>
              <a:latin typeface="Segoe Sans Display" pitchFamily="2" charset="0"/>
              <a:ea typeface="+mn-ea"/>
              <a:cs typeface="Segoe Sans Display" pitchFamily="2" charset="0"/>
            </a:endParaRPr>
          </a:p>
        </p:txBody>
      </p:sp>
      <p:sp>
        <p:nvSpPr>
          <p:cNvPr id="12" name="Rounded Rectangle 15">
            <a:extLst>
              <a:ext uri="{FF2B5EF4-FFF2-40B4-BE49-F238E27FC236}">
                <a16:creationId xmlns:a16="http://schemas.microsoft.com/office/drawing/2014/main" id="{48590B0E-C64E-7140-8FAD-8672B5D29EAB}"/>
              </a:ext>
              <a:ext uri="{C183D7F6-B498-43B3-948B-1728B52AA6E4}">
                <adec:decorative xmlns:adec="http://schemas.microsoft.com/office/drawing/2017/decorative" val="1"/>
              </a:ext>
            </a:extLst>
          </p:cNvPr>
          <p:cNvSpPr/>
          <p:nvPr/>
        </p:nvSpPr>
        <p:spPr>
          <a:xfrm>
            <a:off x="4308722" y="2603231"/>
            <a:ext cx="7724283" cy="2659174"/>
          </a:xfrm>
          <a:prstGeom prst="roundRect">
            <a:avLst>
              <a:gd name="adj" fmla="val 7542"/>
            </a:avLst>
          </a:prstGeom>
          <a:gradFill flip="none" rotWithShape="1">
            <a:gsLst>
              <a:gs pos="58000">
                <a:srgbClr val="FBFBFB"/>
              </a:gs>
              <a:gs pos="100000">
                <a:schemeClr val="bg1">
                  <a:lumMod val="95000"/>
                  <a:alpha val="0"/>
                </a:schemeClr>
              </a:gs>
              <a:gs pos="34000">
                <a:schemeClr val="bg1"/>
              </a:gs>
            </a:gsLst>
            <a:lin ang="18900000" scaled="1"/>
            <a:tileRect/>
          </a:gradFill>
          <a:ln w="12700">
            <a:noFill/>
            <a:headEnd type="none" w="med" len="med"/>
            <a:tailEnd type="none" w="med" len="med"/>
          </a:ln>
          <a:effectLst/>
          <a:scene3d>
            <a:camera prst="perspectiveRight" fov="2700000">
              <a:rot lat="0" lon="21594000" rev="0"/>
            </a:camera>
            <a:lightRig rig="flat" dir="t"/>
          </a:scene3d>
          <a:sp3d>
            <a:bevelT w="0" h="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9" name="Rounded Rectangle 25">
            <a:extLst>
              <a:ext uri="{FF2B5EF4-FFF2-40B4-BE49-F238E27FC236}">
                <a16:creationId xmlns:a16="http://schemas.microsoft.com/office/drawing/2014/main" id="{E2F3BBAE-17AB-8238-B076-92753BFCB6CD}"/>
              </a:ext>
            </a:extLst>
          </p:cNvPr>
          <p:cNvSpPr/>
          <p:nvPr/>
        </p:nvSpPr>
        <p:spPr bwMode="auto">
          <a:xfrm>
            <a:off x="4987963" y="1601147"/>
            <a:ext cx="1664517" cy="317873"/>
          </a:xfrm>
          <a:prstGeom prst="roundRect">
            <a:avLst>
              <a:gd name="adj" fmla="val 50000"/>
            </a:avLst>
          </a:prstGeom>
          <a:solidFill>
            <a:schemeClr val="bg1"/>
          </a:solidFill>
          <a:ln w="15875">
            <a:solidFill>
              <a:srgbClr val="4AC5B1"/>
            </a:solidFill>
            <a:headEnd type="none" w="med" len="med"/>
            <a:tailEnd type="none" w="med" len="med"/>
          </a:ln>
          <a:effectLst>
            <a:outerShdw blurRad="1143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3600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CA" sz="1200" b="1" i="0" u="none" strike="noStrike" kern="1200" cap="none" spc="0" normalizeH="0" baseline="0" noProof="0">
                <a:ln>
                  <a:noFill/>
                </a:ln>
                <a:solidFill>
                  <a:srgbClr val="008575"/>
                </a:solidFill>
                <a:effectLst/>
                <a:uLnTx/>
                <a:uFillTx/>
                <a:latin typeface="Segoe UI Semibold"/>
                <a:ea typeface="+mn-ea"/>
                <a:cs typeface="Segoe UI Semibold" panose="020B0502040204020203" pitchFamily="34" charset="0"/>
              </a:rPr>
              <a:t>Purpose</a:t>
            </a:r>
          </a:p>
        </p:txBody>
      </p:sp>
      <p:sp>
        <p:nvSpPr>
          <p:cNvPr id="21" name="TextBox 8">
            <a:extLst>
              <a:ext uri="{FF2B5EF4-FFF2-40B4-BE49-F238E27FC236}">
                <a16:creationId xmlns:a16="http://schemas.microsoft.com/office/drawing/2014/main" id="{58D9E88C-AA4F-E33E-5725-AC729C52AB54}"/>
              </a:ext>
            </a:extLst>
          </p:cNvPr>
          <p:cNvSpPr txBox="1"/>
          <p:nvPr/>
        </p:nvSpPr>
        <p:spPr>
          <a:xfrm>
            <a:off x="5288521" y="2028583"/>
            <a:ext cx="1932206" cy="153888"/>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t>What</a:t>
            </a: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 this agent is</a:t>
            </a:r>
          </a:p>
        </p:txBody>
      </p:sp>
      <p:grpSp>
        <p:nvGrpSpPr>
          <p:cNvPr id="50" name="Group 49">
            <a:extLst>
              <a:ext uri="{FF2B5EF4-FFF2-40B4-BE49-F238E27FC236}">
                <a16:creationId xmlns:a16="http://schemas.microsoft.com/office/drawing/2014/main" id="{2D839618-3797-85FE-AB21-8EC9F5AE2879}"/>
              </a:ext>
              <a:ext uri="{C183D7F6-B498-43B3-948B-1728B52AA6E4}">
                <adec:decorative xmlns:adec="http://schemas.microsoft.com/office/drawing/2017/decorative" val="1"/>
              </a:ext>
            </a:extLst>
          </p:cNvPr>
          <p:cNvGrpSpPr/>
          <p:nvPr/>
        </p:nvGrpSpPr>
        <p:grpSpPr>
          <a:xfrm>
            <a:off x="5151298" y="1956260"/>
            <a:ext cx="1818162" cy="817495"/>
            <a:chOff x="3771385" y="5402085"/>
            <a:chExt cx="1671567" cy="831347"/>
          </a:xfrm>
        </p:grpSpPr>
        <p:sp>
          <p:nvSpPr>
            <p:cNvPr id="53" name="Arc 52">
              <a:extLst>
                <a:ext uri="{FF2B5EF4-FFF2-40B4-BE49-F238E27FC236}">
                  <a16:creationId xmlns:a16="http://schemas.microsoft.com/office/drawing/2014/main" id="{9A28579B-4B16-D5F7-B82C-603D7C426E1D}"/>
                </a:ext>
              </a:extLst>
            </p:cNvPr>
            <p:cNvSpPr/>
            <p:nvPr/>
          </p:nvSpPr>
          <p:spPr>
            <a:xfrm>
              <a:off x="5124705" y="5913032"/>
              <a:ext cx="318247" cy="320400"/>
            </a:xfrm>
            <a:prstGeom prst="arc">
              <a:avLst>
                <a:gd name="adj1" fmla="val 15898458"/>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54" name="Straight Arrow Connector 53">
              <a:extLst>
                <a:ext uri="{FF2B5EF4-FFF2-40B4-BE49-F238E27FC236}">
                  <a16:creationId xmlns:a16="http://schemas.microsoft.com/office/drawing/2014/main" id="{027EB6AD-CD29-FF92-3AAF-6F02B4FBBF93}"/>
                </a:ext>
              </a:extLst>
            </p:cNvPr>
            <p:cNvCxnSpPr>
              <a:cxnSpLocks/>
            </p:cNvCxnSpPr>
            <p:nvPr/>
          </p:nvCxnSpPr>
          <p:spPr>
            <a:xfrm>
              <a:off x="5442952" y="6052733"/>
              <a:ext cx="0" cy="169629"/>
            </a:xfrm>
            <a:prstGeom prst="straightConnector1">
              <a:avLst/>
            </a:prstGeom>
            <a:ln w="12700">
              <a:solidFill>
                <a:srgbClr val="C2C2C2"/>
              </a:solidFill>
              <a:tailEnd type="arrow"/>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A2444DF-C252-FCD9-2DFB-8D6C9F830866}"/>
                </a:ext>
              </a:extLst>
            </p:cNvPr>
            <p:cNvCxnSpPr>
              <a:cxnSpLocks/>
            </p:cNvCxnSpPr>
            <p:nvPr/>
          </p:nvCxnSpPr>
          <p:spPr>
            <a:xfrm flipH="1" flipV="1">
              <a:off x="3923424" y="5912832"/>
              <a:ext cx="1346371" cy="824"/>
            </a:xfrm>
            <a:prstGeom prst="line">
              <a:avLst/>
            </a:prstGeom>
            <a:ln w="12700">
              <a:solidFill>
                <a:srgbClr val="C2C2C2"/>
              </a:solidFill>
            </a:ln>
          </p:spPr>
          <p:style>
            <a:lnRef idx="1">
              <a:schemeClr val="accent1"/>
            </a:lnRef>
            <a:fillRef idx="0">
              <a:schemeClr val="accent1"/>
            </a:fillRef>
            <a:effectRef idx="0">
              <a:schemeClr val="accent1"/>
            </a:effectRef>
            <a:fontRef idx="minor">
              <a:schemeClr val="tx1"/>
            </a:fontRef>
          </p:style>
        </p:cxnSp>
        <p:sp>
          <p:nvSpPr>
            <p:cNvPr id="56" name="Arc 55">
              <a:extLst>
                <a:ext uri="{FF2B5EF4-FFF2-40B4-BE49-F238E27FC236}">
                  <a16:creationId xmlns:a16="http://schemas.microsoft.com/office/drawing/2014/main" id="{B06B25BE-1903-7EFB-2603-083ADF39E2D4}"/>
                </a:ext>
              </a:extLst>
            </p:cNvPr>
            <p:cNvSpPr/>
            <p:nvPr/>
          </p:nvSpPr>
          <p:spPr>
            <a:xfrm rot="10800000">
              <a:off x="3771385" y="5592591"/>
              <a:ext cx="318247" cy="320400"/>
            </a:xfrm>
            <a:prstGeom prst="arc">
              <a:avLst>
                <a:gd name="adj1" fmla="val 16352078"/>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57" name="Straight Connector 56">
              <a:extLst>
                <a:ext uri="{FF2B5EF4-FFF2-40B4-BE49-F238E27FC236}">
                  <a16:creationId xmlns:a16="http://schemas.microsoft.com/office/drawing/2014/main" id="{5EE6D720-BB3A-7F03-5981-0A25DCF37E8F}"/>
                </a:ext>
              </a:extLst>
            </p:cNvPr>
            <p:cNvCxnSpPr>
              <a:cxnSpLocks/>
            </p:cNvCxnSpPr>
            <p:nvPr/>
          </p:nvCxnSpPr>
          <p:spPr>
            <a:xfrm>
              <a:off x="3771526" y="5402085"/>
              <a:ext cx="0" cy="357457"/>
            </a:xfrm>
            <a:prstGeom prst="line">
              <a:avLst/>
            </a:prstGeom>
            <a:ln w="12700">
              <a:gradFill flip="none" rotWithShape="1">
                <a:gsLst>
                  <a:gs pos="0">
                    <a:srgbClr val="C2C2C2"/>
                  </a:gs>
                  <a:gs pos="9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grpSp>
      <p:sp>
        <p:nvSpPr>
          <p:cNvPr id="58" name="Rounded Rectangle 26">
            <a:extLst>
              <a:ext uri="{FF2B5EF4-FFF2-40B4-BE49-F238E27FC236}">
                <a16:creationId xmlns:a16="http://schemas.microsoft.com/office/drawing/2014/main" id="{880152F7-E65C-7370-7906-A6B45382A734}"/>
              </a:ext>
            </a:extLst>
          </p:cNvPr>
          <p:cNvSpPr/>
          <p:nvPr/>
        </p:nvSpPr>
        <p:spPr bwMode="auto">
          <a:xfrm>
            <a:off x="9173730" y="1609562"/>
            <a:ext cx="1664365" cy="317873"/>
          </a:xfrm>
          <a:prstGeom prst="roundRect">
            <a:avLst>
              <a:gd name="adj" fmla="val 50000"/>
            </a:avLst>
          </a:prstGeom>
          <a:solidFill>
            <a:schemeClr val="bg1"/>
          </a:solidFill>
          <a:ln w="15875">
            <a:solidFill>
              <a:srgbClr val="C03BC4"/>
            </a:solidFill>
            <a:headEnd type="none" w="med" len="med"/>
            <a:tailEnd type="none" w="med" len="med"/>
          </a:ln>
          <a:effectLst>
            <a:outerShdw blurRad="1143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3600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CA" sz="1200" b="1" i="0" u="none" strike="noStrike" kern="1200" cap="none" spc="0" normalizeH="0" baseline="0" noProof="0">
                <a:ln>
                  <a:noFill/>
                </a:ln>
                <a:solidFill>
                  <a:srgbClr val="C03BC4"/>
                </a:solidFill>
                <a:effectLst/>
                <a:uLnTx/>
                <a:uFillTx/>
                <a:latin typeface="Segoe UI Semibold"/>
                <a:ea typeface="+mn-ea"/>
                <a:cs typeface="Segoe UI Semibold" panose="020B0502040204020203" pitchFamily="34" charset="0"/>
              </a:rPr>
              <a:t>Guidelines</a:t>
            </a:r>
          </a:p>
        </p:txBody>
      </p:sp>
      <p:sp>
        <p:nvSpPr>
          <p:cNvPr id="59" name="TextBox 9">
            <a:extLst>
              <a:ext uri="{FF2B5EF4-FFF2-40B4-BE49-F238E27FC236}">
                <a16:creationId xmlns:a16="http://schemas.microsoft.com/office/drawing/2014/main" id="{8301D11B-DB54-1B19-1553-6AB02F9FA1EF}"/>
              </a:ext>
            </a:extLst>
          </p:cNvPr>
          <p:cNvSpPr txBox="1"/>
          <p:nvPr/>
        </p:nvSpPr>
        <p:spPr>
          <a:xfrm>
            <a:off x="9173730" y="1981083"/>
            <a:ext cx="1729095" cy="461665"/>
          </a:xfrm>
          <a:prstGeom prst="rect">
            <a:avLst/>
          </a:prstGeom>
          <a:noFill/>
        </p:spPr>
        <p:txBody>
          <a:bodyPr wrap="squar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Semibold"/>
              </a:rPr>
              <a:t>Notice how guidelines can be used to define restrictions, tone, and glossary. </a:t>
            </a:r>
            <a:endParaRPr kumimoji="0" lang="en-US" sz="1000" b="0" i="0" u="none" strike="noStrike" kern="1200" cap="none" spc="0" normalizeH="0" baseline="0" noProof="0">
              <a:ln>
                <a:noFill/>
              </a:ln>
              <a:solidFill>
                <a:prstClr val="black"/>
              </a:solidFill>
              <a:effectLst/>
              <a:uLnTx/>
              <a:uFillTx/>
              <a:latin typeface="Segoe UI"/>
              <a:ea typeface="+mn-ea"/>
              <a:cs typeface="Segoe UI"/>
            </a:endParaRPr>
          </a:p>
        </p:txBody>
      </p:sp>
      <p:grpSp>
        <p:nvGrpSpPr>
          <p:cNvPr id="2" name="Group 1">
            <a:extLst>
              <a:ext uri="{FF2B5EF4-FFF2-40B4-BE49-F238E27FC236}">
                <a16:creationId xmlns:a16="http://schemas.microsoft.com/office/drawing/2014/main" id="{7847878F-A74E-CD74-B8CC-E7FF3A17ED4B}"/>
              </a:ext>
              <a:ext uri="{C183D7F6-B498-43B3-948B-1728B52AA6E4}">
                <adec:decorative xmlns:adec="http://schemas.microsoft.com/office/drawing/2017/decorative" val="1"/>
              </a:ext>
            </a:extLst>
          </p:cNvPr>
          <p:cNvGrpSpPr/>
          <p:nvPr/>
        </p:nvGrpSpPr>
        <p:grpSpPr>
          <a:xfrm>
            <a:off x="10729747" y="1933002"/>
            <a:ext cx="955779" cy="1301784"/>
            <a:chOff x="10783013" y="2227629"/>
            <a:chExt cx="955779" cy="1301784"/>
          </a:xfrm>
        </p:grpSpPr>
        <p:sp>
          <p:nvSpPr>
            <p:cNvPr id="60" name="Arc 59">
              <a:extLst>
                <a:ext uri="{FF2B5EF4-FFF2-40B4-BE49-F238E27FC236}">
                  <a16:creationId xmlns:a16="http://schemas.microsoft.com/office/drawing/2014/main" id="{85C28C2D-FBB9-E939-5440-5D63D9883E9B}"/>
                </a:ext>
                <a:ext uri="{C183D7F6-B498-43B3-948B-1728B52AA6E4}">
                  <adec:decorative xmlns:adec="http://schemas.microsoft.com/office/drawing/2017/decorative" val="1"/>
                </a:ext>
              </a:extLst>
            </p:cNvPr>
            <p:cNvSpPr/>
            <p:nvPr/>
          </p:nvSpPr>
          <p:spPr>
            <a:xfrm>
              <a:off x="11392635" y="2730081"/>
              <a:ext cx="346157" cy="315061"/>
            </a:xfrm>
            <a:prstGeom prst="arc">
              <a:avLst>
                <a:gd name="adj1" fmla="val 15898458"/>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61" name="Straight Arrow Connector 60">
              <a:extLst>
                <a:ext uri="{FF2B5EF4-FFF2-40B4-BE49-F238E27FC236}">
                  <a16:creationId xmlns:a16="http://schemas.microsoft.com/office/drawing/2014/main" id="{92301907-8A29-97CF-FF03-B5A117229777}"/>
                </a:ext>
                <a:ext uri="{C183D7F6-B498-43B3-948B-1728B52AA6E4}">
                  <adec:decorative xmlns:adec="http://schemas.microsoft.com/office/drawing/2017/decorative" val="1"/>
                </a:ext>
              </a:extLst>
            </p:cNvPr>
            <p:cNvCxnSpPr>
              <a:cxnSpLocks/>
            </p:cNvCxnSpPr>
            <p:nvPr/>
          </p:nvCxnSpPr>
          <p:spPr>
            <a:xfrm>
              <a:off x="11736692" y="2863588"/>
              <a:ext cx="0" cy="665825"/>
            </a:xfrm>
            <a:prstGeom prst="straightConnector1">
              <a:avLst/>
            </a:prstGeom>
            <a:ln w="12700">
              <a:solidFill>
                <a:srgbClr val="C2C2C2"/>
              </a:solidFill>
              <a:tailEnd type="arrow"/>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948C38C-1CA9-A8A7-8CA7-D7ACC33C6141}"/>
                </a:ext>
                <a:ext uri="{C183D7F6-B498-43B3-948B-1728B52AA6E4}">
                  <adec:decorative xmlns:adec="http://schemas.microsoft.com/office/drawing/2017/decorative" val="1"/>
                </a:ext>
              </a:extLst>
            </p:cNvPr>
            <p:cNvCxnSpPr>
              <a:cxnSpLocks/>
            </p:cNvCxnSpPr>
            <p:nvPr/>
          </p:nvCxnSpPr>
          <p:spPr>
            <a:xfrm flipH="1">
              <a:off x="10948386" y="2729865"/>
              <a:ext cx="603042" cy="0"/>
            </a:xfrm>
            <a:prstGeom prst="line">
              <a:avLst/>
            </a:prstGeom>
            <a:ln w="12700">
              <a:solidFill>
                <a:srgbClr val="C2C2C2"/>
              </a:solidFill>
            </a:ln>
          </p:spPr>
          <p:style>
            <a:lnRef idx="1">
              <a:schemeClr val="accent1"/>
            </a:lnRef>
            <a:fillRef idx="0">
              <a:schemeClr val="accent1"/>
            </a:fillRef>
            <a:effectRef idx="0">
              <a:schemeClr val="accent1"/>
            </a:effectRef>
            <a:fontRef idx="minor">
              <a:schemeClr val="tx1"/>
            </a:fontRef>
          </p:style>
        </p:cxnSp>
        <p:sp>
          <p:nvSpPr>
            <p:cNvPr id="63" name="Arc 62">
              <a:extLst>
                <a:ext uri="{FF2B5EF4-FFF2-40B4-BE49-F238E27FC236}">
                  <a16:creationId xmlns:a16="http://schemas.microsoft.com/office/drawing/2014/main" id="{6DBA41C5-5B41-8E64-1E33-4C5C875BC853}"/>
                </a:ext>
                <a:ext uri="{C183D7F6-B498-43B3-948B-1728B52AA6E4}">
                  <adec:decorative xmlns:adec="http://schemas.microsoft.com/office/drawing/2017/decorative" val="1"/>
                </a:ext>
              </a:extLst>
            </p:cNvPr>
            <p:cNvSpPr/>
            <p:nvPr/>
          </p:nvSpPr>
          <p:spPr>
            <a:xfrm rot="10800000">
              <a:off x="10783013" y="2412708"/>
              <a:ext cx="346157" cy="315061"/>
            </a:xfrm>
            <a:prstGeom prst="arc">
              <a:avLst>
                <a:gd name="adj1" fmla="val 16352078"/>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64" name="Straight Connector 63">
              <a:extLst>
                <a:ext uri="{FF2B5EF4-FFF2-40B4-BE49-F238E27FC236}">
                  <a16:creationId xmlns:a16="http://schemas.microsoft.com/office/drawing/2014/main" id="{288F1339-79CC-A100-98B5-14A877F24A19}"/>
                </a:ext>
                <a:ext uri="{C183D7F6-B498-43B3-948B-1728B52AA6E4}">
                  <adec:decorative xmlns:adec="http://schemas.microsoft.com/office/drawing/2017/decorative" val="1"/>
                </a:ext>
              </a:extLst>
            </p:cNvPr>
            <p:cNvCxnSpPr>
              <a:cxnSpLocks/>
            </p:cNvCxnSpPr>
            <p:nvPr/>
          </p:nvCxnSpPr>
          <p:spPr>
            <a:xfrm>
              <a:off x="10783166" y="2227629"/>
              <a:ext cx="0" cy="351500"/>
            </a:xfrm>
            <a:prstGeom prst="line">
              <a:avLst/>
            </a:prstGeom>
            <a:ln w="12700">
              <a:gradFill flip="none" rotWithShape="1">
                <a:gsLst>
                  <a:gs pos="0">
                    <a:srgbClr val="C2C2C2"/>
                  </a:gs>
                  <a:gs pos="9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7DAE7BAF-5D85-4A8B-90C3-73B574CA5983}"/>
              </a:ext>
              <a:ext uri="{C183D7F6-B498-43B3-948B-1728B52AA6E4}">
                <adec:decorative xmlns:adec="http://schemas.microsoft.com/office/drawing/2017/decorative" val="1"/>
              </a:ext>
            </a:extLst>
          </p:cNvPr>
          <p:cNvGrpSpPr/>
          <p:nvPr/>
        </p:nvGrpSpPr>
        <p:grpSpPr>
          <a:xfrm rot="10800000" flipH="1">
            <a:off x="5062226" y="5188758"/>
            <a:ext cx="2353527" cy="664188"/>
            <a:chOff x="3769739" y="7162102"/>
            <a:chExt cx="859302" cy="814343"/>
          </a:xfrm>
        </p:grpSpPr>
        <p:grpSp>
          <p:nvGrpSpPr>
            <p:cNvPr id="76" name="Group 75">
              <a:extLst>
                <a:ext uri="{FF2B5EF4-FFF2-40B4-BE49-F238E27FC236}">
                  <a16:creationId xmlns:a16="http://schemas.microsoft.com/office/drawing/2014/main" id="{99EFF049-3032-7AC6-7CF4-11285991DAE3}"/>
                </a:ext>
              </a:extLst>
            </p:cNvPr>
            <p:cNvGrpSpPr/>
            <p:nvPr/>
          </p:nvGrpSpPr>
          <p:grpSpPr>
            <a:xfrm>
              <a:off x="4310794" y="7656045"/>
              <a:ext cx="318247" cy="320400"/>
              <a:chOff x="4310794" y="7656045"/>
              <a:chExt cx="318247" cy="320400"/>
            </a:xfrm>
          </p:grpSpPr>
          <p:sp>
            <p:nvSpPr>
              <p:cNvPr id="80" name="Arc 79">
                <a:extLst>
                  <a:ext uri="{FF2B5EF4-FFF2-40B4-BE49-F238E27FC236}">
                    <a16:creationId xmlns:a16="http://schemas.microsoft.com/office/drawing/2014/main" id="{82D4226E-D60A-EFAB-8F15-D3FDF778D6DD}"/>
                  </a:ext>
                </a:extLst>
              </p:cNvPr>
              <p:cNvSpPr/>
              <p:nvPr/>
            </p:nvSpPr>
            <p:spPr>
              <a:xfrm>
                <a:off x="4310794" y="7656045"/>
                <a:ext cx="318247" cy="320400"/>
              </a:xfrm>
              <a:prstGeom prst="arc">
                <a:avLst>
                  <a:gd name="adj1" fmla="val 15847894"/>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81" name="Straight Arrow Connector 80">
                <a:extLst>
                  <a:ext uri="{FF2B5EF4-FFF2-40B4-BE49-F238E27FC236}">
                    <a16:creationId xmlns:a16="http://schemas.microsoft.com/office/drawing/2014/main" id="{DA4DBDF9-6E43-3F67-F7FB-7FDBAB95A914}"/>
                  </a:ext>
                </a:extLst>
              </p:cNvPr>
              <p:cNvCxnSpPr>
                <a:cxnSpLocks/>
              </p:cNvCxnSpPr>
              <p:nvPr/>
            </p:nvCxnSpPr>
            <p:spPr>
              <a:xfrm rot="10800000" flipH="1" flipV="1">
                <a:off x="4625837" y="7778586"/>
                <a:ext cx="141" cy="157219"/>
              </a:xfrm>
              <a:prstGeom prst="straightConnector1">
                <a:avLst/>
              </a:prstGeom>
              <a:ln w="12700">
                <a:solidFill>
                  <a:srgbClr val="C2C2C2"/>
                </a:solidFill>
                <a:tailEnd type="arrow"/>
              </a:ln>
            </p:spPr>
            <p:style>
              <a:lnRef idx="1">
                <a:schemeClr val="accent1"/>
              </a:lnRef>
              <a:fillRef idx="0">
                <a:schemeClr val="accent1"/>
              </a:fillRef>
              <a:effectRef idx="0">
                <a:schemeClr val="accent1"/>
              </a:effectRef>
              <a:fontRef idx="minor">
                <a:schemeClr val="tx1"/>
              </a:fontRef>
            </p:style>
          </p:cxnSp>
        </p:grpSp>
        <p:cxnSp>
          <p:nvCxnSpPr>
            <p:cNvPr id="77" name="Straight Connector 76">
              <a:extLst>
                <a:ext uri="{FF2B5EF4-FFF2-40B4-BE49-F238E27FC236}">
                  <a16:creationId xmlns:a16="http://schemas.microsoft.com/office/drawing/2014/main" id="{19D6900F-31D0-A338-D38C-8D6D5066CE9B}"/>
                </a:ext>
              </a:extLst>
            </p:cNvPr>
            <p:cNvCxnSpPr>
              <a:cxnSpLocks/>
            </p:cNvCxnSpPr>
            <p:nvPr/>
          </p:nvCxnSpPr>
          <p:spPr>
            <a:xfrm rot="10800000">
              <a:off x="3923719" y="7653272"/>
              <a:ext cx="546199" cy="0"/>
            </a:xfrm>
            <a:prstGeom prst="line">
              <a:avLst/>
            </a:prstGeom>
            <a:ln w="12700">
              <a:solidFill>
                <a:srgbClr val="C2C2C2"/>
              </a:solidFill>
            </a:ln>
          </p:spPr>
          <p:style>
            <a:lnRef idx="1">
              <a:schemeClr val="accent1"/>
            </a:lnRef>
            <a:fillRef idx="0">
              <a:schemeClr val="accent1"/>
            </a:fillRef>
            <a:effectRef idx="0">
              <a:schemeClr val="accent1"/>
            </a:effectRef>
            <a:fontRef idx="minor">
              <a:schemeClr val="tx1"/>
            </a:fontRef>
          </p:style>
        </p:cxnSp>
        <p:sp>
          <p:nvSpPr>
            <p:cNvPr id="78" name="Arc 77">
              <a:extLst>
                <a:ext uri="{FF2B5EF4-FFF2-40B4-BE49-F238E27FC236}">
                  <a16:creationId xmlns:a16="http://schemas.microsoft.com/office/drawing/2014/main" id="{923C861C-51B4-C66F-E81D-4810ADB10AE6}"/>
                </a:ext>
              </a:extLst>
            </p:cNvPr>
            <p:cNvSpPr/>
            <p:nvPr/>
          </p:nvSpPr>
          <p:spPr>
            <a:xfrm rot="10800000">
              <a:off x="3769739" y="7337212"/>
              <a:ext cx="318247" cy="320400"/>
            </a:xfrm>
            <a:prstGeom prst="arc">
              <a:avLst>
                <a:gd name="adj1" fmla="val 15847894"/>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79" name="Straight Connector 78">
              <a:extLst>
                <a:ext uri="{FF2B5EF4-FFF2-40B4-BE49-F238E27FC236}">
                  <a16:creationId xmlns:a16="http://schemas.microsoft.com/office/drawing/2014/main" id="{18148054-CC14-7B21-E3C9-7959B87494EE}"/>
                </a:ext>
              </a:extLst>
            </p:cNvPr>
            <p:cNvCxnSpPr>
              <a:cxnSpLocks/>
            </p:cNvCxnSpPr>
            <p:nvPr/>
          </p:nvCxnSpPr>
          <p:spPr>
            <a:xfrm>
              <a:off x="3772551" y="7162102"/>
              <a:ext cx="0" cy="353943"/>
            </a:xfrm>
            <a:prstGeom prst="line">
              <a:avLst/>
            </a:prstGeom>
            <a:ln w="12700">
              <a:gradFill flip="none" rotWithShape="1">
                <a:gsLst>
                  <a:gs pos="0">
                    <a:srgbClr val="C2C2C2"/>
                  </a:gs>
                  <a:gs pos="9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grpSp>
      <p:sp>
        <p:nvSpPr>
          <p:cNvPr id="82" name="TextBox 6">
            <a:extLst>
              <a:ext uri="{FF2B5EF4-FFF2-40B4-BE49-F238E27FC236}">
                <a16:creationId xmlns:a16="http://schemas.microsoft.com/office/drawing/2014/main" id="{C76ADCEF-09A5-95E5-F1BF-9D6C7C860C1C}"/>
              </a:ext>
            </a:extLst>
          </p:cNvPr>
          <p:cNvSpPr txBox="1"/>
          <p:nvPr/>
        </p:nvSpPr>
        <p:spPr>
          <a:xfrm>
            <a:off x="6763011" y="5686579"/>
            <a:ext cx="4576357" cy="307777"/>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In this example, answer format is formalized to adhere intended Q&amp;A experience; ** means something important that the agent should do every single time</a:t>
            </a:r>
          </a:p>
        </p:txBody>
      </p:sp>
      <p:sp>
        <p:nvSpPr>
          <p:cNvPr id="83" name="Rounded Rectangle 34">
            <a:extLst>
              <a:ext uri="{FF2B5EF4-FFF2-40B4-BE49-F238E27FC236}">
                <a16:creationId xmlns:a16="http://schemas.microsoft.com/office/drawing/2014/main" id="{58C586DA-9805-4C7E-307B-C6BB3427F48D}"/>
              </a:ext>
            </a:extLst>
          </p:cNvPr>
          <p:cNvSpPr/>
          <p:nvPr/>
        </p:nvSpPr>
        <p:spPr bwMode="auto">
          <a:xfrm>
            <a:off x="4987963" y="5683973"/>
            <a:ext cx="1664365" cy="317873"/>
          </a:xfrm>
          <a:prstGeom prst="roundRect">
            <a:avLst>
              <a:gd name="adj" fmla="val 50000"/>
            </a:avLst>
          </a:prstGeom>
          <a:solidFill>
            <a:schemeClr val="bg1">
              <a:alpha val="99000"/>
            </a:schemeClr>
          </a:solidFill>
          <a:ln w="15875">
            <a:solidFill>
              <a:srgbClr val="FFA38B"/>
            </a:solidFill>
            <a:headEnd type="none" w="med" len="med"/>
            <a:tailEnd type="none" w="med" len="med"/>
          </a:ln>
          <a:effectLst>
            <a:outerShdw blurRad="1143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3600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CA" sz="1200" b="1" i="0" u="none" strike="noStrike" kern="1200" cap="none" spc="0" normalizeH="0" baseline="0" noProof="0">
                <a:ln>
                  <a:noFill/>
                </a:ln>
                <a:solidFill>
                  <a:srgbClr val="E25B00"/>
                </a:solidFill>
                <a:effectLst/>
                <a:uLnTx/>
                <a:uFillTx/>
                <a:latin typeface="Segoe UI Semibold"/>
                <a:ea typeface="+mn-ea"/>
                <a:cs typeface="Segoe UI Semibold" panose="020B0502040204020203" pitchFamily="34" charset="0"/>
              </a:rPr>
              <a:t>Skills</a:t>
            </a:r>
          </a:p>
        </p:txBody>
      </p:sp>
      <p:sp>
        <p:nvSpPr>
          <p:cNvPr id="65" name="TextBox 1">
            <a:extLst>
              <a:ext uri="{FF2B5EF4-FFF2-40B4-BE49-F238E27FC236}">
                <a16:creationId xmlns:a16="http://schemas.microsoft.com/office/drawing/2014/main" id="{15044E28-EFDC-3CA8-5811-C1FE36F78D58}"/>
              </a:ext>
            </a:extLst>
          </p:cNvPr>
          <p:cNvSpPr txBox="1"/>
          <p:nvPr/>
        </p:nvSpPr>
        <p:spPr>
          <a:xfrm>
            <a:off x="4553375" y="2700420"/>
            <a:ext cx="7351997" cy="2554545"/>
          </a:xfrm>
          <a:prstGeom prst="rect">
            <a:avLst/>
          </a:prstGeom>
          <a:noFill/>
        </p:spPr>
        <p:txBody>
          <a:bodyPr wrap="square" l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008575"/>
                </a:solidFill>
                <a:effectLst/>
                <a:uLnTx/>
                <a:uFillTx/>
                <a:latin typeface="Consolas" panose="020B0609020204030204" pitchFamily="49" charset="0"/>
                <a:ea typeface="+mn-ea"/>
                <a:cs typeface="Segoe UI Semibold" panose="020B0502040204020203" pitchFamily="34" charset="0"/>
              </a:rPr>
              <a:t>You are Corporate Q&amp;A agent that helps to share corporate knowledge. </a:t>
            </a:r>
            <a:br>
              <a:rPr kumimoji="0" lang="en-GB" sz="1600" b="0" i="0" u="none" strike="noStrike" kern="1200" cap="none" spc="0" normalizeH="0" baseline="0" noProof="0">
                <a:ln>
                  <a:noFill/>
                </a:ln>
                <a:solidFill>
                  <a:srgbClr val="080808"/>
                </a:solidFill>
                <a:effectLst/>
                <a:uLnTx/>
                <a:uFillTx/>
                <a:latin typeface="Consolas" panose="020B0609020204030204" pitchFamily="49" charset="0"/>
                <a:ea typeface="+mn-ea"/>
                <a:cs typeface="+mn-cs"/>
              </a:rPr>
            </a:br>
            <a:r>
              <a:rPr kumimoji="0" lang="en-GB" sz="1600" b="0" i="0" u="none" strike="noStrike" kern="1200" cap="none" spc="0" normalizeH="0" baseline="0" noProof="0">
                <a:ln>
                  <a:noFill/>
                </a:ln>
                <a:solidFill>
                  <a:srgbClr val="C03BC4"/>
                </a:solidFill>
                <a:effectLst/>
                <a:uLnTx/>
                <a:uFillTx/>
                <a:latin typeface="Consolas" panose="020B0609020204030204" pitchFamily="49" charset="0"/>
                <a:ea typeface="+mn-ea"/>
                <a:cs typeface="Segoe UI Semibold" panose="020B0502040204020203" pitchFamily="34" charset="0"/>
              </a:rPr>
              <a:t>You answer user’s questions using only Contoso knowledge base and public documentation. Say “I do not know” if there are no relevant results.</a:t>
            </a:r>
            <a:br>
              <a:rPr kumimoji="0" lang="en-GB" sz="1600" b="0" i="0" u="none" strike="noStrike" kern="1200" cap="none" spc="0" normalizeH="0" baseline="0" noProof="0">
                <a:ln>
                  <a:noFill/>
                </a:ln>
                <a:solidFill>
                  <a:srgbClr val="C03BC4"/>
                </a:solidFill>
                <a:effectLst/>
                <a:uLnTx/>
                <a:uFillTx/>
                <a:latin typeface="Consolas" panose="020B0609020204030204" pitchFamily="49" charset="0"/>
                <a:ea typeface="+mn-ea"/>
                <a:cs typeface="Segoe UI Semibold" panose="020B0502040204020203" pitchFamily="34" charset="0"/>
              </a:rPr>
            </a:br>
            <a:r>
              <a:rPr kumimoji="0" lang="en-GB" sz="1600" b="0" i="0" u="none" strike="noStrike" kern="1200" cap="none" spc="0" normalizeH="0" baseline="0" noProof="0">
                <a:ln>
                  <a:noFill/>
                </a:ln>
                <a:solidFill>
                  <a:srgbClr val="C03BC4"/>
                </a:solidFill>
                <a:effectLst/>
                <a:uLnTx/>
                <a:uFillTx/>
                <a:latin typeface="Consolas" panose="020B0609020204030204" pitchFamily="49" charset="0"/>
                <a:ea typeface="+mn-ea"/>
                <a:cs typeface="Segoe UI Semibold" panose="020B0502040204020203" pitchFamily="34" charset="0"/>
              </a:rPr>
              <a:t>Be nice and polite.</a:t>
            </a:r>
            <a:br>
              <a:rPr kumimoji="0" lang="en-GB" sz="1600" b="0" i="0" u="none" strike="noStrike" kern="1200" cap="none" spc="0" normalizeH="0" baseline="0" noProof="0">
                <a:ln>
                  <a:noFill/>
                </a:ln>
                <a:solidFill>
                  <a:srgbClr val="080808"/>
                </a:solidFill>
                <a:effectLst/>
                <a:uLnTx/>
                <a:uFillTx/>
                <a:latin typeface="Consolas" panose="020B0609020204030204" pitchFamily="49" charset="0"/>
                <a:ea typeface="+mn-ea"/>
                <a:cs typeface="+mn-cs"/>
              </a:rPr>
            </a:br>
            <a:r>
              <a:rPr kumimoji="0" lang="en-GB" sz="1600" b="0" i="0" u="none" strike="noStrike" kern="1200" cap="none" spc="0" normalizeH="0" baseline="0" noProof="0">
                <a:ln>
                  <a:noFill/>
                </a:ln>
                <a:solidFill>
                  <a:srgbClr val="C03BC4"/>
                </a:solidFill>
                <a:effectLst/>
                <a:uLnTx/>
                <a:uFillTx/>
                <a:latin typeface="Consolas" panose="020B0609020204030204" pitchFamily="49" charset="0"/>
                <a:ea typeface="+mn-ea"/>
                <a:cs typeface="Segoe UI Semibold" panose="020B0502040204020203" pitchFamily="34" charset="0"/>
              </a:rPr>
              <a:t>Acronym CE means Contoso Electronic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E25B00"/>
                </a:solidFill>
                <a:effectLst/>
                <a:uLnTx/>
                <a:uFillTx/>
                <a:latin typeface="Consolas" panose="020B0609020204030204" pitchFamily="49" charset="0"/>
                <a:ea typeface="+mn-ea"/>
                <a:cs typeface="Segoe UI Semibold" panose="020B0502040204020203" pitchFamily="34" charset="0"/>
              </a:rPr>
              <a:t>You should answer the questions in the following format:</a:t>
            </a:r>
            <a:br>
              <a:rPr kumimoji="0" lang="en-GB" sz="1600" b="0" i="0" u="none" strike="noStrike" kern="1200" cap="none" spc="0" normalizeH="0" baseline="0" noProof="0">
                <a:ln>
                  <a:noFill/>
                </a:ln>
                <a:solidFill>
                  <a:srgbClr val="E25B00"/>
                </a:solidFill>
                <a:effectLst/>
                <a:uLnTx/>
                <a:uFillTx/>
                <a:latin typeface="Consolas" panose="020B0609020204030204" pitchFamily="49" charset="0"/>
                <a:ea typeface="+mn-ea"/>
                <a:cs typeface="Segoe UI Semibold" panose="020B0502040204020203" pitchFamily="34" charset="0"/>
              </a:rPr>
            </a:br>
            <a:r>
              <a:rPr kumimoji="0" lang="en-GB" sz="1600" b="0" i="0" u="none" strike="noStrike" kern="1200" cap="none" spc="0" normalizeH="0" baseline="0" noProof="0">
                <a:ln>
                  <a:noFill/>
                </a:ln>
                <a:solidFill>
                  <a:srgbClr val="E25B00"/>
                </a:solidFill>
                <a:effectLst/>
                <a:uLnTx/>
                <a:uFillTx/>
                <a:latin typeface="Consolas" panose="020B0609020204030204" pitchFamily="49" charset="0"/>
                <a:ea typeface="+mn-ea"/>
                <a:cs typeface="Segoe UI Semibold" panose="020B0502040204020203" pitchFamily="34" charset="0"/>
              </a:rPr>
              <a:t>Question: **inferred user question in bol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E25B00"/>
                </a:solidFill>
                <a:effectLst/>
                <a:uLnTx/>
                <a:uFillTx/>
                <a:latin typeface="Consolas" panose="020B0609020204030204" pitchFamily="49" charset="0"/>
                <a:ea typeface="+mn-ea"/>
                <a:cs typeface="Segoe UI Semibold" panose="020B0502040204020203" pitchFamily="34" charset="0"/>
              </a:rPr>
              <a:t>Answer: results rephrased to be more relevant for user query</a:t>
            </a:r>
          </a:p>
        </p:txBody>
      </p:sp>
      <p:sp>
        <p:nvSpPr>
          <p:cNvPr id="3" name="TextBox 2">
            <a:extLst>
              <a:ext uri="{FF2B5EF4-FFF2-40B4-BE49-F238E27FC236}">
                <a16:creationId xmlns:a16="http://schemas.microsoft.com/office/drawing/2014/main" id="{02AF355C-7778-75FC-3B19-66CF51C1A90E}"/>
              </a:ext>
            </a:extLst>
          </p:cNvPr>
          <p:cNvSpPr txBox="1"/>
          <p:nvPr/>
        </p:nvSpPr>
        <p:spPr>
          <a:xfrm>
            <a:off x="2824718" y="6376899"/>
            <a:ext cx="6814456" cy="363946"/>
          </a:xfrm>
          <a:prstGeom prst="rect">
            <a:avLst/>
          </a:prstGeom>
          <a:noFill/>
        </p:spPr>
        <p:txBody>
          <a:bodyPr wrap="square">
            <a:spAutoFit/>
          </a:bodyPr>
          <a:lstStyle/>
          <a:p>
            <a:pPr algn="ctr"/>
            <a:r>
              <a:rPr lang="en-US">
                <a:hlinkClick r:id="rId3"/>
              </a:rPr>
              <a:t>Write effective instructions for declarative agents | Microsoft Learn</a:t>
            </a:r>
            <a:endParaRPr lang="en-US"/>
          </a:p>
        </p:txBody>
      </p:sp>
    </p:spTree>
    <p:extLst>
      <p:ext uri="{BB962C8B-B14F-4D97-AF65-F5344CB8AC3E}">
        <p14:creationId xmlns:p14="http://schemas.microsoft.com/office/powerpoint/2010/main" val="3900662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56053-34DA-D600-047A-F6F09CE43B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0A6D3C1-7AD1-96D5-C873-E6E63ED1ED06}"/>
              </a:ext>
            </a:extLst>
          </p:cNvPr>
          <p:cNvSpPr>
            <a:spLocks noGrp="1"/>
          </p:cNvSpPr>
          <p:nvPr>
            <p:ph type="title"/>
          </p:nvPr>
        </p:nvSpPr>
        <p:spPr>
          <a:xfrm>
            <a:off x="571500" y="2792795"/>
            <a:ext cx="4179404" cy="1200329"/>
          </a:xfrm>
          <a:prstGeom prst="rect">
            <a:avLst/>
          </a:prstGeom>
        </p:spPr>
        <p:txBody>
          <a:bodyPr/>
          <a:lstStyle/>
          <a:p>
            <a:r>
              <a:rPr lang="en-US" spc="0"/>
              <a:t>Agent Template demo </a:t>
            </a:r>
          </a:p>
        </p:txBody>
      </p:sp>
    </p:spTree>
    <p:extLst>
      <p:ext uri="{BB962C8B-B14F-4D97-AF65-F5344CB8AC3E}">
        <p14:creationId xmlns:p14="http://schemas.microsoft.com/office/powerpoint/2010/main" val="308709793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F96191-9D5E-5CF6-B635-6437647463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427A62E-4BF4-DD6E-A0FB-948E5BB60DD2}"/>
              </a:ext>
            </a:extLst>
          </p:cNvPr>
          <p:cNvSpPr>
            <a:spLocks noGrp="1"/>
          </p:cNvSpPr>
          <p:nvPr>
            <p:ph type="title"/>
          </p:nvPr>
        </p:nvSpPr>
        <p:spPr>
          <a:xfrm>
            <a:off x="571500" y="2792795"/>
            <a:ext cx="4179404" cy="1200329"/>
          </a:xfrm>
          <a:prstGeom prst="rect">
            <a:avLst/>
          </a:prstGeom>
        </p:spPr>
        <p:txBody>
          <a:bodyPr/>
          <a:lstStyle/>
          <a:p>
            <a:r>
              <a:rPr lang="en-US" spc="0"/>
              <a:t>Introduction to Agent Examples</a:t>
            </a:r>
          </a:p>
        </p:txBody>
      </p:sp>
    </p:spTree>
    <p:extLst>
      <p:ext uri="{BB962C8B-B14F-4D97-AF65-F5344CB8AC3E}">
        <p14:creationId xmlns:p14="http://schemas.microsoft.com/office/powerpoint/2010/main" val="343153781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6BE364DA-A19B-30EA-9B1B-320F7978267C}"/>
              </a:ext>
            </a:extLst>
          </p:cNvPr>
          <p:cNvSpPr txBox="1">
            <a:spLocks/>
          </p:cNvSpPr>
          <p:nvPr/>
        </p:nvSpPr>
        <p:spPr>
          <a:xfrm>
            <a:off x="861977" y="898294"/>
            <a:ext cx="4114800" cy="9971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fontAlgn="auto">
              <a:lnSpc>
                <a:spcPct val="90000"/>
              </a:lnSpc>
              <a:spcBef>
                <a:spcPct val="0"/>
              </a:spcBef>
              <a:spcAft>
                <a:spcPts val="0"/>
              </a:spcAft>
              <a:buClrTx/>
              <a:buSzPct val="90000"/>
              <a:tabLst/>
              <a:defRPr/>
            </a:pPr>
            <a:r>
              <a:rPr lang="en-US" sz="3600" b="0">
                <a:ln w="3175">
                  <a:noFill/>
                </a:ln>
                <a:solidFill>
                  <a:schemeClr val="bg1"/>
                </a:solidFill>
                <a:latin typeface="Segoe Sans Display Semibold" pitchFamily="2" charset="0"/>
                <a:cs typeface="Segoe Sans Display Semibold" pitchFamily="2" charset="0"/>
              </a:rPr>
              <a:t>During the presentation</a:t>
            </a:r>
          </a:p>
        </p:txBody>
      </p:sp>
      <p:sp>
        <p:nvSpPr>
          <p:cNvPr id="7" name="TextBox 6">
            <a:extLst>
              <a:ext uri="{FF2B5EF4-FFF2-40B4-BE49-F238E27FC236}">
                <a16:creationId xmlns:a16="http://schemas.microsoft.com/office/drawing/2014/main" id="{04F19507-F8D1-A92F-0092-3D1FC7B67534}"/>
              </a:ext>
            </a:extLst>
          </p:cNvPr>
          <p:cNvSpPr txBox="1"/>
          <p:nvPr/>
        </p:nvSpPr>
        <p:spPr>
          <a:xfrm>
            <a:off x="1613676" y="2649378"/>
            <a:ext cx="3617169" cy="58221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noProof="0">
                <a:ln>
                  <a:noFill/>
                </a:ln>
                <a:solidFill>
                  <a:schemeClr val="bg1"/>
                </a:solidFill>
                <a:effectLst/>
                <a:uLnTx/>
                <a:uFillTx/>
                <a:ea typeface="+mn-ea"/>
                <a:cs typeface="Segoe UI Light" panose="020B0502040204020203" pitchFamily="34" charset="0"/>
              </a:rPr>
              <a:t>We will mute your microphone for the first part of today’s call</a:t>
            </a:r>
          </a:p>
        </p:txBody>
      </p:sp>
      <p:sp>
        <p:nvSpPr>
          <p:cNvPr id="8" name="TextBox 7">
            <a:extLst>
              <a:ext uri="{FF2B5EF4-FFF2-40B4-BE49-F238E27FC236}">
                <a16:creationId xmlns:a16="http://schemas.microsoft.com/office/drawing/2014/main" id="{34C57B09-A016-CF69-732F-36AE6C88041B}"/>
              </a:ext>
            </a:extLst>
          </p:cNvPr>
          <p:cNvSpPr txBox="1"/>
          <p:nvPr/>
        </p:nvSpPr>
        <p:spPr>
          <a:xfrm>
            <a:off x="1613679" y="3838334"/>
            <a:ext cx="3393232" cy="119160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noProof="0">
                <a:ln>
                  <a:noFill/>
                </a:ln>
                <a:solidFill>
                  <a:schemeClr val="bg1"/>
                </a:solidFill>
                <a:effectLst/>
                <a:uLnTx/>
                <a:uFillTx/>
                <a:ea typeface="+mn-ea"/>
                <a:cs typeface="Segoe UI Light" panose="020B0502040204020203" pitchFamily="34" charset="0"/>
              </a:rPr>
              <a:t>Ask your questions via chat, we will get to all of them, live or after. Common questions will get addressed out loud</a:t>
            </a:r>
          </a:p>
        </p:txBody>
      </p:sp>
      <p:pic>
        <p:nvPicPr>
          <p:cNvPr id="9" name="Graphic 8">
            <a:extLst>
              <a:ext uri="{FF2B5EF4-FFF2-40B4-BE49-F238E27FC236}">
                <a16:creationId xmlns:a16="http://schemas.microsoft.com/office/drawing/2014/main" id="{6C3F7F46-1559-08E6-598A-15137726ABDC}"/>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11177" y="2644616"/>
            <a:ext cx="576422" cy="576422"/>
          </a:xfrm>
          <a:prstGeom prst="rect">
            <a:avLst/>
          </a:prstGeom>
        </p:spPr>
      </p:pic>
      <p:sp>
        <p:nvSpPr>
          <p:cNvPr id="10" name="Graphic 15">
            <a:extLst>
              <a:ext uri="{FF2B5EF4-FFF2-40B4-BE49-F238E27FC236}">
                <a16:creationId xmlns:a16="http://schemas.microsoft.com/office/drawing/2014/main" id="{835636AA-5253-4436-44BF-0C11631D929B}"/>
              </a:ext>
              <a:ext uri="{C183D7F6-B498-43B3-948B-1728B52AA6E4}">
                <adec:decorative xmlns:adec="http://schemas.microsoft.com/office/drawing/2017/decorative" val="1"/>
              </a:ext>
            </a:extLst>
          </p:cNvPr>
          <p:cNvSpPr>
            <a:spLocks noChangeAspect="1"/>
          </p:cNvSpPr>
          <p:nvPr/>
        </p:nvSpPr>
        <p:spPr>
          <a:xfrm>
            <a:off x="811176" y="3838333"/>
            <a:ext cx="487787" cy="437720"/>
          </a:xfrm>
          <a:custGeom>
            <a:avLst/>
            <a:gdLst>
              <a:gd name="connsiteX0" fmla="*/ 111552 w 295982"/>
              <a:gd name="connsiteY0" fmla="*/ 0 h 265602"/>
              <a:gd name="connsiteX1" fmla="*/ 908 w 295982"/>
              <a:gd name="connsiteY1" fmla="*/ 110643 h 265602"/>
              <a:gd name="connsiteX2" fmla="*/ 11274 w 295982"/>
              <a:gd name="connsiteY2" fmla="*/ 157458 h 265602"/>
              <a:gd name="connsiteX3" fmla="*/ 590 w 295982"/>
              <a:gd name="connsiteY3" fmla="*/ 199374 h 265602"/>
              <a:gd name="connsiteX4" fmla="*/ 22774 w 295982"/>
              <a:gd name="connsiteY4" fmla="*/ 221862 h 265602"/>
              <a:gd name="connsiteX5" fmla="*/ 66009 w 295982"/>
              <a:gd name="connsiteY5" fmla="*/ 211505 h 265602"/>
              <a:gd name="connsiteX6" fmla="*/ 111552 w 295982"/>
              <a:gd name="connsiteY6" fmla="*/ 221286 h 265602"/>
              <a:gd name="connsiteX7" fmla="*/ 222195 w 295982"/>
              <a:gd name="connsiteY7" fmla="*/ 110643 h 265602"/>
              <a:gd name="connsiteX8" fmla="*/ 111552 w 295982"/>
              <a:gd name="connsiteY8" fmla="*/ 0 h 265602"/>
              <a:gd name="connsiteX9" fmla="*/ 23037 w 295982"/>
              <a:gd name="connsiteY9" fmla="*/ 110643 h 265602"/>
              <a:gd name="connsiteX10" fmla="*/ 111552 w 295982"/>
              <a:gd name="connsiteY10" fmla="*/ 22129 h 265602"/>
              <a:gd name="connsiteX11" fmla="*/ 200066 w 295982"/>
              <a:gd name="connsiteY11" fmla="*/ 110643 h 265602"/>
              <a:gd name="connsiteX12" fmla="*/ 111552 w 295982"/>
              <a:gd name="connsiteY12" fmla="*/ 199158 h 265602"/>
              <a:gd name="connsiteX13" fmla="*/ 72163 w 295982"/>
              <a:gd name="connsiteY13" fmla="*/ 189936 h 265602"/>
              <a:gd name="connsiteX14" fmla="*/ 68572 w 295982"/>
              <a:gd name="connsiteY14" fmla="*/ 188148 h 265602"/>
              <a:gd name="connsiteX15" fmla="*/ 64670 w 295982"/>
              <a:gd name="connsiteY15" fmla="*/ 189077 h 265602"/>
              <a:gd name="connsiteX16" fmla="*/ 23544 w 295982"/>
              <a:gd name="connsiteY16" fmla="*/ 198919 h 265602"/>
              <a:gd name="connsiteX17" fmla="*/ 33724 w 295982"/>
              <a:gd name="connsiteY17" fmla="*/ 158968 h 265602"/>
              <a:gd name="connsiteX18" fmla="*/ 34759 w 295982"/>
              <a:gd name="connsiteY18" fmla="*/ 154897 h 265602"/>
              <a:gd name="connsiteX19" fmla="*/ 32834 w 295982"/>
              <a:gd name="connsiteY19" fmla="*/ 151165 h 265602"/>
              <a:gd name="connsiteX20" fmla="*/ 23037 w 295982"/>
              <a:gd name="connsiteY20" fmla="*/ 110643 h 265602"/>
              <a:gd name="connsiteX21" fmla="*/ 185314 w 295982"/>
              <a:gd name="connsiteY21" fmla="*/ 265545 h 265602"/>
              <a:gd name="connsiteX22" fmla="*/ 110081 w 295982"/>
              <a:gd name="connsiteY22" fmla="*/ 236031 h 265602"/>
              <a:gd name="connsiteX23" fmla="*/ 111552 w 295982"/>
              <a:gd name="connsiteY23" fmla="*/ 236040 h 265602"/>
              <a:gd name="connsiteX24" fmla="*/ 142253 w 295982"/>
              <a:gd name="connsiteY24" fmla="*/ 232253 h 265602"/>
              <a:gd name="connsiteX25" fmla="*/ 185314 w 295982"/>
              <a:gd name="connsiteY25" fmla="*/ 243416 h 265602"/>
              <a:gd name="connsiteX26" fmla="*/ 224703 w 295982"/>
              <a:gd name="connsiteY26" fmla="*/ 234193 h 265602"/>
              <a:gd name="connsiteX27" fmla="*/ 228294 w 295982"/>
              <a:gd name="connsiteY27" fmla="*/ 232405 h 265602"/>
              <a:gd name="connsiteX28" fmla="*/ 232196 w 295982"/>
              <a:gd name="connsiteY28" fmla="*/ 233335 h 265602"/>
              <a:gd name="connsiteX29" fmla="*/ 272606 w 295982"/>
              <a:gd name="connsiteY29" fmla="*/ 242326 h 265602"/>
              <a:gd name="connsiteX30" fmla="*/ 263142 w 295982"/>
              <a:gd name="connsiteY30" fmla="*/ 203225 h 265602"/>
              <a:gd name="connsiteX31" fmla="*/ 262106 w 295982"/>
              <a:gd name="connsiteY31" fmla="*/ 199156 h 265602"/>
              <a:gd name="connsiteX32" fmla="*/ 264031 w 295982"/>
              <a:gd name="connsiteY32" fmla="*/ 195424 h 265602"/>
              <a:gd name="connsiteX33" fmla="*/ 273828 w 295982"/>
              <a:gd name="connsiteY33" fmla="*/ 154902 h 265602"/>
              <a:gd name="connsiteX34" fmla="*/ 233304 w 295982"/>
              <a:gd name="connsiteY34" fmla="*/ 80513 h 265602"/>
              <a:gd name="connsiteX35" fmla="*/ 221508 w 295982"/>
              <a:gd name="connsiteY35" fmla="*/ 50313 h 265602"/>
              <a:gd name="connsiteX36" fmla="*/ 295957 w 295982"/>
              <a:gd name="connsiteY36" fmla="*/ 154902 h 265602"/>
              <a:gd name="connsiteX37" fmla="*/ 285586 w 295982"/>
              <a:gd name="connsiteY37" fmla="*/ 201726 h 265602"/>
              <a:gd name="connsiteX38" fmla="*/ 295497 w 295982"/>
              <a:gd name="connsiteY38" fmla="*/ 243080 h 265602"/>
              <a:gd name="connsiteX39" fmla="*/ 273849 w 295982"/>
              <a:gd name="connsiteY39" fmla="*/ 265201 h 265602"/>
              <a:gd name="connsiteX40" fmla="*/ 230868 w 295982"/>
              <a:gd name="connsiteY40" fmla="*/ 255758 h 265602"/>
              <a:gd name="connsiteX41" fmla="*/ 185314 w 295982"/>
              <a:gd name="connsiteY41" fmla="*/ 265545 h 26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95982" h="265602">
                <a:moveTo>
                  <a:pt x="111552" y="0"/>
                </a:moveTo>
                <a:cubicBezTo>
                  <a:pt x="50445" y="0"/>
                  <a:pt x="908" y="49537"/>
                  <a:pt x="908" y="110643"/>
                </a:cubicBezTo>
                <a:cubicBezTo>
                  <a:pt x="908" y="127356"/>
                  <a:pt x="4621" y="143228"/>
                  <a:pt x="11274" y="157458"/>
                </a:cubicBezTo>
                <a:cubicBezTo>
                  <a:pt x="7527" y="172181"/>
                  <a:pt x="3340" y="188598"/>
                  <a:pt x="590" y="199374"/>
                </a:cubicBezTo>
                <a:cubicBezTo>
                  <a:pt x="-2848" y="212848"/>
                  <a:pt x="9285" y="225104"/>
                  <a:pt x="22774" y="221862"/>
                </a:cubicBezTo>
                <a:cubicBezTo>
                  <a:pt x="33841" y="219202"/>
                  <a:pt x="50851" y="215118"/>
                  <a:pt x="66009" y="211505"/>
                </a:cubicBezTo>
                <a:cubicBezTo>
                  <a:pt x="79911" y="217791"/>
                  <a:pt x="95336" y="221286"/>
                  <a:pt x="111552" y="221286"/>
                </a:cubicBezTo>
                <a:cubicBezTo>
                  <a:pt x="172658" y="221286"/>
                  <a:pt x="222195" y="171749"/>
                  <a:pt x="222195" y="110643"/>
                </a:cubicBezTo>
                <a:cubicBezTo>
                  <a:pt x="222195" y="49537"/>
                  <a:pt x="172658" y="0"/>
                  <a:pt x="111552" y="0"/>
                </a:cubicBezTo>
                <a:close/>
                <a:moveTo>
                  <a:pt x="23037" y="110643"/>
                </a:moveTo>
                <a:cubicBezTo>
                  <a:pt x="23037" y="61758"/>
                  <a:pt x="62666" y="22129"/>
                  <a:pt x="111552" y="22129"/>
                </a:cubicBezTo>
                <a:cubicBezTo>
                  <a:pt x="160437" y="22129"/>
                  <a:pt x="200066" y="61758"/>
                  <a:pt x="200066" y="110643"/>
                </a:cubicBezTo>
                <a:cubicBezTo>
                  <a:pt x="200066" y="159528"/>
                  <a:pt x="160437" y="199158"/>
                  <a:pt x="111552" y="199158"/>
                </a:cubicBezTo>
                <a:cubicBezTo>
                  <a:pt x="97378" y="199158"/>
                  <a:pt x="84013" y="195835"/>
                  <a:pt x="72163" y="189936"/>
                </a:cubicBezTo>
                <a:lnTo>
                  <a:pt x="68572" y="188148"/>
                </a:lnTo>
                <a:lnTo>
                  <a:pt x="64670" y="189077"/>
                </a:lnTo>
                <a:cubicBezTo>
                  <a:pt x="51057" y="192317"/>
                  <a:pt x="35330" y="196088"/>
                  <a:pt x="23544" y="198919"/>
                </a:cubicBezTo>
                <a:cubicBezTo>
                  <a:pt x="26476" y="187425"/>
                  <a:pt x="30358" y="172196"/>
                  <a:pt x="33724" y="158968"/>
                </a:cubicBezTo>
                <a:lnTo>
                  <a:pt x="34759" y="154897"/>
                </a:lnTo>
                <a:lnTo>
                  <a:pt x="32834" y="151165"/>
                </a:lnTo>
                <a:cubicBezTo>
                  <a:pt x="26576" y="139036"/>
                  <a:pt x="23037" y="125269"/>
                  <a:pt x="23037" y="110643"/>
                </a:cubicBezTo>
                <a:close/>
                <a:moveTo>
                  <a:pt x="185314" y="265545"/>
                </a:moveTo>
                <a:cubicBezTo>
                  <a:pt x="156261" y="265545"/>
                  <a:pt x="129823" y="254346"/>
                  <a:pt x="110081" y="236031"/>
                </a:cubicBezTo>
                <a:cubicBezTo>
                  <a:pt x="110571" y="236037"/>
                  <a:pt x="111061" y="236040"/>
                  <a:pt x="111552" y="236040"/>
                </a:cubicBezTo>
                <a:cubicBezTo>
                  <a:pt x="122144" y="236040"/>
                  <a:pt x="132429" y="234726"/>
                  <a:pt x="142253" y="232253"/>
                </a:cubicBezTo>
                <a:cubicBezTo>
                  <a:pt x="154999" y="239364"/>
                  <a:pt x="169684" y="243416"/>
                  <a:pt x="185314" y="243416"/>
                </a:cubicBezTo>
                <a:cubicBezTo>
                  <a:pt x="199487" y="243416"/>
                  <a:pt x="212852" y="240093"/>
                  <a:pt x="224703" y="234193"/>
                </a:cubicBezTo>
                <a:lnTo>
                  <a:pt x="228294" y="232405"/>
                </a:lnTo>
                <a:lnTo>
                  <a:pt x="232196" y="233335"/>
                </a:lnTo>
                <a:cubicBezTo>
                  <a:pt x="245791" y="236571"/>
                  <a:pt x="261186" y="239911"/>
                  <a:pt x="272606" y="242326"/>
                </a:cubicBezTo>
                <a:cubicBezTo>
                  <a:pt x="270024" y="231254"/>
                  <a:pt x="266502" y="216434"/>
                  <a:pt x="263142" y="203225"/>
                </a:cubicBezTo>
                <a:lnTo>
                  <a:pt x="262106" y="199156"/>
                </a:lnTo>
                <a:lnTo>
                  <a:pt x="264031" y="195424"/>
                </a:lnTo>
                <a:cubicBezTo>
                  <a:pt x="270289" y="183294"/>
                  <a:pt x="273828" y="169527"/>
                  <a:pt x="273828" y="154902"/>
                </a:cubicBezTo>
                <a:cubicBezTo>
                  <a:pt x="273828" y="123703"/>
                  <a:pt x="257689" y="96277"/>
                  <a:pt x="233304" y="80513"/>
                </a:cubicBezTo>
                <a:cubicBezTo>
                  <a:pt x="230673" y="69843"/>
                  <a:pt x="226675" y="59711"/>
                  <a:pt x="221508" y="50313"/>
                </a:cubicBezTo>
                <a:cubicBezTo>
                  <a:pt x="264840" y="65307"/>
                  <a:pt x="295957" y="106470"/>
                  <a:pt x="295957" y="154902"/>
                </a:cubicBezTo>
                <a:cubicBezTo>
                  <a:pt x="295957" y="171618"/>
                  <a:pt x="292242" y="187494"/>
                  <a:pt x="285586" y="201726"/>
                </a:cubicBezTo>
                <a:cubicBezTo>
                  <a:pt x="289320" y="216596"/>
                  <a:pt x="293100" y="232705"/>
                  <a:pt x="295497" y="243080"/>
                </a:cubicBezTo>
                <a:cubicBezTo>
                  <a:pt x="298512" y="256136"/>
                  <a:pt x="287014" y="267953"/>
                  <a:pt x="273849" y="265201"/>
                </a:cubicBezTo>
                <a:cubicBezTo>
                  <a:pt x="263121" y="262959"/>
                  <a:pt x="246267" y="259362"/>
                  <a:pt x="230868" y="255758"/>
                </a:cubicBezTo>
                <a:cubicBezTo>
                  <a:pt x="216964" y="262047"/>
                  <a:pt x="201534" y="265545"/>
                  <a:pt x="185314" y="265545"/>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Text Placeholder 2">
            <a:extLst>
              <a:ext uri="{FF2B5EF4-FFF2-40B4-BE49-F238E27FC236}">
                <a16:creationId xmlns:a16="http://schemas.microsoft.com/office/drawing/2014/main" id="{CBCAA3C6-D822-CC3B-5140-DE3F7E0071FE}"/>
              </a:ext>
            </a:extLst>
          </p:cNvPr>
          <p:cNvSpPr txBox="1">
            <a:spLocks/>
          </p:cNvSpPr>
          <p:nvPr/>
        </p:nvSpPr>
        <p:spPr>
          <a:xfrm>
            <a:off x="6954929" y="898294"/>
            <a:ext cx="4114800" cy="9971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fontAlgn="auto">
              <a:lnSpc>
                <a:spcPct val="90000"/>
              </a:lnSpc>
              <a:spcBef>
                <a:spcPct val="0"/>
              </a:spcBef>
              <a:spcAft>
                <a:spcPts val="0"/>
              </a:spcAft>
              <a:buClrTx/>
              <a:buSzPct val="90000"/>
              <a:tabLst/>
              <a:defRPr/>
            </a:pPr>
            <a:r>
              <a:rPr lang="en-US" sz="3600" b="0">
                <a:ln w="3175">
                  <a:noFill/>
                </a:ln>
                <a:gradFill flip="none" rotWithShape="1">
                  <a:gsLst>
                    <a:gs pos="14000">
                      <a:srgbClr val="94D8FE"/>
                    </a:gs>
                    <a:gs pos="100000">
                      <a:schemeClr val="bg1"/>
                    </a:gs>
                  </a:gsLst>
                  <a:lin ang="13500000" scaled="1"/>
                  <a:tileRect/>
                </a:gradFill>
                <a:latin typeface="Segoe Sans Display Semibold" pitchFamily="2" charset="0"/>
                <a:cs typeface="Segoe Sans Display Semibold" pitchFamily="2" charset="0"/>
              </a:rPr>
              <a:t>After the presentation</a:t>
            </a:r>
          </a:p>
        </p:txBody>
      </p:sp>
      <p:sp>
        <p:nvSpPr>
          <p:cNvPr id="12" name="TextBox 11">
            <a:extLst>
              <a:ext uri="{FF2B5EF4-FFF2-40B4-BE49-F238E27FC236}">
                <a16:creationId xmlns:a16="http://schemas.microsoft.com/office/drawing/2014/main" id="{26684F27-9249-AD6C-E0CA-E961E296E004}"/>
              </a:ext>
            </a:extLst>
          </p:cNvPr>
          <p:cNvSpPr txBox="1"/>
          <p:nvPr/>
        </p:nvSpPr>
        <p:spPr>
          <a:xfrm>
            <a:off x="7579630" y="3838334"/>
            <a:ext cx="3262606" cy="646908"/>
          </a:xfrm>
          <a:prstGeom prst="rect">
            <a:avLst/>
          </a:prstGeom>
          <a:noFill/>
        </p:spPr>
        <p:txBody>
          <a:bodyPr wrap="square" lIns="0" tIns="0" rIns="0" bIns="0" rtlCol="0" anchor="t">
            <a:spAutoFit/>
          </a:bodyPr>
          <a:lstStyle/>
          <a:p>
            <a:pPr lvl="0" defTabSz="914400">
              <a:lnSpc>
                <a:spcPct val="110000"/>
              </a:lnSpc>
              <a:defRPr/>
            </a:pPr>
            <a:r>
              <a:rPr lang="en-US" sz="2000">
                <a:solidFill>
                  <a:schemeClr val="bg1"/>
                </a:solidFill>
                <a:cs typeface="Segoe UI Light" panose="020B0502040204020203" pitchFamily="34" charset="0"/>
              </a:rPr>
              <a:t>Open mic</a:t>
            </a:r>
            <a:r>
              <a:rPr lang="en-US" sz="2000">
                <a:solidFill>
                  <a:schemeClr val="bg1"/>
                </a:solidFill>
                <a:cs typeface="Segoe UI Light" panose="020B0502040204020203" pitchFamily="34" charset="0"/>
                <a:sym typeface="Symbol" panose="05050102010706020507" pitchFamily="18" charset="2"/>
              </a:rPr>
              <a:t> – c</a:t>
            </a:r>
            <a:r>
              <a:rPr lang="en-US" sz="2000">
                <a:solidFill>
                  <a:schemeClr val="bg1"/>
                </a:solidFill>
                <a:cs typeface="Segoe UI Light" panose="020B0502040204020203" pitchFamily="34" charset="0"/>
              </a:rPr>
              <a:t>ome off mute and ask away!</a:t>
            </a:r>
          </a:p>
        </p:txBody>
      </p:sp>
      <p:pic>
        <p:nvPicPr>
          <p:cNvPr id="13" name="Graphic 12">
            <a:extLst>
              <a:ext uri="{FF2B5EF4-FFF2-40B4-BE49-F238E27FC236}">
                <a16:creationId xmlns:a16="http://schemas.microsoft.com/office/drawing/2014/main" id="{65AB42F6-64BE-3215-F365-58F2561290E8}"/>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59597" y="3838333"/>
            <a:ext cx="576072" cy="576072"/>
          </a:xfrm>
          <a:prstGeom prst="rect">
            <a:avLst/>
          </a:prstGeom>
        </p:spPr>
      </p:pic>
      <p:pic>
        <p:nvPicPr>
          <p:cNvPr id="14" name="Graphic 13">
            <a:extLst>
              <a:ext uri="{FF2B5EF4-FFF2-40B4-BE49-F238E27FC236}">
                <a16:creationId xmlns:a16="http://schemas.microsoft.com/office/drawing/2014/main" id="{2297191D-BE1F-6D52-1EC6-D0DE1E9A1554}"/>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54311" y="2644616"/>
            <a:ext cx="581184" cy="581184"/>
          </a:xfrm>
          <a:prstGeom prst="rect">
            <a:avLst/>
          </a:prstGeom>
        </p:spPr>
      </p:pic>
      <p:sp>
        <p:nvSpPr>
          <p:cNvPr id="15" name="TextBox 14">
            <a:extLst>
              <a:ext uri="{FF2B5EF4-FFF2-40B4-BE49-F238E27FC236}">
                <a16:creationId xmlns:a16="http://schemas.microsoft.com/office/drawing/2014/main" id="{4A284CF6-D14F-DF56-1331-5EA56741FEEB}"/>
              </a:ext>
            </a:extLst>
          </p:cNvPr>
          <p:cNvSpPr txBox="1"/>
          <p:nvPr/>
        </p:nvSpPr>
        <p:spPr>
          <a:xfrm>
            <a:off x="7579628" y="2649378"/>
            <a:ext cx="4114800" cy="64690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000" b="0" i="0" u="none" strike="noStrike" kern="1200" cap="none" spc="0" normalizeH="0" noProof="0">
                <a:ln>
                  <a:noFill/>
                </a:ln>
                <a:solidFill>
                  <a:schemeClr val="bg1"/>
                </a:solidFill>
                <a:effectLst/>
                <a:uLnTx/>
                <a:uFillTx/>
                <a:ea typeface="+mn-ea"/>
                <a:cs typeface="Segoe UI Light" panose="020B0502040204020203" pitchFamily="34" charset="0"/>
              </a:rPr>
              <a:t>Raise your hand and we will</a:t>
            </a:r>
            <a:br>
              <a:rPr kumimoji="0" lang="en-US" sz="2000" b="0" i="0" u="none" strike="noStrike" kern="1200" cap="none" spc="0" normalizeH="0" noProof="0">
                <a:ln>
                  <a:noFill/>
                </a:ln>
                <a:solidFill>
                  <a:schemeClr val="bg1"/>
                </a:solidFill>
                <a:effectLst/>
                <a:uLnTx/>
                <a:uFillTx/>
                <a:ea typeface="+mn-ea"/>
                <a:cs typeface="Segoe UI Light" panose="020B0502040204020203" pitchFamily="34" charset="0"/>
              </a:rPr>
            </a:br>
            <a:r>
              <a:rPr kumimoji="0" lang="en-US" sz="2000" b="0" i="0" u="none" strike="noStrike" kern="1200" cap="none" spc="0" normalizeH="0" noProof="0">
                <a:ln>
                  <a:noFill/>
                </a:ln>
                <a:solidFill>
                  <a:schemeClr val="bg1"/>
                </a:solidFill>
                <a:effectLst/>
                <a:uLnTx/>
                <a:uFillTx/>
                <a:ea typeface="+mn-ea"/>
                <a:cs typeface="Segoe UI Light" panose="020B0502040204020203" pitchFamily="34" charset="0"/>
              </a:rPr>
              <a:t>call on you</a:t>
            </a:r>
          </a:p>
        </p:txBody>
      </p:sp>
    </p:spTree>
    <p:extLst>
      <p:ext uri="{BB962C8B-B14F-4D97-AF65-F5344CB8AC3E}">
        <p14:creationId xmlns:p14="http://schemas.microsoft.com/office/powerpoint/2010/main" val="96936748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FC0D6E-A0BA-1D79-01E6-4014EC206055}"/>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E26E6A27-D592-10F4-AB8C-A355EDB7F322}"/>
              </a:ext>
            </a:extLst>
          </p:cNvPr>
          <p:cNvSpPr txBox="1">
            <a:spLocks noGrp="1"/>
          </p:cNvSpPr>
          <p:nvPr>
            <p:ph type="title"/>
          </p:nvPr>
        </p:nvSpPr>
        <p:spPr>
          <a:xfrm>
            <a:off x="588263" y="364487"/>
            <a:ext cx="1101852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en-US" sz="3200">
                <a:cs typeface="Segoe UI"/>
              </a:rPr>
              <a:t>Start creating agents using Agent Examples </a:t>
            </a:r>
            <a:endParaRPr lang="en-US" sz="3200" b="0" i="0" u="none" strike="noStrike" kern="1200" cap="none" spc="-50" normalizeH="0" baseline="0" noProof="0">
              <a:ln w="3175">
                <a:noFill/>
              </a:ln>
              <a:solidFill>
                <a:srgbClr val="000000"/>
              </a:solidFill>
              <a:effectLst/>
              <a:uLnTx/>
              <a:uFillTx/>
              <a:latin typeface="Segoe UI Semibold"/>
              <a:cs typeface="Segoe UI"/>
            </a:endParaRPr>
          </a:p>
        </p:txBody>
      </p:sp>
      <p:sp>
        <p:nvSpPr>
          <p:cNvPr id="19" name="TextBox 18">
            <a:extLst>
              <a:ext uri="{FF2B5EF4-FFF2-40B4-BE49-F238E27FC236}">
                <a16:creationId xmlns:a16="http://schemas.microsoft.com/office/drawing/2014/main" id="{0B9D6C57-C85E-E97B-1185-881E853CD8FC}"/>
              </a:ext>
            </a:extLst>
          </p:cNvPr>
          <p:cNvSpPr txBox="1"/>
          <p:nvPr/>
        </p:nvSpPr>
        <p:spPr>
          <a:xfrm>
            <a:off x="527431" y="860814"/>
            <a:ext cx="11079351" cy="1384995"/>
          </a:xfrm>
          <a:prstGeom prst="rect">
            <a:avLst/>
          </a:prstGeom>
          <a:noFill/>
        </p:spPr>
        <p:txBody>
          <a:bodyPr wrap="square" lIns="91440" tIns="45720" rIns="91440" bIns="45720" rtlCol="0" anchor="t">
            <a:spAutoFit/>
          </a:bodyPr>
          <a:lstStyle/>
          <a:p>
            <a:pPr lvl="0" defTabSz="914400">
              <a:defRPr/>
            </a:pPr>
            <a:r>
              <a:rPr lang="en-US" sz="1400">
                <a:solidFill>
                  <a:srgbClr val="000000"/>
                </a:solidFill>
                <a:latin typeface="Segoe UI"/>
                <a:hlinkClick r:id="rId3"/>
              </a:rPr>
              <a:t>Agent Examples </a:t>
            </a:r>
            <a:r>
              <a:rPr lang="en-US" sz="1400">
                <a:solidFill>
                  <a:srgbClr val="000000"/>
                </a:solidFill>
                <a:latin typeface="Segoe UI"/>
              </a:rPr>
              <a:t>deliver </a:t>
            </a:r>
            <a:r>
              <a:rPr lang="en-US" sz="1400" b="1">
                <a:solidFill>
                  <a:srgbClr val="000000"/>
                </a:solidFill>
                <a:latin typeface="Segoe UI"/>
              </a:rPr>
              <a:t>additional scenarios </a:t>
            </a:r>
            <a:r>
              <a:rPr lang="en-US" sz="1400">
                <a:solidFill>
                  <a:srgbClr val="000000"/>
                </a:solidFill>
                <a:latin typeface="Segoe UI"/>
              </a:rPr>
              <a:t>and are designed to be created with Copilot Studio agent builder </a:t>
            </a:r>
            <a:r>
              <a:rPr lang="en-GB" sz="1400">
                <a:hlinkClick r:id="rId4"/>
              </a:rPr>
              <a:t>aka.ms/</a:t>
            </a:r>
            <a:r>
              <a:rPr lang="en-GB" sz="1400" err="1">
                <a:hlinkClick r:id="rId4"/>
              </a:rPr>
              <a:t>copilotquickstarts</a:t>
            </a:r>
            <a:r>
              <a:rPr lang="en-GB" sz="1400">
                <a:hlinkClick r:id="rId4"/>
              </a:rPr>
              <a:t> </a:t>
            </a:r>
            <a:endParaRPr lang="en-US" sz="1400">
              <a:solidFill>
                <a:srgbClr val="000000"/>
              </a:solidFill>
              <a:latin typeface="Segoe UI"/>
            </a:endParaRPr>
          </a:p>
          <a:p>
            <a:pPr lvl="0" defTabSz="914400">
              <a:defRPr/>
            </a:pPr>
            <a:endParaRPr lang="en-US" sz="1400">
              <a:solidFill>
                <a:srgbClr val="000000"/>
              </a:solidFill>
              <a:latin typeface="Segoe UI"/>
            </a:endParaRPr>
          </a:p>
          <a:p>
            <a:pPr defTabSz="914400">
              <a:defRPr/>
            </a:pPr>
            <a:r>
              <a:rPr lang="en-US" sz="1400">
                <a:solidFill>
                  <a:srgbClr val="000000"/>
                </a:solidFill>
                <a:latin typeface="Segoe Sans Display Semibold"/>
                <a:cs typeface="Segoe Sans Display Semibold"/>
              </a:rPr>
              <a:t>Get started with agent examples </a:t>
            </a:r>
            <a:r>
              <a:rPr lang="en-US" sz="1400">
                <a:solidFill>
                  <a:srgbClr val="000000"/>
                </a:solidFill>
                <a:latin typeface="Segoe UI"/>
              </a:rPr>
              <a:t>by reviewing the video, downloading the assets and selecting “New agent” in the left hand pane of Copilot Chat. Use the provided assets to create your own agents. </a:t>
            </a:r>
            <a:endParaRPr lang="en-US" sz="1400">
              <a:solidFill>
                <a:srgbClr val="000000"/>
              </a:solidFill>
              <a:latin typeface="Segoe UI"/>
              <a:cs typeface="Segoe UI"/>
            </a:endParaRPr>
          </a:p>
          <a:p>
            <a:pPr lvl="0" defTabSz="914400">
              <a:defRPr/>
            </a:pPr>
            <a:endParaRPr lang="en-US" sz="1400">
              <a:solidFill>
                <a:srgbClr val="000000"/>
              </a:solidFill>
              <a:latin typeface="Segoe UI"/>
            </a:endParaRPr>
          </a:p>
          <a:p>
            <a:pPr lvl="0" defTabSz="914400">
              <a:defRPr/>
            </a:pPr>
            <a:r>
              <a:rPr lang="en-US" sz="1400">
                <a:solidFill>
                  <a:srgbClr val="000000"/>
                </a:solidFill>
                <a:latin typeface="Segoe UI"/>
              </a:rPr>
              <a:t>Agent Examples from Microsoft to try today:</a:t>
            </a:r>
          </a:p>
        </p:txBody>
      </p:sp>
      <p:grpSp>
        <p:nvGrpSpPr>
          <p:cNvPr id="41" name="Group 40">
            <a:extLst>
              <a:ext uri="{FF2B5EF4-FFF2-40B4-BE49-F238E27FC236}">
                <a16:creationId xmlns:a16="http://schemas.microsoft.com/office/drawing/2014/main" id="{F611B324-98B9-2818-B12D-08120D8A6748}"/>
              </a:ext>
            </a:extLst>
          </p:cNvPr>
          <p:cNvGrpSpPr/>
          <p:nvPr/>
        </p:nvGrpSpPr>
        <p:grpSpPr>
          <a:xfrm>
            <a:off x="571500" y="2311860"/>
            <a:ext cx="1674840" cy="1381557"/>
            <a:chOff x="563374" y="2577070"/>
            <a:chExt cx="2158060" cy="1791077"/>
          </a:xfrm>
        </p:grpSpPr>
        <p:sp>
          <p:nvSpPr>
            <p:cNvPr id="16" name="Rectangle: Rounded Corners 15">
              <a:extLst>
                <a:ext uri="{FF2B5EF4-FFF2-40B4-BE49-F238E27FC236}">
                  <a16:creationId xmlns:a16="http://schemas.microsoft.com/office/drawing/2014/main" id="{156740B3-9CEF-7AD2-D3C7-8FE0E35E813C}"/>
                </a:ext>
                <a:ext uri="{C183D7F6-B498-43B3-948B-1728B52AA6E4}">
                  <adec:decorative xmlns:adec="http://schemas.microsoft.com/office/drawing/2017/decorative" val="1"/>
                </a:ext>
              </a:extLst>
            </p:cNvPr>
            <p:cNvSpPr/>
            <p:nvPr/>
          </p:nvSpPr>
          <p:spPr bwMode="auto">
            <a:xfrm>
              <a:off x="563374" y="2636414"/>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TextBox 16">
              <a:extLst>
                <a:ext uri="{FF2B5EF4-FFF2-40B4-BE49-F238E27FC236}">
                  <a16:creationId xmlns:a16="http://schemas.microsoft.com/office/drawing/2014/main" id="{AFA998B9-0507-E3AA-DB02-197A41683F15}"/>
                </a:ext>
              </a:extLst>
            </p:cNvPr>
            <p:cNvSpPr txBox="1"/>
            <p:nvPr/>
          </p:nvSpPr>
          <p:spPr>
            <a:xfrm>
              <a:off x="691156" y="2577070"/>
              <a:ext cx="1881089" cy="638412"/>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Interview Practice Agent</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18" name="TextBox 17">
              <a:extLst>
                <a:ext uri="{FF2B5EF4-FFF2-40B4-BE49-F238E27FC236}">
                  <a16:creationId xmlns:a16="http://schemas.microsoft.com/office/drawing/2014/main" id="{28271790-6B65-A80B-C3A7-F3EB274ED6C6}"/>
                </a:ext>
              </a:extLst>
            </p:cNvPr>
            <p:cNvSpPr txBox="1"/>
            <p:nvPr/>
          </p:nvSpPr>
          <p:spPr>
            <a:xfrm>
              <a:off x="563374" y="3889338"/>
              <a:ext cx="2072113" cy="47880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Boost interview readiness</a:t>
              </a:r>
            </a:p>
          </p:txBody>
        </p:sp>
      </p:grpSp>
      <p:grpSp>
        <p:nvGrpSpPr>
          <p:cNvPr id="43" name="Group 42">
            <a:extLst>
              <a:ext uri="{FF2B5EF4-FFF2-40B4-BE49-F238E27FC236}">
                <a16:creationId xmlns:a16="http://schemas.microsoft.com/office/drawing/2014/main" id="{A8731184-F0A5-E9B8-7B83-9C5F98222F33}"/>
              </a:ext>
            </a:extLst>
          </p:cNvPr>
          <p:cNvGrpSpPr/>
          <p:nvPr/>
        </p:nvGrpSpPr>
        <p:grpSpPr>
          <a:xfrm>
            <a:off x="571500" y="5228503"/>
            <a:ext cx="1666217" cy="1351993"/>
            <a:chOff x="2791130" y="2587081"/>
            <a:chExt cx="2158060" cy="1756318"/>
          </a:xfrm>
        </p:grpSpPr>
        <p:sp>
          <p:nvSpPr>
            <p:cNvPr id="7" name="Rectangle: Rounded Corners 6">
              <a:extLst>
                <a:ext uri="{FF2B5EF4-FFF2-40B4-BE49-F238E27FC236}">
                  <a16:creationId xmlns:a16="http://schemas.microsoft.com/office/drawing/2014/main" id="{45DDB20C-45AD-4E6F-28C1-50CC370790ED}"/>
                </a:ext>
                <a:ext uri="{C183D7F6-B498-43B3-948B-1728B52AA6E4}">
                  <adec:decorative xmlns:adec="http://schemas.microsoft.com/office/drawing/2017/decorative" val="1"/>
                </a:ext>
              </a:extLst>
            </p:cNvPr>
            <p:cNvSpPr/>
            <p:nvPr/>
          </p:nvSpPr>
          <p:spPr bwMode="auto">
            <a:xfrm>
              <a:off x="2791130" y="2636414"/>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 name="TextBox 7">
              <a:extLst>
                <a:ext uri="{FF2B5EF4-FFF2-40B4-BE49-F238E27FC236}">
                  <a16:creationId xmlns:a16="http://schemas.microsoft.com/office/drawing/2014/main" id="{33CE3923-26EF-1B5E-5360-26BFACBC51F1}"/>
                </a:ext>
              </a:extLst>
            </p:cNvPr>
            <p:cNvSpPr txBox="1"/>
            <p:nvPr/>
          </p:nvSpPr>
          <p:spPr>
            <a:xfrm>
              <a:off x="2948707" y="2587081"/>
              <a:ext cx="1851895" cy="63971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Peer Feedback Agent</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9" name="TextBox 8">
              <a:extLst>
                <a:ext uri="{FF2B5EF4-FFF2-40B4-BE49-F238E27FC236}">
                  <a16:creationId xmlns:a16="http://schemas.microsoft.com/office/drawing/2014/main" id="{2002E022-5204-C198-23BC-1E2E7912E37E}"/>
                </a:ext>
              </a:extLst>
            </p:cNvPr>
            <p:cNvSpPr txBox="1"/>
            <p:nvPr/>
          </p:nvSpPr>
          <p:spPr>
            <a:xfrm>
              <a:off x="2858419" y="3815751"/>
              <a:ext cx="2015548" cy="479784"/>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sz="1200">
                  <a:solidFill>
                    <a:srgbClr val="000000"/>
                  </a:solidFill>
                  <a:latin typeface="Segoe UI"/>
                  <a:cs typeface="Segoe UI"/>
                </a:rPr>
                <a:t>C</a:t>
              </a:r>
              <a:r>
                <a:rPr kumimoji="0" lang="en-US" sz="1200" b="0" i="0" u="none" strike="noStrike" kern="1200" cap="none" spc="0" normalizeH="0" baseline="0" noProof="0">
                  <a:ln>
                    <a:noFill/>
                  </a:ln>
                  <a:solidFill>
                    <a:srgbClr val="000000"/>
                  </a:solidFill>
                  <a:effectLst/>
                  <a:uLnTx/>
                  <a:uFillTx/>
                  <a:latin typeface="Segoe UI"/>
                  <a:ea typeface="+mn-ea"/>
                  <a:cs typeface="Segoe UI"/>
                </a:rPr>
                <a:t>raft thoughtful, professional feedback</a:t>
              </a:r>
            </a:p>
          </p:txBody>
        </p:sp>
      </p:grpSp>
      <p:grpSp>
        <p:nvGrpSpPr>
          <p:cNvPr id="45" name="Group 44">
            <a:extLst>
              <a:ext uri="{FF2B5EF4-FFF2-40B4-BE49-F238E27FC236}">
                <a16:creationId xmlns:a16="http://schemas.microsoft.com/office/drawing/2014/main" id="{0E0A3753-757E-865D-5DFD-66F9F7A59257}"/>
              </a:ext>
            </a:extLst>
          </p:cNvPr>
          <p:cNvGrpSpPr/>
          <p:nvPr/>
        </p:nvGrpSpPr>
        <p:grpSpPr>
          <a:xfrm>
            <a:off x="2667000" y="3782794"/>
            <a:ext cx="1675510" cy="1352047"/>
            <a:chOff x="5029590" y="2599145"/>
            <a:chExt cx="2158060" cy="1744254"/>
          </a:xfrm>
        </p:grpSpPr>
        <p:sp>
          <p:nvSpPr>
            <p:cNvPr id="10" name="Rectangle: Rounded Corners 9">
              <a:extLst>
                <a:ext uri="{FF2B5EF4-FFF2-40B4-BE49-F238E27FC236}">
                  <a16:creationId xmlns:a16="http://schemas.microsoft.com/office/drawing/2014/main" id="{698E5EA6-14D4-2F34-649D-14A6DB2D263F}"/>
                </a:ext>
                <a:ext uri="{C183D7F6-B498-43B3-948B-1728B52AA6E4}">
                  <adec:decorative xmlns:adec="http://schemas.microsoft.com/office/drawing/2017/decorative" val="1"/>
                </a:ext>
              </a:extLst>
            </p:cNvPr>
            <p:cNvSpPr/>
            <p:nvPr/>
          </p:nvSpPr>
          <p:spPr bwMode="auto">
            <a:xfrm>
              <a:off x="502959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TextBox 10">
              <a:extLst>
                <a:ext uri="{FF2B5EF4-FFF2-40B4-BE49-F238E27FC236}">
                  <a16:creationId xmlns:a16="http://schemas.microsoft.com/office/drawing/2014/main" id="{AD63128A-4637-1DCA-29CC-2EC30B5D00CD}"/>
                </a:ext>
              </a:extLst>
            </p:cNvPr>
            <p:cNvSpPr txBox="1"/>
            <p:nvPr/>
          </p:nvSpPr>
          <p:spPr>
            <a:xfrm>
              <a:off x="5244256" y="2599145"/>
              <a:ext cx="1696175" cy="635293"/>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Storytelling Mentor</a:t>
              </a:r>
            </a:p>
          </p:txBody>
        </p:sp>
        <p:sp>
          <p:nvSpPr>
            <p:cNvPr id="12" name="TextBox 11">
              <a:extLst>
                <a:ext uri="{FF2B5EF4-FFF2-40B4-BE49-F238E27FC236}">
                  <a16:creationId xmlns:a16="http://schemas.microsoft.com/office/drawing/2014/main" id="{887C236A-EA80-5CE1-414A-5240B0720F37}"/>
                </a:ext>
              </a:extLst>
            </p:cNvPr>
            <p:cNvSpPr txBox="1"/>
            <p:nvPr/>
          </p:nvSpPr>
          <p:spPr>
            <a:xfrm>
              <a:off x="5166575" y="3841598"/>
              <a:ext cx="1884090" cy="476469"/>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Elevate your communication</a:t>
              </a:r>
            </a:p>
          </p:txBody>
        </p:sp>
      </p:grpSp>
      <p:grpSp>
        <p:nvGrpSpPr>
          <p:cNvPr id="48" name="Group 47">
            <a:extLst>
              <a:ext uri="{FF2B5EF4-FFF2-40B4-BE49-F238E27FC236}">
                <a16:creationId xmlns:a16="http://schemas.microsoft.com/office/drawing/2014/main" id="{456B4C9A-F418-C2B3-9295-028428F7A10E}"/>
              </a:ext>
            </a:extLst>
          </p:cNvPr>
          <p:cNvGrpSpPr/>
          <p:nvPr/>
        </p:nvGrpSpPr>
        <p:grpSpPr>
          <a:xfrm>
            <a:off x="4800600" y="2326901"/>
            <a:ext cx="1702941" cy="1360139"/>
            <a:chOff x="7268050" y="2588706"/>
            <a:chExt cx="2193391" cy="1754693"/>
          </a:xfrm>
        </p:grpSpPr>
        <p:sp>
          <p:nvSpPr>
            <p:cNvPr id="4" name="Rectangle: Rounded Corners 3">
              <a:extLst>
                <a:ext uri="{FF2B5EF4-FFF2-40B4-BE49-F238E27FC236}">
                  <a16:creationId xmlns:a16="http://schemas.microsoft.com/office/drawing/2014/main" id="{836645E7-4958-8460-5049-ECF746FFB2D2}"/>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 name="TextBox 4">
              <a:extLst>
                <a:ext uri="{FF2B5EF4-FFF2-40B4-BE49-F238E27FC236}">
                  <a16:creationId xmlns:a16="http://schemas.microsoft.com/office/drawing/2014/main" id="{F3BCF35D-B29E-96D2-9962-8B7ECCC62044}"/>
                </a:ext>
              </a:extLst>
            </p:cNvPr>
            <p:cNvSpPr txBox="1"/>
            <p:nvPr/>
          </p:nvSpPr>
          <p:spPr>
            <a:xfrm>
              <a:off x="7445228" y="2588706"/>
              <a:ext cx="1875609" cy="635293"/>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Store Readiness Assistant</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6" name="TextBox 5">
              <a:extLst>
                <a:ext uri="{FF2B5EF4-FFF2-40B4-BE49-F238E27FC236}">
                  <a16:creationId xmlns:a16="http://schemas.microsoft.com/office/drawing/2014/main" id="{B39004BE-EE7A-15B0-68FF-CCB389108F4D}"/>
                </a:ext>
              </a:extLst>
            </p:cNvPr>
            <p:cNvSpPr txBox="1"/>
            <p:nvPr/>
          </p:nvSpPr>
          <p:spPr>
            <a:xfrm>
              <a:off x="7277975" y="3909758"/>
              <a:ext cx="2183466" cy="238234"/>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Simplify store opening</a:t>
              </a:r>
            </a:p>
          </p:txBody>
        </p:sp>
      </p:grpSp>
      <p:grpSp>
        <p:nvGrpSpPr>
          <p:cNvPr id="52" name="Group 51">
            <a:extLst>
              <a:ext uri="{FF2B5EF4-FFF2-40B4-BE49-F238E27FC236}">
                <a16:creationId xmlns:a16="http://schemas.microsoft.com/office/drawing/2014/main" id="{9E64322F-A003-49CF-ADDA-628CA7BBAFBD}"/>
              </a:ext>
            </a:extLst>
          </p:cNvPr>
          <p:cNvGrpSpPr/>
          <p:nvPr/>
        </p:nvGrpSpPr>
        <p:grpSpPr>
          <a:xfrm>
            <a:off x="4787756" y="5230230"/>
            <a:ext cx="1688353" cy="1360140"/>
            <a:chOff x="9489967" y="2588705"/>
            <a:chExt cx="2174602" cy="1754695"/>
          </a:xfrm>
        </p:grpSpPr>
        <p:sp>
          <p:nvSpPr>
            <p:cNvPr id="13" name="Rectangle: Rounded Corners 12">
              <a:extLst>
                <a:ext uri="{FF2B5EF4-FFF2-40B4-BE49-F238E27FC236}">
                  <a16:creationId xmlns:a16="http://schemas.microsoft.com/office/drawing/2014/main" id="{C5DEB68D-BC84-B179-3E00-7075E1BE61A3}"/>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432D616F-2643-C703-8190-6ADDAEE62CF2}"/>
                </a:ext>
              </a:extLst>
            </p:cNvPr>
            <p:cNvSpPr txBox="1"/>
            <p:nvPr/>
          </p:nvSpPr>
          <p:spPr>
            <a:xfrm>
              <a:off x="9618231" y="2588705"/>
              <a:ext cx="1849624" cy="635293"/>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Statement of Work Creator</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15" name="TextBox 14">
              <a:extLst>
                <a:ext uri="{FF2B5EF4-FFF2-40B4-BE49-F238E27FC236}">
                  <a16:creationId xmlns:a16="http://schemas.microsoft.com/office/drawing/2014/main" id="{7600F085-ED0A-280F-8333-DA7FA2559313}"/>
                </a:ext>
              </a:extLst>
            </p:cNvPr>
            <p:cNvSpPr txBox="1"/>
            <p:nvPr/>
          </p:nvSpPr>
          <p:spPr>
            <a:xfrm>
              <a:off x="9489967" y="3858022"/>
              <a:ext cx="2170234" cy="47646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Segoe UI"/>
                  <a:ea typeface="+mn-ea"/>
                  <a:cs typeface="Segoe UI"/>
                </a:rPr>
                <a:t>Create statement of work documents.</a:t>
              </a: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p:txBody>
        </p:sp>
      </p:grpSp>
      <p:grpSp>
        <p:nvGrpSpPr>
          <p:cNvPr id="42" name="Group 41">
            <a:extLst>
              <a:ext uri="{FF2B5EF4-FFF2-40B4-BE49-F238E27FC236}">
                <a16:creationId xmlns:a16="http://schemas.microsoft.com/office/drawing/2014/main" id="{234D0D38-74CF-60B0-8E57-C7598AEED46D}"/>
              </a:ext>
            </a:extLst>
          </p:cNvPr>
          <p:cNvGrpSpPr/>
          <p:nvPr/>
        </p:nvGrpSpPr>
        <p:grpSpPr>
          <a:xfrm>
            <a:off x="571500" y="3813013"/>
            <a:ext cx="1665616" cy="1309544"/>
            <a:chOff x="557513" y="4415392"/>
            <a:chExt cx="2158060" cy="1706984"/>
          </a:xfrm>
        </p:grpSpPr>
        <p:sp>
          <p:nvSpPr>
            <p:cNvPr id="29" name="Rectangle: Rounded Corners 28">
              <a:extLst>
                <a:ext uri="{FF2B5EF4-FFF2-40B4-BE49-F238E27FC236}">
                  <a16:creationId xmlns:a16="http://schemas.microsoft.com/office/drawing/2014/main" id="{BF66B56B-335E-3DE3-6DAC-828CE5722A74}"/>
                </a:ext>
                <a:ext uri="{C183D7F6-B498-43B3-948B-1728B52AA6E4}">
                  <adec:decorative xmlns:adec="http://schemas.microsoft.com/office/drawing/2017/decorative" val="1"/>
                </a:ext>
              </a:extLst>
            </p:cNvPr>
            <p:cNvSpPr/>
            <p:nvPr/>
          </p:nvSpPr>
          <p:spPr bwMode="auto">
            <a:xfrm>
              <a:off x="557513" y="4415392"/>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 name="TextBox 30">
              <a:extLst>
                <a:ext uri="{FF2B5EF4-FFF2-40B4-BE49-F238E27FC236}">
                  <a16:creationId xmlns:a16="http://schemas.microsoft.com/office/drawing/2014/main" id="{970A239D-D077-BFC5-F110-B6EA93D595BB}"/>
                </a:ext>
              </a:extLst>
            </p:cNvPr>
            <p:cNvSpPr txBox="1"/>
            <p:nvPr/>
          </p:nvSpPr>
          <p:spPr>
            <a:xfrm>
              <a:off x="557513" y="4422471"/>
              <a:ext cx="2155386" cy="381126"/>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Product Crafter</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32" name="TextBox 31">
              <a:extLst>
                <a:ext uri="{FF2B5EF4-FFF2-40B4-BE49-F238E27FC236}">
                  <a16:creationId xmlns:a16="http://schemas.microsoft.com/office/drawing/2014/main" id="{0EA28B2C-E83C-4F0E-D646-CA2B42FC7329}"/>
                </a:ext>
              </a:extLst>
            </p:cNvPr>
            <p:cNvSpPr txBox="1"/>
            <p:nvPr/>
          </p:nvSpPr>
          <p:spPr>
            <a:xfrm>
              <a:off x="683794" y="5626124"/>
              <a:ext cx="1957308" cy="481422"/>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Accelerate product planning</a:t>
              </a:r>
            </a:p>
          </p:txBody>
        </p:sp>
      </p:grpSp>
      <p:grpSp>
        <p:nvGrpSpPr>
          <p:cNvPr id="44" name="Group 43">
            <a:extLst>
              <a:ext uri="{FF2B5EF4-FFF2-40B4-BE49-F238E27FC236}">
                <a16:creationId xmlns:a16="http://schemas.microsoft.com/office/drawing/2014/main" id="{3C73AA1B-488F-0DE3-D34A-A85613689EB4}"/>
              </a:ext>
            </a:extLst>
          </p:cNvPr>
          <p:cNvGrpSpPr/>
          <p:nvPr/>
        </p:nvGrpSpPr>
        <p:grpSpPr>
          <a:xfrm>
            <a:off x="2667000" y="2342787"/>
            <a:ext cx="1670694" cy="1342531"/>
            <a:chOff x="2776832" y="4390346"/>
            <a:chExt cx="2174933" cy="1732031"/>
          </a:xfrm>
        </p:grpSpPr>
        <p:sp>
          <p:nvSpPr>
            <p:cNvPr id="28" name="Rectangle: Rounded Corners 27">
              <a:extLst>
                <a:ext uri="{FF2B5EF4-FFF2-40B4-BE49-F238E27FC236}">
                  <a16:creationId xmlns:a16="http://schemas.microsoft.com/office/drawing/2014/main" id="{88EBFA0D-8172-614D-AFC0-D01EEE910996}"/>
                </a:ext>
                <a:ext uri="{C183D7F6-B498-43B3-948B-1728B52AA6E4}">
                  <adec:decorative xmlns:adec="http://schemas.microsoft.com/office/drawing/2017/decorative" val="1"/>
                </a:ext>
              </a:extLst>
            </p:cNvPr>
            <p:cNvSpPr/>
            <p:nvPr/>
          </p:nvSpPr>
          <p:spPr bwMode="auto">
            <a:xfrm>
              <a:off x="2785269" y="4415392"/>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3" name="TextBox 32">
              <a:extLst>
                <a:ext uri="{FF2B5EF4-FFF2-40B4-BE49-F238E27FC236}">
                  <a16:creationId xmlns:a16="http://schemas.microsoft.com/office/drawing/2014/main" id="{16901339-3242-3898-95DA-CF3E78795C8C}"/>
                </a:ext>
              </a:extLst>
            </p:cNvPr>
            <p:cNvSpPr txBox="1"/>
            <p:nvPr/>
          </p:nvSpPr>
          <p:spPr>
            <a:xfrm>
              <a:off x="2776832" y="4390346"/>
              <a:ext cx="2174933" cy="635313"/>
            </a:xfrm>
            <a:prstGeom prst="rect">
              <a:avLst/>
            </a:prstGeom>
            <a:noFill/>
            <a:ln>
              <a:noFill/>
            </a:ln>
            <a:effectLst/>
          </p:spPr>
          <p:txBody>
            <a:bodyPr wrap="square" lIns="91440" tIns="45720" rIns="91440" bIns="45720" anchor="ctr">
              <a:spAutoFit/>
            </a:bodyPr>
            <a:lstStyle/>
            <a:p>
              <a:pPr lvl="0" algn="ctr" defTabSz="932472" fontAlgn="base">
                <a:spcBef>
                  <a:spcPct val="0"/>
                </a:spcBef>
                <a:spcAft>
                  <a:spcPct val="0"/>
                </a:spcAf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Sales Pitch Assistant</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34" name="TextBox 33">
              <a:extLst>
                <a:ext uri="{FF2B5EF4-FFF2-40B4-BE49-F238E27FC236}">
                  <a16:creationId xmlns:a16="http://schemas.microsoft.com/office/drawing/2014/main" id="{24206799-4CB7-856C-ACD8-6462044CDF14}"/>
                </a:ext>
              </a:extLst>
            </p:cNvPr>
            <p:cNvSpPr txBox="1"/>
            <p:nvPr/>
          </p:nvSpPr>
          <p:spPr>
            <a:xfrm>
              <a:off x="2852559" y="5668315"/>
              <a:ext cx="2009120" cy="238242"/>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Drive sales success</a:t>
              </a:r>
            </a:p>
          </p:txBody>
        </p:sp>
      </p:grpSp>
      <p:grpSp>
        <p:nvGrpSpPr>
          <p:cNvPr id="46" name="Group 45">
            <a:extLst>
              <a:ext uri="{FF2B5EF4-FFF2-40B4-BE49-F238E27FC236}">
                <a16:creationId xmlns:a16="http://schemas.microsoft.com/office/drawing/2014/main" id="{96DBC2EB-43E3-D503-D7D2-BF3CE514BE72}"/>
              </a:ext>
            </a:extLst>
          </p:cNvPr>
          <p:cNvGrpSpPr/>
          <p:nvPr/>
        </p:nvGrpSpPr>
        <p:grpSpPr>
          <a:xfrm>
            <a:off x="2665765" y="5247650"/>
            <a:ext cx="1689100" cy="1351861"/>
            <a:chOff x="5006226" y="4366029"/>
            <a:chExt cx="2175564" cy="1756348"/>
          </a:xfrm>
        </p:grpSpPr>
        <p:sp>
          <p:nvSpPr>
            <p:cNvPr id="30" name="Rectangle: Rounded Corners 29">
              <a:extLst>
                <a:ext uri="{FF2B5EF4-FFF2-40B4-BE49-F238E27FC236}">
                  <a16:creationId xmlns:a16="http://schemas.microsoft.com/office/drawing/2014/main" id="{7CECAC57-1769-74D5-376B-70E6CEE71E6D}"/>
                </a:ext>
                <a:ext uri="{C183D7F6-B498-43B3-948B-1728B52AA6E4}">
                  <adec:decorative xmlns:adec="http://schemas.microsoft.com/office/drawing/2017/decorative" val="1"/>
                </a:ext>
              </a:extLst>
            </p:cNvPr>
            <p:cNvSpPr/>
            <p:nvPr/>
          </p:nvSpPr>
          <p:spPr bwMode="auto">
            <a:xfrm>
              <a:off x="502372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TextBox 34">
              <a:extLst>
                <a:ext uri="{FF2B5EF4-FFF2-40B4-BE49-F238E27FC236}">
                  <a16:creationId xmlns:a16="http://schemas.microsoft.com/office/drawing/2014/main" id="{7356722B-510E-740A-8559-3E39C78FD2EB}"/>
                </a:ext>
              </a:extLst>
            </p:cNvPr>
            <p:cNvSpPr txBox="1"/>
            <p:nvPr/>
          </p:nvSpPr>
          <p:spPr>
            <a:xfrm>
              <a:off x="5238395" y="4366029"/>
              <a:ext cx="1696175" cy="639786"/>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Marketing Agent</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36" name="TextBox 35">
              <a:extLst>
                <a:ext uri="{FF2B5EF4-FFF2-40B4-BE49-F238E27FC236}">
                  <a16:creationId xmlns:a16="http://schemas.microsoft.com/office/drawing/2014/main" id="{621001DF-C355-CEC6-9C85-B908EAFDFF20}"/>
                </a:ext>
              </a:extLst>
            </p:cNvPr>
            <p:cNvSpPr txBox="1"/>
            <p:nvPr/>
          </p:nvSpPr>
          <p:spPr>
            <a:xfrm>
              <a:off x="5006226" y="5699854"/>
              <a:ext cx="2175564" cy="239919"/>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Write effective content</a:t>
              </a:r>
            </a:p>
          </p:txBody>
        </p:sp>
      </p:grpSp>
      <p:grpSp>
        <p:nvGrpSpPr>
          <p:cNvPr id="50" name="Group 49">
            <a:extLst>
              <a:ext uri="{FF2B5EF4-FFF2-40B4-BE49-F238E27FC236}">
                <a16:creationId xmlns:a16="http://schemas.microsoft.com/office/drawing/2014/main" id="{F517DE86-D1F1-5422-905E-A4538614E75F}"/>
              </a:ext>
            </a:extLst>
          </p:cNvPr>
          <p:cNvGrpSpPr/>
          <p:nvPr/>
        </p:nvGrpSpPr>
        <p:grpSpPr>
          <a:xfrm>
            <a:off x="4800600" y="3788657"/>
            <a:ext cx="1666217" cy="1343770"/>
            <a:chOff x="7262189" y="4376541"/>
            <a:chExt cx="2158060" cy="1745836"/>
          </a:xfrm>
        </p:grpSpPr>
        <p:sp>
          <p:nvSpPr>
            <p:cNvPr id="27" name="Rectangle: Rounded Corners 26">
              <a:extLst>
                <a:ext uri="{FF2B5EF4-FFF2-40B4-BE49-F238E27FC236}">
                  <a16:creationId xmlns:a16="http://schemas.microsoft.com/office/drawing/2014/main" id="{9E6140C4-61DE-A915-EEF0-01B21E7D232E}"/>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 name="TextBox 36">
              <a:extLst>
                <a:ext uri="{FF2B5EF4-FFF2-40B4-BE49-F238E27FC236}">
                  <a16:creationId xmlns:a16="http://schemas.microsoft.com/office/drawing/2014/main" id="{677DFBB6-733F-1E0C-685E-E89CD97D67DD}"/>
                </a:ext>
              </a:extLst>
            </p:cNvPr>
            <p:cNvSpPr txBox="1"/>
            <p:nvPr/>
          </p:nvSpPr>
          <p:spPr>
            <a:xfrm>
              <a:off x="7491481" y="4376541"/>
              <a:ext cx="1699476" cy="639786"/>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Negotiation Assistant</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38" name="TextBox 37">
              <a:extLst>
                <a:ext uri="{FF2B5EF4-FFF2-40B4-BE49-F238E27FC236}">
                  <a16:creationId xmlns:a16="http://schemas.microsoft.com/office/drawing/2014/main" id="{AE00CBF7-3ED2-F5F1-BD57-69D0B7AA6AF2}"/>
                </a:ext>
              </a:extLst>
            </p:cNvPr>
            <p:cNvSpPr txBox="1"/>
            <p:nvPr/>
          </p:nvSpPr>
          <p:spPr>
            <a:xfrm>
              <a:off x="7272171" y="5668315"/>
              <a:ext cx="2129109" cy="23991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Close better deals</a:t>
              </a:r>
            </a:p>
          </p:txBody>
        </p:sp>
      </p:grpSp>
      <p:grpSp>
        <p:nvGrpSpPr>
          <p:cNvPr id="58" name="Group 57">
            <a:extLst>
              <a:ext uri="{FF2B5EF4-FFF2-40B4-BE49-F238E27FC236}">
                <a16:creationId xmlns:a16="http://schemas.microsoft.com/office/drawing/2014/main" id="{1FB8FCAC-3C65-200F-75F1-9624D8A5B944}"/>
              </a:ext>
            </a:extLst>
          </p:cNvPr>
          <p:cNvGrpSpPr/>
          <p:nvPr/>
        </p:nvGrpSpPr>
        <p:grpSpPr>
          <a:xfrm>
            <a:off x="6894513" y="2318810"/>
            <a:ext cx="1675510" cy="1368231"/>
            <a:chOff x="7268050" y="2578267"/>
            <a:chExt cx="2158060" cy="1765132"/>
          </a:xfrm>
        </p:grpSpPr>
        <p:sp>
          <p:nvSpPr>
            <p:cNvPr id="59" name="Rectangle: Rounded Corners 58">
              <a:extLst>
                <a:ext uri="{FF2B5EF4-FFF2-40B4-BE49-F238E27FC236}">
                  <a16:creationId xmlns:a16="http://schemas.microsoft.com/office/drawing/2014/main" id="{7EE98CCF-B4FF-4C1A-FB5F-1DF1A1521FF8}"/>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 name="TextBox 59">
              <a:extLst>
                <a:ext uri="{FF2B5EF4-FFF2-40B4-BE49-F238E27FC236}">
                  <a16:creationId xmlns:a16="http://schemas.microsoft.com/office/drawing/2014/main" id="{D4602809-FE9A-068F-0CAF-41C11E8A3149}"/>
                </a:ext>
              </a:extLst>
            </p:cNvPr>
            <p:cNvSpPr txBox="1"/>
            <p:nvPr/>
          </p:nvSpPr>
          <p:spPr>
            <a:xfrm>
              <a:off x="7268050" y="2578267"/>
              <a:ext cx="2112178" cy="63529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Job Description Agent</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61" name="TextBox 60">
              <a:extLst>
                <a:ext uri="{FF2B5EF4-FFF2-40B4-BE49-F238E27FC236}">
                  <a16:creationId xmlns:a16="http://schemas.microsoft.com/office/drawing/2014/main" id="{AF78663F-2D50-3EFD-C1F2-2C059E61BEF0}"/>
                </a:ext>
              </a:extLst>
            </p:cNvPr>
            <p:cNvSpPr txBox="1"/>
            <p:nvPr/>
          </p:nvSpPr>
          <p:spPr>
            <a:xfrm>
              <a:off x="7268050" y="3898497"/>
              <a:ext cx="2112178" cy="238234"/>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Speed up hiring</a:t>
              </a:r>
            </a:p>
          </p:txBody>
        </p:sp>
      </p:grpSp>
      <p:grpSp>
        <p:nvGrpSpPr>
          <p:cNvPr id="64" name="Group 63">
            <a:extLst>
              <a:ext uri="{FF2B5EF4-FFF2-40B4-BE49-F238E27FC236}">
                <a16:creationId xmlns:a16="http://schemas.microsoft.com/office/drawing/2014/main" id="{E48141DB-00F6-5DF9-FDC5-6B7797FCD994}"/>
              </a:ext>
            </a:extLst>
          </p:cNvPr>
          <p:cNvGrpSpPr/>
          <p:nvPr/>
        </p:nvGrpSpPr>
        <p:grpSpPr>
          <a:xfrm>
            <a:off x="6894513" y="3811687"/>
            <a:ext cx="1675510" cy="1323159"/>
            <a:chOff x="7268050" y="2636415"/>
            <a:chExt cx="2158060" cy="1706984"/>
          </a:xfrm>
        </p:grpSpPr>
        <p:sp>
          <p:nvSpPr>
            <p:cNvPr id="65" name="Rectangle: Rounded Corners 64">
              <a:extLst>
                <a:ext uri="{FF2B5EF4-FFF2-40B4-BE49-F238E27FC236}">
                  <a16:creationId xmlns:a16="http://schemas.microsoft.com/office/drawing/2014/main" id="{74A7512D-4F95-DD05-D95E-714BD92C3BA5}"/>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 name="TextBox 65">
              <a:extLst>
                <a:ext uri="{FF2B5EF4-FFF2-40B4-BE49-F238E27FC236}">
                  <a16:creationId xmlns:a16="http://schemas.microsoft.com/office/drawing/2014/main" id="{CEC2F095-F331-22B3-E6F9-BA82437315F2}"/>
                </a:ext>
              </a:extLst>
            </p:cNvPr>
            <p:cNvSpPr txBox="1"/>
            <p:nvPr/>
          </p:nvSpPr>
          <p:spPr>
            <a:xfrm>
              <a:off x="7268050" y="2690205"/>
              <a:ext cx="2112178" cy="377205"/>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Travel Planner</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67" name="TextBox 66">
              <a:extLst>
                <a:ext uri="{FF2B5EF4-FFF2-40B4-BE49-F238E27FC236}">
                  <a16:creationId xmlns:a16="http://schemas.microsoft.com/office/drawing/2014/main" id="{27EAF904-CE05-71AE-1C8C-279418CEA36B}"/>
                </a:ext>
              </a:extLst>
            </p:cNvPr>
            <p:cNvSpPr txBox="1"/>
            <p:nvPr/>
          </p:nvSpPr>
          <p:spPr>
            <a:xfrm>
              <a:off x="7268050" y="3855567"/>
              <a:ext cx="2112178" cy="476467"/>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Streamline travel planning</a:t>
              </a:r>
            </a:p>
          </p:txBody>
        </p:sp>
      </p:grpSp>
      <p:grpSp>
        <p:nvGrpSpPr>
          <p:cNvPr id="26" name="Group 25">
            <a:extLst>
              <a:ext uri="{FF2B5EF4-FFF2-40B4-BE49-F238E27FC236}">
                <a16:creationId xmlns:a16="http://schemas.microsoft.com/office/drawing/2014/main" id="{D15C7C2F-A6AA-0B16-E897-591A2024842D}"/>
              </a:ext>
            </a:extLst>
          </p:cNvPr>
          <p:cNvGrpSpPr/>
          <p:nvPr/>
        </p:nvGrpSpPr>
        <p:grpSpPr>
          <a:xfrm>
            <a:off x="9021608" y="3801907"/>
            <a:ext cx="1684407" cy="1313865"/>
            <a:chOff x="6894512" y="5257794"/>
            <a:chExt cx="1684407" cy="1313865"/>
          </a:xfrm>
        </p:grpSpPr>
        <p:grpSp>
          <p:nvGrpSpPr>
            <p:cNvPr id="69" name="Group 68">
              <a:extLst>
                <a:ext uri="{FF2B5EF4-FFF2-40B4-BE49-F238E27FC236}">
                  <a16:creationId xmlns:a16="http://schemas.microsoft.com/office/drawing/2014/main" id="{23836559-75EB-FF90-B627-9F3C066CE17B}"/>
                </a:ext>
              </a:extLst>
            </p:cNvPr>
            <p:cNvGrpSpPr/>
            <p:nvPr/>
          </p:nvGrpSpPr>
          <p:grpSpPr>
            <a:xfrm>
              <a:off x="6894512" y="5257794"/>
              <a:ext cx="1684407" cy="1313865"/>
              <a:chOff x="7262189" y="4415393"/>
              <a:chExt cx="2181620" cy="1706984"/>
            </a:xfrm>
          </p:grpSpPr>
          <p:sp>
            <p:nvSpPr>
              <p:cNvPr id="70" name="Rectangle: Rounded Corners 69">
                <a:extLst>
                  <a:ext uri="{FF2B5EF4-FFF2-40B4-BE49-F238E27FC236}">
                    <a16:creationId xmlns:a16="http://schemas.microsoft.com/office/drawing/2014/main" id="{CF8D93B0-0C03-C305-7122-C371D6750D0B}"/>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1" name="TextBox 70">
                <a:extLst>
                  <a:ext uri="{FF2B5EF4-FFF2-40B4-BE49-F238E27FC236}">
                    <a16:creationId xmlns:a16="http://schemas.microsoft.com/office/drawing/2014/main" id="{3F35C854-8CEE-CE09-BCA8-1C20BB03BCA8}"/>
                  </a:ext>
                </a:extLst>
              </p:cNvPr>
              <p:cNvSpPr txBox="1"/>
              <p:nvPr/>
            </p:nvSpPr>
            <p:spPr>
              <a:xfrm>
                <a:off x="7262189" y="4492787"/>
                <a:ext cx="2123958" cy="379873"/>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Agent Crafter</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72" name="TextBox 71">
                <a:extLst>
                  <a:ext uri="{FF2B5EF4-FFF2-40B4-BE49-F238E27FC236}">
                    <a16:creationId xmlns:a16="http://schemas.microsoft.com/office/drawing/2014/main" id="{F3DAA6B8-68BA-FC2E-A9B3-311B6145A16A}"/>
                  </a:ext>
                </a:extLst>
              </p:cNvPr>
              <p:cNvSpPr txBox="1"/>
              <p:nvPr/>
            </p:nvSpPr>
            <p:spPr>
              <a:xfrm>
                <a:off x="7262190" y="5626264"/>
                <a:ext cx="2181619" cy="47983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Accelerate agent development</a:t>
                </a:r>
              </a:p>
            </p:txBody>
          </p:sp>
        </p:grpSp>
        <p:pic>
          <p:nvPicPr>
            <p:cNvPr id="74" name="Picture 73" descr="Corporate Comms Crafter avatar">
              <a:extLst>
                <a:ext uri="{FF2B5EF4-FFF2-40B4-BE49-F238E27FC236}">
                  <a16:creationId xmlns:a16="http://schemas.microsoft.com/office/drawing/2014/main" id="{D6C4CCDE-7BFF-8105-7C81-F59DC3519DA6}"/>
                </a:ext>
              </a:extLst>
            </p:cNvPr>
            <p:cNvPicPr>
              <a:picLocks noChangeAspect="1"/>
            </p:cNvPicPr>
            <p:nvPr/>
          </p:nvPicPr>
          <p:blipFill>
            <a:blip r:embed="rId5"/>
            <a:stretch>
              <a:fillRect/>
            </a:stretch>
          </p:blipFill>
          <p:spPr>
            <a:xfrm>
              <a:off x="7508854" y="5711536"/>
              <a:ext cx="484440" cy="484440"/>
            </a:xfrm>
            <a:prstGeom prst="rect">
              <a:avLst/>
            </a:prstGeom>
          </p:spPr>
        </p:pic>
      </p:grpSp>
      <p:grpSp>
        <p:nvGrpSpPr>
          <p:cNvPr id="75" name="Group 74">
            <a:extLst>
              <a:ext uri="{FF2B5EF4-FFF2-40B4-BE49-F238E27FC236}">
                <a16:creationId xmlns:a16="http://schemas.microsoft.com/office/drawing/2014/main" id="{1491381D-E53A-2633-293D-674D8369D433}"/>
              </a:ext>
            </a:extLst>
          </p:cNvPr>
          <p:cNvGrpSpPr/>
          <p:nvPr/>
        </p:nvGrpSpPr>
        <p:grpSpPr>
          <a:xfrm>
            <a:off x="9029700" y="2337586"/>
            <a:ext cx="1666217" cy="1345323"/>
            <a:chOff x="7262189" y="4374523"/>
            <a:chExt cx="2158060" cy="1747854"/>
          </a:xfrm>
        </p:grpSpPr>
        <p:sp>
          <p:nvSpPr>
            <p:cNvPr id="76" name="Rectangle: Rounded Corners 75">
              <a:extLst>
                <a:ext uri="{FF2B5EF4-FFF2-40B4-BE49-F238E27FC236}">
                  <a16:creationId xmlns:a16="http://schemas.microsoft.com/office/drawing/2014/main" id="{0E71B52C-7084-8248-D78C-255F2B0C50BC}"/>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7" name="TextBox 76">
              <a:extLst>
                <a:ext uri="{FF2B5EF4-FFF2-40B4-BE49-F238E27FC236}">
                  <a16:creationId xmlns:a16="http://schemas.microsoft.com/office/drawing/2014/main" id="{013A7105-9D1A-5C42-82FC-37BF80CDC015}"/>
                </a:ext>
              </a:extLst>
            </p:cNvPr>
            <p:cNvSpPr txBox="1"/>
            <p:nvPr/>
          </p:nvSpPr>
          <p:spPr>
            <a:xfrm>
              <a:off x="7262189" y="4374523"/>
              <a:ext cx="2123958" cy="639786"/>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Wellness &amp; Productivity Coach</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78" name="TextBox 77">
              <a:extLst>
                <a:ext uri="{FF2B5EF4-FFF2-40B4-BE49-F238E27FC236}">
                  <a16:creationId xmlns:a16="http://schemas.microsoft.com/office/drawing/2014/main" id="{82D57165-667F-F606-7031-AD467889D028}"/>
                </a:ext>
              </a:extLst>
            </p:cNvPr>
            <p:cNvSpPr txBox="1"/>
            <p:nvPr/>
          </p:nvSpPr>
          <p:spPr>
            <a:xfrm>
              <a:off x="7315648" y="5699855"/>
              <a:ext cx="2062276" cy="23991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Boost employee focus</a:t>
              </a:r>
            </a:p>
          </p:txBody>
        </p:sp>
      </p:grpSp>
      <p:grpSp>
        <p:nvGrpSpPr>
          <p:cNvPr id="39" name="Group 38">
            <a:extLst>
              <a:ext uri="{FF2B5EF4-FFF2-40B4-BE49-F238E27FC236}">
                <a16:creationId xmlns:a16="http://schemas.microsoft.com/office/drawing/2014/main" id="{4C261543-D856-F22F-85D1-18CEA0CF802A}"/>
              </a:ext>
            </a:extLst>
          </p:cNvPr>
          <p:cNvGrpSpPr/>
          <p:nvPr/>
        </p:nvGrpSpPr>
        <p:grpSpPr>
          <a:xfrm>
            <a:off x="6895081" y="5239368"/>
            <a:ext cx="1688353" cy="1360140"/>
            <a:chOff x="9489967" y="2588705"/>
            <a:chExt cx="2174602" cy="1754695"/>
          </a:xfrm>
        </p:grpSpPr>
        <p:sp>
          <p:nvSpPr>
            <p:cNvPr id="40" name="Rectangle: Rounded Corners 39">
              <a:extLst>
                <a:ext uri="{FF2B5EF4-FFF2-40B4-BE49-F238E27FC236}">
                  <a16:creationId xmlns:a16="http://schemas.microsoft.com/office/drawing/2014/main" id="{3CD61D20-4EBB-F7CA-BA11-68D24C4ED1E1}"/>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4" name="TextBox 53">
              <a:extLst>
                <a:ext uri="{FF2B5EF4-FFF2-40B4-BE49-F238E27FC236}">
                  <a16:creationId xmlns:a16="http://schemas.microsoft.com/office/drawing/2014/main" id="{04D02A02-B198-7EA7-D80A-4E2022EA4733}"/>
                </a:ext>
              </a:extLst>
            </p:cNvPr>
            <p:cNvSpPr txBox="1"/>
            <p:nvPr/>
          </p:nvSpPr>
          <p:spPr>
            <a:xfrm>
              <a:off x="9639076" y="2588705"/>
              <a:ext cx="1849624" cy="635293"/>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Training Content Writer</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55" name="TextBox 54">
              <a:extLst>
                <a:ext uri="{FF2B5EF4-FFF2-40B4-BE49-F238E27FC236}">
                  <a16:creationId xmlns:a16="http://schemas.microsoft.com/office/drawing/2014/main" id="{78D0F597-F8AA-A85B-391F-1F77397B9030}"/>
                </a:ext>
              </a:extLst>
            </p:cNvPr>
            <p:cNvSpPr txBox="1"/>
            <p:nvPr/>
          </p:nvSpPr>
          <p:spPr>
            <a:xfrm>
              <a:off x="9489967" y="3858022"/>
              <a:ext cx="2170234" cy="47646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000000"/>
                  </a:solidFill>
                  <a:latin typeface="Segoe UI"/>
                  <a:cs typeface="Segoe UI"/>
                </a:rPr>
                <a:t>E</a:t>
              </a:r>
              <a:r>
                <a:rPr kumimoji="0" lang="en-GB" sz="1200" b="0" i="0" u="none" strike="noStrike" kern="1200" cap="none" spc="0" normalizeH="0" baseline="0" noProof="0" err="1">
                  <a:ln>
                    <a:noFill/>
                  </a:ln>
                  <a:solidFill>
                    <a:srgbClr val="000000"/>
                  </a:solidFill>
                  <a:effectLst/>
                  <a:uLnTx/>
                  <a:uFillTx/>
                  <a:latin typeface="Segoe UI"/>
                  <a:ea typeface="+mn-ea"/>
                  <a:cs typeface="Segoe UI"/>
                </a:rPr>
                <a:t>ffective</a:t>
              </a:r>
              <a:r>
                <a:rPr kumimoji="0" lang="en-GB" sz="1200" b="0" i="0" u="none" strike="noStrike" kern="1200" cap="none" spc="0" normalizeH="0" baseline="0" noProof="0">
                  <a:ln>
                    <a:noFill/>
                  </a:ln>
                  <a:solidFill>
                    <a:srgbClr val="000000"/>
                  </a:solidFill>
                  <a:effectLst/>
                  <a:uLnTx/>
                  <a:uFillTx/>
                  <a:latin typeface="Segoe UI"/>
                  <a:ea typeface="+mn-ea"/>
                  <a:cs typeface="Segoe UI"/>
                </a:rPr>
                <a:t> materials for corporate learning</a:t>
              </a: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p:txBody>
        </p:sp>
      </p:grpSp>
      <p:grpSp>
        <p:nvGrpSpPr>
          <p:cNvPr id="57" name="Group 56">
            <a:extLst>
              <a:ext uri="{FF2B5EF4-FFF2-40B4-BE49-F238E27FC236}">
                <a16:creationId xmlns:a16="http://schemas.microsoft.com/office/drawing/2014/main" id="{0F8FBCFC-E508-5613-888D-AA841F71E01E}"/>
              </a:ext>
            </a:extLst>
          </p:cNvPr>
          <p:cNvGrpSpPr/>
          <p:nvPr/>
        </p:nvGrpSpPr>
        <p:grpSpPr>
          <a:xfrm>
            <a:off x="8994313" y="5256595"/>
            <a:ext cx="1719793" cy="1335864"/>
            <a:chOff x="9489967" y="2620022"/>
            <a:chExt cx="2215097" cy="1723378"/>
          </a:xfrm>
        </p:grpSpPr>
        <p:sp>
          <p:nvSpPr>
            <p:cNvPr id="62" name="Rectangle: Rounded Corners 61">
              <a:extLst>
                <a:ext uri="{FF2B5EF4-FFF2-40B4-BE49-F238E27FC236}">
                  <a16:creationId xmlns:a16="http://schemas.microsoft.com/office/drawing/2014/main" id="{E42F919A-4BF3-E9BD-D41F-142566644353}"/>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 name="TextBox 72">
              <a:extLst>
                <a:ext uri="{FF2B5EF4-FFF2-40B4-BE49-F238E27FC236}">
                  <a16:creationId xmlns:a16="http://schemas.microsoft.com/office/drawing/2014/main" id="{2B5BBE5E-52DC-1492-8559-89C4557FE204}"/>
                </a:ext>
              </a:extLst>
            </p:cNvPr>
            <p:cNvSpPr txBox="1"/>
            <p:nvPr/>
          </p:nvSpPr>
          <p:spPr>
            <a:xfrm>
              <a:off x="9524429" y="2620022"/>
              <a:ext cx="2180635" cy="635293"/>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Product Comparison Agent</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80" name="TextBox 79">
              <a:extLst>
                <a:ext uri="{FF2B5EF4-FFF2-40B4-BE49-F238E27FC236}">
                  <a16:creationId xmlns:a16="http://schemas.microsoft.com/office/drawing/2014/main" id="{724A98DA-A5BD-56DA-2AA1-3D621C27C542}"/>
                </a:ext>
              </a:extLst>
            </p:cNvPr>
            <p:cNvSpPr txBox="1"/>
            <p:nvPr/>
          </p:nvSpPr>
          <p:spPr>
            <a:xfrm>
              <a:off x="9489967" y="3858022"/>
              <a:ext cx="2170234" cy="47646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000000"/>
                  </a:solidFill>
                  <a:latin typeface="Segoe UI"/>
                  <a:cs typeface="Segoe UI"/>
                </a:rPr>
                <a:t>C</a:t>
              </a:r>
              <a:r>
                <a:rPr kumimoji="0" lang="en-GB" sz="1200" b="0" i="0" u="none" strike="noStrike" kern="1200" cap="none" spc="0" normalizeH="0" baseline="0" noProof="0" err="1">
                  <a:ln>
                    <a:noFill/>
                  </a:ln>
                  <a:solidFill>
                    <a:srgbClr val="000000"/>
                  </a:solidFill>
                  <a:effectLst/>
                  <a:uLnTx/>
                  <a:uFillTx/>
                  <a:latin typeface="Segoe UI"/>
                  <a:ea typeface="+mn-ea"/>
                  <a:cs typeface="Segoe UI"/>
                </a:rPr>
                <a:t>ompare</a:t>
              </a:r>
              <a:r>
                <a:rPr kumimoji="0" lang="en-GB" sz="1200" b="0" i="0" u="none" strike="noStrike" kern="1200" cap="none" spc="0" normalizeH="0" baseline="0" noProof="0">
                  <a:ln>
                    <a:noFill/>
                  </a:ln>
                  <a:solidFill>
                    <a:srgbClr val="000000"/>
                  </a:solidFill>
                  <a:effectLst/>
                  <a:uLnTx/>
                  <a:uFillTx/>
                  <a:latin typeface="Segoe UI"/>
                  <a:ea typeface="+mn-ea"/>
                  <a:cs typeface="Segoe UI"/>
                </a:rPr>
                <a:t> product features.</a:t>
              </a: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p:txBody>
        </p:sp>
      </p:grpSp>
      <p:pic>
        <p:nvPicPr>
          <p:cNvPr id="85" name="Picture 84">
            <a:extLst>
              <a:ext uri="{FF2B5EF4-FFF2-40B4-BE49-F238E27FC236}">
                <a16:creationId xmlns:a16="http://schemas.microsoft.com/office/drawing/2014/main" id="{061A2554-A9FC-F97F-F48D-8DA7956AFEA5}"/>
              </a:ext>
            </a:extLst>
          </p:cNvPr>
          <p:cNvPicPr>
            <a:picLocks noChangeAspect="1"/>
          </p:cNvPicPr>
          <p:nvPr/>
        </p:nvPicPr>
        <p:blipFill>
          <a:blip r:embed="rId6">
            <a:clrChange>
              <a:clrFrom>
                <a:srgbClr val="1E1E1E"/>
              </a:clrFrom>
              <a:clrTo>
                <a:srgbClr val="1E1E1E">
                  <a:alpha val="0"/>
                </a:srgbClr>
              </a:clrTo>
            </a:clrChange>
          </a:blip>
          <a:stretch>
            <a:fillRect/>
          </a:stretch>
        </p:blipFill>
        <p:spPr>
          <a:xfrm>
            <a:off x="3244355" y="2790910"/>
            <a:ext cx="479341" cy="485819"/>
          </a:xfrm>
          <a:prstGeom prst="rect">
            <a:avLst/>
          </a:prstGeom>
        </p:spPr>
      </p:pic>
      <p:pic>
        <p:nvPicPr>
          <p:cNvPr id="87" name="Picture 86">
            <a:extLst>
              <a:ext uri="{FF2B5EF4-FFF2-40B4-BE49-F238E27FC236}">
                <a16:creationId xmlns:a16="http://schemas.microsoft.com/office/drawing/2014/main" id="{F1C9A41B-2D25-3797-36C6-CB0CBE837BE9}"/>
              </a:ext>
            </a:extLst>
          </p:cNvPr>
          <p:cNvPicPr>
            <a:picLocks noChangeAspect="1"/>
          </p:cNvPicPr>
          <p:nvPr/>
        </p:nvPicPr>
        <p:blipFill>
          <a:blip r:embed="rId7">
            <a:clrChange>
              <a:clrFrom>
                <a:srgbClr val="1E1E1E"/>
              </a:clrFrom>
              <a:clrTo>
                <a:srgbClr val="1E1E1E">
                  <a:alpha val="0"/>
                </a:srgbClr>
              </a:clrTo>
            </a:clrChange>
          </a:blip>
          <a:stretch>
            <a:fillRect/>
          </a:stretch>
        </p:blipFill>
        <p:spPr>
          <a:xfrm>
            <a:off x="1111927" y="2808540"/>
            <a:ext cx="592304" cy="540347"/>
          </a:xfrm>
          <a:prstGeom prst="rect">
            <a:avLst/>
          </a:prstGeom>
        </p:spPr>
      </p:pic>
      <p:pic>
        <p:nvPicPr>
          <p:cNvPr id="89" name="Picture 88">
            <a:extLst>
              <a:ext uri="{FF2B5EF4-FFF2-40B4-BE49-F238E27FC236}">
                <a16:creationId xmlns:a16="http://schemas.microsoft.com/office/drawing/2014/main" id="{EA063618-4979-192E-8E1A-C511BB72C99A}"/>
              </a:ext>
            </a:extLst>
          </p:cNvPr>
          <p:cNvPicPr>
            <a:picLocks noChangeAspect="1"/>
          </p:cNvPicPr>
          <p:nvPr/>
        </p:nvPicPr>
        <p:blipFill>
          <a:blip r:embed="rId8">
            <a:clrChange>
              <a:clrFrom>
                <a:srgbClr val="1E1E1E"/>
              </a:clrFrom>
              <a:clrTo>
                <a:srgbClr val="1E1E1E">
                  <a:alpha val="0"/>
                </a:srgbClr>
              </a:clrTo>
            </a:clrChange>
          </a:blip>
          <a:stretch>
            <a:fillRect/>
          </a:stretch>
        </p:blipFill>
        <p:spPr>
          <a:xfrm>
            <a:off x="7413478" y="2764264"/>
            <a:ext cx="637579" cy="545724"/>
          </a:xfrm>
          <a:prstGeom prst="rect">
            <a:avLst/>
          </a:prstGeom>
        </p:spPr>
      </p:pic>
      <p:pic>
        <p:nvPicPr>
          <p:cNvPr id="93" name="Picture 92">
            <a:extLst>
              <a:ext uri="{FF2B5EF4-FFF2-40B4-BE49-F238E27FC236}">
                <a16:creationId xmlns:a16="http://schemas.microsoft.com/office/drawing/2014/main" id="{F57E0FBF-59B6-3279-80DA-ACFE8F4C3CA0}"/>
              </a:ext>
            </a:extLst>
          </p:cNvPr>
          <p:cNvPicPr>
            <a:picLocks noChangeAspect="1"/>
          </p:cNvPicPr>
          <p:nvPr/>
        </p:nvPicPr>
        <p:blipFill>
          <a:blip r:embed="rId9">
            <a:clrChange>
              <a:clrFrom>
                <a:srgbClr val="1E1E1E"/>
              </a:clrFrom>
              <a:clrTo>
                <a:srgbClr val="1E1E1E">
                  <a:alpha val="0"/>
                </a:srgbClr>
              </a:clrTo>
            </a:clrChange>
          </a:blip>
          <a:stretch>
            <a:fillRect/>
          </a:stretch>
        </p:blipFill>
        <p:spPr>
          <a:xfrm>
            <a:off x="1111927" y="4135323"/>
            <a:ext cx="598674" cy="581889"/>
          </a:xfrm>
          <a:prstGeom prst="rect">
            <a:avLst/>
          </a:prstGeom>
        </p:spPr>
      </p:pic>
      <p:pic>
        <p:nvPicPr>
          <p:cNvPr id="95" name="Picture 94">
            <a:extLst>
              <a:ext uri="{FF2B5EF4-FFF2-40B4-BE49-F238E27FC236}">
                <a16:creationId xmlns:a16="http://schemas.microsoft.com/office/drawing/2014/main" id="{488E78EA-4DCF-2688-2EB2-4A4F02021F9F}"/>
              </a:ext>
            </a:extLst>
          </p:cNvPr>
          <p:cNvPicPr>
            <a:picLocks noChangeAspect="1"/>
          </p:cNvPicPr>
          <p:nvPr/>
        </p:nvPicPr>
        <p:blipFill>
          <a:blip r:embed="rId10">
            <a:clrChange>
              <a:clrFrom>
                <a:srgbClr val="1E1E1E"/>
              </a:clrFrom>
              <a:clrTo>
                <a:srgbClr val="1E1E1E">
                  <a:alpha val="0"/>
                </a:srgbClr>
              </a:clrTo>
            </a:clrChange>
          </a:blip>
          <a:stretch>
            <a:fillRect/>
          </a:stretch>
        </p:blipFill>
        <p:spPr>
          <a:xfrm>
            <a:off x="3221620" y="4183454"/>
            <a:ext cx="542786" cy="542786"/>
          </a:xfrm>
          <a:prstGeom prst="rect">
            <a:avLst/>
          </a:prstGeom>
        </p:spPr>
      </p:pic>
      <p:pic>
        <p:nvPicPr>
          <p:cNvPr id="97" name="Picture 96">
            <a:extLst>
              <a:ext uri="{FF2B5EF4-FFF2-40B4-BE49-F238E27FC236}">
                <a16:creationId xmlns:a16="http://schemas.microsoft.com/office/drawing/2014/main" id="{04791657-FA4B-0CBF-E5AC-F8A91BC6EF9F}"/>
              </a:ext>
            </a:extLst>
          </p:cNvPr>
          <p:cNvPicPr>
            <a:picLocks noChangeAspect="1"/>
          </p:cNvPicPr>
          <p:nvPr/>
        </p:nvPicPr>
        <p:blipFill>
          <a:blip r:embed="rId11">
            <a:clrChange>
              <a:clrFrom>
                <a:srgbClr val="1E1E1E"/>
              </a:clrFrom>
              <a:clrTo>
                <a:srgbClr val="1E1E1E">
                  <a:alpha val="0"/>
                </a:srgbClr>
              </a:clrTo>
            </a:clrChange>
          </a:blip>
          <a:stretch>
            <a:fillRect/>
          </a:stretch>
        </p:blipFill>
        <p:spPr>
          <a:xfrm>
            <a:off x="7423975" y="5661112"/>
            <a:ext cx="632871" cy="595006"/>
          </a:xfrm>
          <a:prstGeom prst="rect">
            <a:avLst/>
          </a:prstGeom>
        </p:spPr>
      </p:pic>
      <p:pic>
        <p:nvPicPr>
          <p:cNvPr id="99" name="Picture 98">
            <a:extLst>
              <a:ext uri="{FF2B5EF4-FFF2-40B4-BE49-F238E27FC236}">
                <a16:creationId xmlns:a16="http://schemas.microsoft.com/office/drawing/2014/main" id="{7D743907-A10D-1EDA-715A-8975C6849073}"/>
              </a:ext>
            </a:extLst>
          </p:cNvPr>
          <p:cNvPicPr>
            <a:picLocks noChangeAspect="1"/>
          </p:cNvPicPr>
          <p:nvPr/>
        </p:nvPicPr>
        <p:blipFill>
          <a:blip r:embed="rId12">
            <a:clrChange>
              <a:clrFrom>
                <a:srgbClr val="1E1E1E"/>
              </a:clrFrom>
              <a:clrTo>
                <a:srgbClr val="1E1E1E">
                  <a:alpha val="0"/>
                </a:srgbClr>
              </a:clrTo>
            </a:clrChange>
          </a:blip>
          <a:stretch>
            <a:fillRect/>
          </a:stretch>
        </p:blipFill>
        <p:spPr>
          <a:xfrm>
            <a:off x="9482543" y="5635041"/>
            <a:ext cx="533108" cy="564163"/>
          </a:xfrm>
          <a:prstGeom prst="rect">
            <a:avLst/>
          </a:prstGeom>
        </p:spPr>
      </p:pic>
      <p:pic>
        <p:nvPicPr>
          <p:cNvPr id="101" name="Picture 100">
            <a:extLst>
              <a:ext uri="{FF2B5EF4-FFF2-40B4-BE49-F238E27FC236}">
                <a16:creationId xmlns:a16="http://schemas.microsoft.com/office/drawing/2014/main" id="{6806504E-77A2-04F8-49DA-3C74BC3F1EE9}"/>
              </a:ext>
            </a:extLst>
          </p:cNvPr>
          <p:cNvPicPr>
            <a:picLocks noChangeAspect="1"/>
          </p:cNvPicPr>
          <p:nvPr/>
        </p:nvPicPr>
        <p:blipFill>
          <a:blip r:embed="rId13">
            <a:clrChange>
              <a:clrFrom>
                <a:srgbClr val="1E1E1E"/>
              </a:clrFrom>
              <a:clrTo>
                <a:srgbClr val="1E1E1E">
                  <a:alpha val="0"/>
                </a:srgbClr>
              </a:clrTo>
            </a:clrChange>
          </a:blip>
          <a:stretch>
            <a:fillRect/>
          </a:stretch>
        </p:blipFill>
        <p:spPr>
          <a:xfrm>
            <a:off x="3211987" y="5678464"/>
            <a:ext cx="656006" cy="592707"/>
          </a:xfrm>
          <a:prstGeom prst="rect">
            <a:avLst/>
          </a:prstGeom>
        </p:spPr>
      </p:pic>
      <p:pic>
        <p:nvPicPr>
          <p:cNvPr id="103" name="Picture 102">
            <a:extLst>
              <a:ext uri="{FF2B5EF4-FFF2-40B4-BE49-F238E27FC236}">
                <a16:creationId xmlns:a16="http://schemas.microsoft.com/office/drawing/2014/main" id="{AF47FE27-B25B-E0CC-FDFB-2867DF17740C}"/>
              </a:ext>
            </a:extLst>
          </p:cNvPr>
          <p:cNvPicPr>
            <a:picLocks noChangeAspect="1"/>
          </p:cNvPicPr>
          <p:nvPr/>
        </p:nvPicPr>
        <p:blipFill>
          <a:blip r:embed="rId14">
            <a:clrChange>
              <a:clrFrom>
                <a:srgbClr val="1E1E1E"/>
              </a:clrFrom>
              <a:clrTo>
                <a:srgbClr val="1E1E1E">
                  <a:alpha val="0"/>
                </a:srgbClr>
              </a:clrTo>
            </a:clrChange>
          </a:blip>
          <a:stretch>
            <a:fillRect/>
          </a:stretch>
        </p:blipFill>
        <p:spPr>
          <a:xfrm>
            <a:off x="9438367" y="2738144"/>
            <a:ext cx="761339" cy="666172"/>
          </a:xfrm>
          <a:prstGeom prst="rect">
            <a:avLst/>
          </a:prstGeom>
        </p:spPr>
      </p:pic>
      <p:pic>
        <p:nvPicPr>
          <p:cNvPr id="105" name="Picture 104">
            <a:extLst>
              <a:ext uri="{FF2B5EF4-FFF2-40B4-BE49-F238E27FC236}">
                <a16:creationId xmlns:a16="http://schemas.microsoft.com/office/drawing/2014/main" id="{27574075-C4DE-58D8-F088-B9779C2E1991}"/>
              </a:ext>
            </a:extLst>
          </p:cNvPr>
          <p:cNvPicPr>
            <a:picLocks noChangeAspect="1"/>
          </p:cNvPicPr>
          <p:nvPr/>
        </p:nvPicPr>
        <p:blipFill>
          <a:blip r:embed="rId15">
            <a:clrChange>
              <a:clrFrom>
                <a:srgbClr val="1E1E1E"/>
              </a:clrFrom>
              <a:clrTo>
                <a:srgbClr val="1E1E1E">
                  <a:alpha val="0"/>
                </a:srgbClr>
              </a:clrTo>
            </a:clrChange>
          </a:blip>
          <a:stretch>
            <a:fillRect/>
          </a:stretch>
        </p:blipFill>
        <p:spPr>
          <a:xfrm>
            <a:off x="1075593" y="5576572"/>
            <a:ext cx="599952" cy="641125"/>
          </a:xfrm>
          <a:prstGeom prst="rect">
            <a:avLst/>
          </a:prstGeom>
        </p:spPr>
      </p:pic>
      <p:pic>
        <p:nvPicPr>
          <p:cNvPr id="107" name="Picture 106">
            <a:extLst>
              <a:ext uri="{FF2B5EF4-FFF2-40B4-BE49-F238E27FC236}">
                <a16:creationId xmlns:a16="http://schemas.microsoft.com/office/drawing/2014/main" id="{76500203-06FE-1006-B3CB-0829175411FE}"/>
              </a:ext>
            </a:extLst>
          </p:cNvPr>
          <p:cNvPicPr>
            <a:picLocks noChangeAspect="1"/>
          </p:cNvPicPr>
          <p:nvPr/>
        </p:nvPicPr>
        <p:blipFill>
          <a:blip r:embed="rId16">
            <a:clrChange>
              <a:clrFrom>
                <a:srgbClr val="1E1E1E"/>
              </a:clrFrom>
              <a:clrTo>
                <a:srgbClr val="1E1E1E">
                  <a:alpha val="0"/>
                </a:srgbClr>
              </a:clrTo>
            </a:clrChange>
          </a:blip>
          <a:stretch>
            <a:fillRect/>
          </a:stretch>
        </p:blipFill>
        <p:spPr>
          <a:xfrm>
            <a:off x="5232917" y="4147737"/>
            <a:ext cx="771188" cy="713827"/>
          </a:xfrm>
          <a:prstGeom prst="rect">
            <a:avLst/>
          </a:prstGeom>
        </p:spPr>
      </p:pic>
      <p:pic>
        <p:nvPicPr>
          <p:cNvPr id="109" name="Picture 108">
            <a:extLst>
              <a:ext uri="{FF2B5EF4-FFF2-40B4-BE49-F238E27FC236}">
                <a16:creationId xmlns:a16="http://schemas.microsoft.com/office/drawing/2014/main" id="{A3ACE3B2-CD3E-5C3B-CB5F-A5E438C0B71A}"/>
              </a:ext>
            </a:extLst>
          </p:cNvPr>
          <p:cNvPicPr>
            <a:picLocks noChangeAspect="1"/>
          </p:cNvPicPr>
          <p:nvPr/>
        </p:nvPicPr>
        <p:blipFill>
          <a:blip r:embed="rId17">
            <a:clrChange>
              <a:clrFrom>
                <a:srgbClr val="1E1E1E"/>
              </a:clrFrom>
              <a:clrTo>
                <a:srgbClr val="1E1E1E">
                  <a:alpha val="0"/>
                </a:srgbClr>
              </a:clrTo>
            </a:clrChange>
          </a:blip>
          <a:stretch>
            <a:fillRect/>
          </a:stretch>
        </p:blipFill>
        <p:spPr>
          <a:xfrm>
            <a:off x="5402674" y="5699633"/>
            <a:ext cx="540352" cy="522426"/>
          </a:xfrm>
          <a:prstGeom prst="rect">
            <a:avLst/>
          </a:prstGeom>
        </p:spPr>
      </p:pic>
      <p:pic>
        <p:nvPicPr>
          <p:cNvPr id="111" name="Picture 110">
            <a:extLst>
              <a:ext uri="{FF2B5EF4-FFF2-40B4-BE49-F238E27FC236}">
                <a16:creationId xmlns:a16="http://schemas.microsoft.com/office/drawing/2014/main" id="{A48A5BA3-6430-99CB-FA80-0DD04345B602}"/>
              </a:ext>
            </a:extLst>
          </p:cNvPr>
          <p:cNvPicPr>
            <a:picLocks noChangeAspect="1"/>
          </p:cNvPicPr>
          <p:nvPr/>
        </p:nvPicPr>
        <p:blipFill>
          <a:blip r:embed="rId18">
            <a:clrChange>
              <a:clrFrom>
                <a:srgbClr val="1E1E1E"/>
              </a:clrFrom>
              <a:clrTo>
                <a:srgbClr val="1E1E1E">
                  <a:alpha val="0"/>
                </a:srgbClr>
              </a:clrTo>
            </a:clrChange>
          </a:blip>
          <a:stretch>
            <a:fillRect/>
          </a:stretch>
        </p:blipFill>
        <p:spPr>
          <a:xfrm>
            <a:off x="7423976" y="4166364"/>
            <a:ext cx="643406" cy="676572"/>
          </a:xfrm>
          <a:prstGeom prst="rect">
            <a:avLst/>
          </a:prstGeom>
        </p:spPr>
      </p:pic>
      <p:sp>
        <p:nvSpPr>
          <p:cNvPr id="112" name="TextBox 111">
            <a:extLst>
              <a:ext uri="{FF2B5EF4-FFF2-40B4-BE49-F238E27FC236}">
                <a16:creationId xmlns:a16="http://schemas.microsoft.com/office/drawing/2014/main" id="{D78F9AA8-0522-F0C8-01FB-159985905D51}"/>
              </a:ext>
            </a:extLst>
          </p:cNvPr>
          <p:cNvSpPr txBox="1"/>
          <p:nvPr/>
        </p:nvSpPr>
        <p:spPr>
          <a:xfrm>
            <a:off x="527431" y="6649264"/>
            <a:ext cx="1124266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a:ln>
                  <a:noFill/>
                </a:ln>
                <a:solidFill>
                  <a:srgbClr val="091F2C"/>
                </a:solidFill>
                <a:effectLst/>
                <a:uLnTx/>
                <a:uFillTx/>
                <a:latin typeface="Segoe Sans Display"/>
                <a:ea typeface="+mn-ea"/>
                <a:cs typeface="+mn-cs"/>
              </a:rPr>
              <a:t>1</a:t>
            </a:r>
            <a:r>
              <a:rPr kumimoji="0" lang="en-US" sz="1100" b="0" i="0" u="none" strike="noStrike" kern="1200" cap="none" spc="0" normalizeH="0" baseline="0" noProof="0">
                <a:ln>
                  <a:noFill/>
                </a:ln>
                <a:solidFill>
                  <a:srgbClr val="091F2C"/>
                </a:solidFill>
                <a:effectLst/>
                <a:uLnTx/>
                <a:uFillTx/>
                <a:latin typeface="Segoe Sans Display"/>
                <a:ea typeface="+mn-ea"/>
                <a:cs typeface="+mn-cs"/>
              </a:rPr>
              <a:t>Agent creation is only available if your organization admin has enabled this capability.</a:t>
            </a:r>
          </a:p>
        </p:txBody>
      </p:sp>
      <p:pic>
        <p:nvPicPr>
          <p:cNvPr id="116" name="Picture 115">
            <a:extLst>
              <a:ext uri="{FF2B5EF4-FFF2-40B4-BE49-F238E27FC236}">
                <a16:creationId xmlns:a16="http://schemas.microsoft.com/office/drawing/2014/main" id="{72970C4A-0DBA-D091-1AB1-6ADDFEF868FB}"/>
              </a:ext>
            </a:extLst>
          </p:cNvPr>
          <p:cNvPicPr>
            <a:picLocks noChangeAspect="1"/>
          </p:cNvPicPr>
          <p:nvPr/>
        </p:nvPicPr>
        <p:blipFill>
          <a:blip r:embed="rId19"/>
          <a:stretch>
            <a:fillRect/>
          </a:stretch>
        </p:blipFill>
        <p:spPr>
          <a:xfrm>
            <a:off x="5359692" y="2743650"/>
            <a:ext cx="644413" cy="601452"/>
          </a:xfrm>
          <a:prstGeom prst="rect">
            <a:avLst/>
          </a:prstGeom>
        </p:spPr>
      </p:pic>
    </p:spTree>
    <p:extLst>
      <p:ext uri="{BB962C8B-B14F-4D97-AF65-F5344CB8AC3E}">
        <p14:creationId xmlns:p14="http://schemas.microsoft.com/office/powerpoint/2010/main" val="10428300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165EA-E4DF-D944-557F-BDE648F09A95}"/>
              </a:ext>
            </a:extLst>
          </p:cNvPr>
          <p:cNvSpPr>
            <a:spLocks noGrp="1"/>
          </p:cNvSpPr>
          <p:nvPr>
            <p:ph type="title"/>
          </p:nvPr>
        </p:nvSpPr>
        <p:spPr/>
        <p:txBody>
          <a:bodyPr/>
          <a:lstStyle/>
          <a:p>
            <a:r>
              <a:rPr lang="en-GB"/>
              <a:t>Agent Examples</a:t>
            </a:r>
          </a:p>
        </p:txBody>
      </p:sp>
      <p:pic>
        <p:nvPicPr>
          <p:cNvPr id="5" name="Picture 4">
            <a:extLst>
              <a:ext uri="{FF2B5EF4-FFF2-40B4-BE49-F238E27FC236}">
                <a16:creationId xmlns:a16="http://schemas.microsoft.com/office/drawing/2014/main" id="{3733A812-F8FC-2710-9286-D0B721604A7A}"/>
              </a:ext>
            </a:extLst>
          </p:cNvPr>
          <p:cNvPicPr>
            <a:picLocks noChangeAspect="1"/>
          </p:cNvPicPr>
          <p:nvPr/>
        </p:nvPicPr>
        <p:blipFill>
          <a:blip r:embed="rId2"/>
          <a:stretch>
            <a:fillRect/>
          </a:stretch>
        </p:blipFill>
        <p:spPr>
          <a:xfrm>
            <a:off x="3791965" y="0"/>
            <a:ext cx="8400035" cy="6858000"/>
          </a:xfrm>
          <a:prstGeom prst="rect">
            <a:avLst/>
          </a:prstGeom>
        </p:spPr>
      </p:pic>
      <p:sp>
        <p:nvSpPr>
          <p:cNvPr id="6" name="TextBox 5">
            <a:extLst>
              <a:ext uri="{FF2B5EF4-FFF2-40B4-BE49-F238E27FC236}">
                <a16:creationId xmlns:a16="http://schemas.microsoft.com/office/drawing/2014/main" id="{47C78954-1472-AFA2-87C1-7BB4CF074537}"/>
              </a:ext>
            </a:extLst>
          </p:cNvPr>
          <p:cNvSpPr txBox="1"/>
          <p:nvPr/>
        </p:nvSpPr>
        <p:spPr>
          <a:xfrm>
            <a:off x="225380" y="2201031"/>
            <a:ext cx="3258355" cy="3385542"/>
          </a:xfrm>
          <a:prstGeom prst="rect">
            <a:avLst/>
          </a:prstGeom>
          <a:noFill/>
        </p:spPr>
        <p:txBody>
          <a:bodyPr wrap="square" lIns="0" tIns="0" rIns="0" bIns="0" rtlCol="0">
            <a:spAutoFit/>
          </a:bodyPr>
          <a:lstStyle/>
          <a:p>
            <a:pPr algn="l"/>
            <a:r>
              <a:rPr lang="en-GB" sz="2000"/>
              <a:t>Demo Video</a:t>
            </a:r>
          </a:p>
          <a:p>
            <a:pPr algn="l"/>
            <a:endParaRPr lang="en-GB" sz="2000"/>
          </a:p>
          <a:p>
            <a:pPr algn="l"/>
            <a:r>
              <a:rPr lang="en-GB" sz="2000"/>
              <a:t>Agent configuration</a:t>
            </a:r>
          </a:p>
          <a:p>
            <a:pPr algn="l"/>
            <a:endParaRPr lang="en-GB" sz="2000"/>
          </a:p>
          <a:p>
            <a:pPr algn="l"/>
            <a:r>
              <a:rPr lang="en-GB" sz="2000"/>
              <a:t>Icons</a:t>
            </a:r>
          </a:p>
          <a:p>
            <a:pPr algn="l"/>
            <a:endParaRPr lang="en-GB" sz="2000"/>
          </a:p>
          <a:p>
            <a:pPr algn="l"/>
            <a:r>
              <a:rPr lang="en-GB" sz="2000"/>
              <a:t>Build instructions </a:t>
            </a:r>
          </a:p>
          <a:p>
            <a:pPr algn="l"/>
            <a:endParaRPr lang="en-GB" sz="2000"/>
          </a:p>
          <a:p>
            <a:pPr algn="l"/>
            <a:r>
              <a:rPr lang="en-GB" sz="2000">
                <a:hlinkClick r:id="rId3"/>
              </a:rPr>
              <a:t>aka.ms/</a:t>
            </a:r>
            <a:r>
              <a:rPr lang="en-GB" sz="2000" err="1">
                <a:hlinkClick r:id="rId3"/>
              </a:rPr>
              <a:t>copilotquickstarts</a:t>
            </a:r>
            <a:r>
              <a:rPr lang="en-GB" sz="2000">
                <a:hlinkClick r:id="rId3"/>
              </a:rPr>
              <a:t> </a:t>
            </a:r>
            <a:endParaRPr lang="en-US" sz="2000">
              <a:solidFill>
                <a:srgbClr val="000000"/>
              </a:solidFill>
              <a:latin typeface="Segoe UI"/>
            </a:endParaRPr>
          </a:p>
          <a:p>
            <a:pPr lvl="0" defTabSz="914400">
              <a:defRPr/>
            </a:pPr>
            <a:endParaRPr lang="en-US" sz="2000">
              <a:solidFill>
                <a:srgbClr val="000000"/>
              </a:solidFill>
              <a:latin typeface="Segoe UI"/>
            </a:endParaRPr>
          </a:p>
          <a:p>
            <a:pPr algn="l"/>
            <a:endParaRPr lang="en-GB" sz="2000"/>
          </a:p>
        </p:txBody>
      </p:sp>
    </p:spTree>
    <p:extLst>
      <p:ext uri="{BB962C8B-B14F-4D97-AF65-F5344CB8AC3E}">
        <p14:creationId xmlns:p14="http://schemas.microsoft.com/office/powerpoint/2010/main" val="281793284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4BE0C6-DED5-DD9A-FEEB-0AB2A154CBDB}"/>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9CB135EE-1C60-F9DD-2E10-16ACE1016D8A}"/>
              </a:ext>
            </a:extLst>
          </p:cNvPr>
          <p:cNvSpPr txBox="1">
            <a:spLocks noGrp="1"/>
          </p:cNvSpPr>
          <p:nvPr>
            <p:ph type="title"/>
          </p:nvPr>
        </p:nvSpPr>
        <p:spPr>
          <a:xfrm>
            <a:off x="588263" y="494585"/>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ct val="100000"/>
              </a:lnSpc>
              <a:spcBef>
                <a:spcPct val="0"/>
              </a:spcBef>
              <a:spcAft>
                <a:spcPts val="0"/>
              </a:spcAft>
              <a:buClrTx/>
              <a:buSzTx/>
              <a:buFontTx/>
              <a:buNone/>
              <a:tabLst/>
              <a:defRPr/>
            </a:pPr>
            <a:r>
              <a:rPr lang="en-US"/>
              <a:t>C</a:t>
            </a:r>
            <a:r>
              <a:rPr lang="en-US" sz="3600"/>
              <a:t>reating agents using Agent </a:t>
            </a:r>
            <a:r>
              <a:rPr lang="en-US"/>
              <a:t>Examples</a:t>
            </a:r>
            <a:r>
              <a:rPr lang="en-US" sz="3600"/>
              <a:t> </a:t>
            </a:r>
            <a:endParaRPr kumimoji="0" lang="en-US" sz="3600" b="0" i="0" u="none" strike="noStrike" kern="1200" cap="none" spc="-50" normalizeH="0" baseline="0" noProof="0">
              <a:ln w="3175">
                <a:noFill/>
              </a:ln>
              <a:solidFill>
                <a:srgbClr val="000000"/>
              </a:solidFill>
              <a:effectLst/>
              <a:uLnTx/>
              <a:uFillTx/>
              <a:latin typeface="Segoe UI Semibold"/>
              <a:ea typeface="+mn-ea"/>
              <a:cs typeface="Segoe UI Semibold"/>
            </a:endParaRPr>
          </a:p>
        </p:txBody>
      </p:sp>
      <p:pic>
        <p:nvPicPr>
          <p:cNvPr id="4" name="Picture 3">
            <a:extLst>
              <a:ext uri="{FF2B5EF4-FFF2-40B4-BE49-F238E27FC236}">
                <a16:creationId xmlns:a16="http://schemas.microsoft.com/office/drawing/2014/main" id="{6F545880-2A0F-906F-F23B-709A3D2E0CD4}"/>
              </a:ext>
            </a:extLst>
          </p:cNvPr>
          <p:cNvPicPr>
            <a:picLocks noChangeAspect="1"/>
          </p:cNvPicPr>
          <p:nvPr/>
        </p:nvPicPr>
        <p:blipFill>
          <a:blip r:embed="rId3"/>
          <a:stretch>
            <a:fillRect/>
          </a:stretch>
        </p:blipFill>
        <p:spPr>
          <a:xfrm>
            <a:off x="0" y="1285027"/>
            <a:ext cx="12192000" cy="1532708"/>
          </a:xfrm>
          <a:prstGeom prst="rect">
            <a:avLst/>
          </a:prstGeom>
        </p:spPr>
      </p:pic>
      <p:pic>
        <p:nvPicPr>
          <p:cNvPr id="5" name="Picture 4">
            <a:extLst>
              <a:ext uri="{FF2B5EF4-FFF2-40B4-BE49-F238E27FC236}">
                <a16:creationId xmlns:a16="http://schemas.microsoft.com/office/drawing/2014/main" id="{13BBC8B1-F7C8-799C-22ED-B27160A7071F}"/>
              </a:ext>
            </a:extLst>
          </p:cNvPr>
          <p:cNvPicPr>
            <a:picLocks noChangeAspect="1"/>
          </p:cNvPicPr>
          <p:nvPr/>
        </p:nvPicPr>
        <p:blipFill>
          <a:blip r:embed="rId4"/>
          <a:stretch>
            <a:fillRect/>
          </a:stretch>
        </p:blipFill>
        <p:spPr>
          <a:xfrm>
            <a:off x="6202280" y="2716083"/>
            <a:ext cx="5775139" cy="4075743"/>
          </a:xfrm>
          <a:prstGeom prst="rect">
            <a:avLst/>
          </a:prstGeom>
        </p:spPr>
      </p:pic>
      <p:sp>
        <p:nvSpPr>
          <p:cNvPr id="7" name="TextBox 6">
            <a:extLst>
              <a:ext uri="{FF2B5EF4-FFF2-40B4-BE49-F238E27FC236}">
                <a16:creationId xmlns:a16="http://schemas.microsoft.com/office/drawing/2014/main" id="{2689F384-2C62-56BB-2316-50D6500E727E}"/>
              </a:ext>
            </a:extLst>
          </p:cNvPr>
          <p:cNvSpPr txBox="1"/>
          <p:nvPr/>
        </p:nvSpPr>
        <p:spPr>
          <a:xfrm>
            <a:off x="4436035" y="2970837"/>
            <a:ext cx="1810343" cy="1508105"/>
          </a:xfrm>
          <a:prstGeom prst="rect">
            <a:avLst/>
          </a:prstGeom>
          <a:noFill/>
        </p:spPr>
        <p:txBody>
          <a:bodyPr wrap="square" lIns="0" tIns="0" rIns="0" bIns="0" rtlCol="0">
            <a:spAutoFit/>
          </a:bodyPr>
          <a:lstStyle/>
          <a:p>
            <a:pPr algn="l"/>
            <a:r>
              <a:rPr lang="en-IN" sz="1400"/>
              <a:t>Enter:</a:t>
            </a:r>
          </a:p>
          <a:p>
            <a:pPr marL="457200" indent="-457200" algn="l">
              <a:buFont typeface="+mj-lt"/>
              <a:buAutoNum type="arabicPeriod"/>
            </a:pPr>
            <a:r>
              <a:rPr lang="en-IN" sz="1400"/>
              <a:t>Details</a:t>
            </a:r>
          </a:p>
          <a:p>
            <a:pPr marL="457200" indent="-457200" algn="l">
              <a:buFont typeface="+mj-lt"/>
              <a:buAutoNum type="arabicPeriod"/>
            </a:pPr>
            <a:r>
              <a:rPr lang="en-IN" sz="1400"/>
              <a:t>Instructions</a:t>
            </a:r>
          </a:p>
          <a:p>
            <a:pPr marL="457200" indent="-457200" algn="l">
              <a:buFont typeface="+mj-lt"/>
              <a:buAutoNum type="arabicPeriod"/>
            </a:pPr>
            <a:r>
              <a:rPr lang="en-IN" sz="1400"/>
              <a:t>Knowledge</a:t>
            </a:r>
          </a:p>
          <a:p>
            <a:pPr marL="457200" indent="-457200" algn="l">
              <a:buFont typeface="+mj-lt"/>
              <a:buAutoNum type="arabicPeriod"/>
            </a:pPr>
            <a:r>
              <a:rPr lang="en-IN" sz="1400"/>
              <a:t>Capabilities</a:t>
            </a:r>
          </a:p>
          <a:p>
            <a:pPr marL="457200" indent="-457200" algn="l">
              <a:buFont typeface="+mj-lt"/>
              <a:buAutoNum type="arabicPeriod"/>
            </a:pPr>
            <a:r>
              <a:rPr lang="en-IN" sz="1400"/>
              <a:t>Suggested Prompts</a:t>
            </a:r>
          </a:p>
        </p:txBody>
      </p:sp>
      <p:pic>
        <p:nvPicPr>
          <p:cNvPr id="8" name="Picture 7">
            <a:extLst>
              <a:ext uri="{FF2B5EF4-FFF2-40B4-BE49-F238E27FC236}">
                <a16:creationId xmlns:a16="http://schemas.microsoft.com/office/drawing/2014/main" id="{04E9EF89-A055-D107-462E-5D53270C0A1A}"/>
              </a:ext>
            </a:extLst>
          </p:cNvPr>
          <p:cNvPicPr>
            <a:picLocks noChangeAspect="1"/>
          </p:cNvPicPr>
          <p:nvPr/>
        </p:nvPicPr>
        <p:blipFill>
          <a:blip r:embed="rId5"/>
          <a:stretch>
            <a:fillRect/>
          </a:stretch>
        </p:blipFill>
        <p:spPr>
          <a:xfrm>
            <a:off x="72639" y="2869531"/>
            <a:ext cx="4148438" cy="3386889"/>
          </a:xfrm>
          <a:prstGeom prst="rect">
            <a:avLst/>
          </a:prstGeom>
        </p:spPr>
      </p:pic>
    </p:spTree>
    <p:extLst>
      <p:ext uri="{BB962C8B-B14F-4D97-AF65-F5344CB8AC3E}">
        <p14:creationId xmlns:p14="http://schemas.microsoft.com/office/powerpoint/2010/main" val="273689158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63D584-2B29-C5BA-6124-6D5CFD6137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BCB2E0-DBE4-AFFA-E7BC-66DD4AB29C02}"/>
              </a:ext>
            </a:extLst>
          </p:cNvPr>
          <p:cNvSpPr>
            <a:spLocks noGrp="1"/>
          </p:cNvSpPr>
          <p:nvPr>
            <p:ph type="title"/>
          </p:nvPr>
        </p:nvSpPr>
        <p:spPr>
          <a:xfrm>
            <a:off x="571500" y="2792795"/>
            <a:ext cx="5524500" cy="1754326"/>
          </a:xfrm>
          <a:prstGeom prst="rect">
            <a:avLst/>
          </a:prstGeom>
        </p:spPr>
        <p:txBody>
          <a:bodyPr/>
          <a:lstStyle/>
          <a:p>
            <a:r>
              <a:rPr lang="en-US" spc="0"/>
              <a:t>Agent Examples demo:- Story Telling Agent </a:t>
            </a:r>
          </a:p>
        </p:txBody>
      </p:sp>
    </p:spTree>
    <p:extLst>
      <p:ext uri="{BB962C8B-B14F-4D97-AF65-F5344CB8AC3E}">
        <p14:creationId xmlns:p14="http://schemas.microsoft.com/office/powerpoint/2010/main" val="129407004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B26776-445A-95DB-99BA-094D1B07D70B}"/>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A76DF80F-0DDF-E2BB-834B-D49418DBA0E7}"/>
              </a:ext>
            </a:extLst>
          </p:cNvPr>
          <p:cNvSpPr txBox="1">
            <a:spLocks noGrp="1"/>
          </p:cNvSpPr>
          <p:nvPr>
            <p:ph type="title"/>
          </p:nvPr>
        </p:nvSpPr>
        <p:spPr>
          <a:xfrm>
            <a:off x="588263" y="364487"/>
            <a:ext cx="1101852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en-US" sz="3200">
                <a:cs typeface="Segoe UI"/>
              </a:rPr>
              <a:t>Using agents together to enhance your workflow !</a:t>
            </a:r>
            <a:endParaRPr lang="en-US" sz="3200" b="0" i="0" u="none" strike="noStrike" kern="1200" cap="none" spc="-50" normalizeH="0" baseline="0" noProof="0">
              <a:ln w="3175">
                <a:noFill/>
              </a:ln>
              <a:solidFill>
                <a:srgbClr val="000000"/>
              </a:solidFill>
              <a:effectLst/>
              <a:uLnTx/>
              <a:uFillTx/>
              <a:latin typeface="Segoe UI Semibold"/>
              <a:cs typeface="Segoe UI"/>
            </a:endParaRPr>
          </a:p>
        </p:txBody>
      </p:sp>
      <p:grpSp>
        <p:nvGrpSpPr>
          <p:cNvPr id="45" name="Group 44">
            <a:extLst>
              <a:ext uri="{FF2B5EF4-FFF2-40B4-BE49-F238E27FC236}">
                <a16:creationId xmlns:a16="http://schemas.microsoft.com/office/drawing/2014/main" id="{06314874-9084-F9DF-A5F3-5273A73364B3}"/>
              </a:ext>
            </a:extLst>
          </p:cNvPr>
          <p:cNvGrpSpPr/>
          <p:nvPr/>
        </p:nvGrpSpPr>
        <p:grpSpPr>
          <a:xfrm>
            <a:off x="4270008" y="3455005"/>
            <a:ext cx="1675510" cy="1352047"/>
            <a:chOff x="5029590" y="2599145"/>
            <a:chExt cx="2158060" cy="1744254"/>
          </a:xfrm>
        </p:grpSpPr>
        <p:sp>
          <p:nvSpPr>
            <p:cNvPr id="10" name="Rectangle: Rounded Corners 9">
              <a:extLst>
                <a:ext uri="{FF2B5EF4-FFF2-40B4-BE49-F238E27FC236}">
                  <a16:creationId xmlns:a16="http://schemas.microsoft.com/office/drawing/2014/main" id="{0554DAF3-A36A-E543-EC51-01DE21663BD7}"/>
                </a:ext>
                <a:ext uri="{C183D7F6-B498-43B3-948B-1728B52AA6E4}">
                  <adec:decorative xmlns:adec="http://schemas.microsoft.com/office/drawing/2017/decorative" val="1"/>
                </a:ext>
              </a:extLst>
            </p:cNvPr>
            <p:cNvSpPr/>
            <p:nvPr/>
          </p:nvSpPr>
          <p:spPr bwMode="auto">
            <a:xfrm>
              <a:off x="502959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TextBox 10">
              <a:extLst>
                <a:ext uri="{FF2B5EF4-FFF2-40B4-BE49-F238E27FC236}">
                  <a16:creationId xmlns:a16="http://schemas.microsoft.com/office/drawing/2014/main" id="{E0159830-D419-92C0-43F1-3BCF574A3DF2}"/>
                </a:ext>
              </a:extLst>
            </p:cNvPr>
            <p:cNvSpPr txBox="1"/>
            <p:nvPr/>
          </p:nvSpPr>
          <p:spPr>
            <a:xfrm>
              <a:off x="5244256" y="2599145"/>
              <a:ext cx="1696175" cy="635293"/>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Storytelling Mentor</a:t>
              </a:r>
            </a:p>
          </p:txBody>
        </p:sp>
        <p:sp>
          <p:nvSpPr>
            <p:cNvPr id="12" name="TextBox 11">
              <a:extLst>
                <a:ext uri="{FF2B5EF4-FFF2-40B4-BE49-F238E27FC236}">
                  <a16:creationId xmlns:a16="http://schemas.microsoft.com/office/drawing/2014/main" id="{C4FF830E-709E-983C-742F-5A962A681679}"/>
                </a:ext>
              </a:extLst>
            </p:cNvPr>
            <p:cNvSpPr txBox="1"/>
            <p:nvPr/>
          </p:nvSpPr>
          <p:spPr>
            <a:xfrm>
              <a:off x="5166575" y="3841598"/>
              <a:ext cx="1884090" cy="476469"/>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Elevate your communication</a:t>
              </a:r>
            </a:p>
          </p:txBody>
        </p:sp>
      </p:grpSp>
      <p:grpSp>
        <p:nvGrpSpPr>
          <p:cNvPr id="42" name="Group 41">
            <a:extLst>
              <a:ext uri="{FF2B5EF4-FFF2-40B4-BE49-F238E27FC236}">
                <a16:creationId xmlns:a16="http://schemas.microsoft.com/office/drawing/2014/main" id="{B420C8C5-C462-3FEF-7DAE-8CFE4B6E681A}"/>
              </a:ext>
            </a:extLst>
          </p:cNvPr>
          <p:cNvGrpSpPr/>
          <p:nvPr/>
        </p:nvGrpSpPr>
        <p:grpSpPr>
          <a:xfrm>
            <a:off x="2367189" y="2811238"/>
            <a:ext cx="1665616" cy="1309544"/>
            <a:chOff x="557513" y="4415392"/>
            <a:chExt cx="2158060" cy="1706984"/>
          </a:xfrm>
        </p:grpSpPr>
        <p:sp>
          <p:nvSpPr>
            <p:cNvPr id="29" name="Rectangle: Rounded Corners 28">
              <a:extLst>
                <a:ext uri="{FF2B5EF4-FFF2-40B4-BE49-F238E27FC236}">
                  <a16:creationId xmlns:a16="http://schemas.microsoft.com/office/drawing/2014/main" id="{34BEAB79-73CF-2175-3F1C-9EF710ACDDEA}"/>
                </a:ext>
                <a:ext uri="{C183D7F6-B498-43B3-948B-1728B52AA6E4}">
                  <adec:decorative xmlns:adec="http://schemas.microsoft.com/office/drawing/2017/decorative" val="1"/>
                </a:ext>
              </a:extLst>
            </p:cNvPr>
            <p:cNvSpPr/>
            <p:nvPr/>
          </p:nvSpPr>
          <p:spPr bwMode="auto">
            <a:xfrm>
              <a:off x="557513" y="4415392"/>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 name="TextBox 30">
              <a:extLst>
                <a:ext uri="{FF2B5EF4-FFF2-40B4-BE49-F238E27FC236}">
                  <a16:creationId xmlns:a16="http://schemas.microsoft.com/office/drawing/2014/main" id="{B74CE632-A990-131D-6D38-FFBFADF2FDB6}"/>
                </a:ext>
              </a:extLst>
            </p:cNvPr>
            <p:cNvSpPr txBox="1"/>
            <p:nvPr/>
          </p:nvSpPr>
          <p:spPr>
            <a:xfrm>
              <a:off x="557513" y="4422471"/>
              <a:ext cx="2155386" cy="381126"/>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Product Crafter</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32" name="TextBox 31">
              <a:extLst>
                <a:ext uri="{FF2B5EF4-FFF2-40B4-BE49-F238E27FC236}">
                  <a16:creationId xmlns:a16="http://schemas.microsoft.com/office/drawing/2014/main" id="{F92889E8-B842-FC04-0B3B-2571F6EFC277}"/>
                </a:ext>
              </a:extLst>
            </p:cNvPr>
            <p:cNvSpPr txBox="1"/>
            <p:nvPr/>
          </p:nvSpPr>
          <p:spPr>
            <a:xfrm>
              <a:off x="683794" y="5626124"/>
              <a:ext cx="1957308" cy="481422"/>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Accelerate product planning</a:t>
              </a:r>
            </a:p>
          </p:txBody>
        </p:sp>
      </p:grpSp>
      <p:grpSp>
        <p:nvGrpSpPr>
          <p:cNvPr id="44" name="Group 43">
            <a:extLst>
              <a:ext uri="{FF2B5EF4-FFF2-40B4-BE49-F238E27FC236}">
                <a16:creationId xmlns:a16="http://schemas.microsoft.com/office/drawing/2014/main" id="{BA00C13E-9194-7CD9-20C6-C3E4745F5E7A}"/>
              </a:ext>
            </a:extLst>
          </p:cNvPr>
          <p:cNvGrpSpPr/>
          <p:nvPr/>
        </p:nvGrpSpPr>
        <p:grpSpPr>
          <a:xfrm>
            <a:off x="8101323" y="2776316"/>
            <a:ext cx="1670694" cy="1342531"/>
            <a:chOff x="2776832" y="4390346"/>
            <a:chExt cx="2174933" cy="1732031"/>
          </a:xfrm>
        </p:grpSpPr>
        <p:sp>
          <p:nvSpPr>
            <p:cNvPr id="28" name="Rectangle: Rounded Corners 27">
              <a:extLst>
                <a:ext uri="{FF2B5EF4-FFF2-40B4-BE49-F238E27FC236}">
                  <a16:creationId xmlns:a16="http://schemas.microsoft.com/office/drawing/2014/main" id="{76DE5356-C0F3-8410-AF2A-3157A74E3136}"/>
                </a:ext>
                <a:ext uri="{C183D7F6-B498-43B3-948B-1728B52AA6E4}">
                  <adec:decorative xmlns:adec="http://schemas.microsoft.com/office/drawing/2017/decorative" val="1"/>
                </a:ext>
              </a:extLst>
            </p:cNvPr>
            <p:cNvSpPr/>
            <p:nvPr/>
          </p:nvSpPr>
          <p:spPr bwMode="auto">
            <a:xfrm>
              <a:off x="2785269" y="4415392"/>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3" name="TextBox 32">
              <a:extLst>
                <a:ext uri="{FF2B5EF4-FFF2-40B4-BE49-F238E27FC236}">
                  <a16:creationId xmlns:a16="http://schemas.microsoft.com/office/drawing/2014/main" id="{C6381BBA-EBB9-529B-01CC-6EC584BF8FA1}"/>
                </a:ext>
              </a:extLst>
            </p:cNvPr>
            <p:cNvSpPr txBox="1"/>
            <p:nvPr/>
          </p:nvSpPr>
          <p:spPr>
            <a:xfrm>
              <a:off x="2776832" y="4390346"/>
              <a:ext cx="2174933" cy="635313"/>
            </a:xfrm>
            <a:prstGeom prst="rect">
              <a:avLst/>
            </a:prstGeom>
            <a:noFill/>
            <a:ln>
              <a:noFill/>
            </a:ln>
            <a:effectLst/>
          </p:spPr>
          <p:txBody>
            <a:bodyPr wrap="square" lIns="91440" tIns="45720" rIns="91440" bIns="45720" anchor="ctr">
              <a:spAutoFit/>
            </a:bodyPr>
            <a:lstStyle/>
            <a:p>
              <a:pPr lvl="0" algn="ctr" defTabSz="932472" fontAlgn="base">
                <a:spcBef>
                  <a:spcPct val="0"/>
                </a:spcBef>
                <a:spcAft>
                  <a:spcPct val="0"/>
                </a:spcAf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Sales Pitch Assistant</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34" name="TextBox 33">
              <a:extLst>
                <a:ext uri="{FF2B5EF4-FFF2-40B4-BE49-F238E27FC236}">
                  <a16:creationId xmlns:a16="http://schemas.microsoft.com/office/drawing/2014/main" id="{84408F5B-8C8E-8B97-1A02-DCE63D90D457}"/>
                </a:ext>
              </a:extLst>
            </p:cNvPr>
            <p:cNvSpPr txBox="1"/>
            <p:nvPr/>
          </p:nvSpPr>
          <p:spPr>
            <a:xfrm>
              <a:off x="2852559" y="5668315"/>
              <a:ext cx="2009120" cy="238242"/>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Drive sales success</a:t>
              </a:r>
            </a:p>
          </p:txBody>
        </p:sp>
      </p:grpSp>
      <p:grpSp>
        <p:nvGrpSpPr>
          <p:cNvPr id="46" name="Group 45">
            <a:extLst>
              <a:ext uri="{FF2B5EF4-FFF2-40B4-BE49-F238E27FC236}">
                <a16:creationId xmlns:a16="http://schemas.microsoft.com/office/drawing/2014/main" id="{8C3D3306-DCD6-7E16-5A8D-217434088635}"/>
              </a:ext>
            </a:extLst>
          </p:cNvPr>
          <p:cNvGrpSpPr/>
          <p:nvPr/>
        </p:nvGrpSpPr>
        <p:grpSpPr>
          <a:xfrm>
            <a:off x="4249466" y="2056891"/>
            <a:ext cx="1689100" cy="1351861"/>
            <a:chOff x="5006226" y="4366029"/>
            <a:chExt cx="2175564" cy="1756348"/>
          </a:xfrm>
        </p:grpSpPr>
        <p:sp>
          <p:nvSpPr>
            <p:cNvPr id="30" name="Rectangle: Rounded Corners 29">
              <a:extLst>
                <a:ext uri="{FF2B5EF4-FFF2-40B4-BE49-F238E27FC236}">
                  <a16:creationId xmlns:a16="http://schemas.microsoft.com/office/drawing/2014/main" id="{F96584C6-DD61-67AB-98BC-C7071D6EA330}"/>
                </a:ext>
                <a:ext uri="{C183D7F6-B498-43B3-948B-1728B52AA6E4}">
                  <adec:decorative xmlns:adec="http://schemas.microsoft.com/office/drawing/2017/decorative" val="1"/>
                </a:ext>
              </a:extLst>
            </p:cNvPr>
            <p:cNvSpPr/>
            <p:nvPr/>
          </p:nvSpPr>
          <p:spPr bwMode="auto">
            <a:xfrm>
              <a:off x="502372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TextBox 34">
              <a:extLst>
                <a:ext uri="{FF2B5EF4-FFF2-40B4-BE49-F238E27FC236}">
                  <a16:creationId xmlns:a16="http://schemas.microsoft.com/office/drawing/2014/main" id="{F1C4D321-E84A-EBD2-4D22-46819F087101}"/>
                </a:ext>
              </a:extLst>
            </p:cNvPr>
            <p:cNvSpPr txBox="1"/>
            <p:nvPr/>
          </p:nvSpPr>
          <p:spPr>
            <a:xfrm>
              <a:off x="5238395" y="4366029"/>
              <a:ext cx="1696175" cy="639786"/>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Marketing Agent</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36" name="TextBox 35">
              <a:extLst>
                <a:ext uri="{FF2B5EF4-FFF2-40B4-BE49-F238E27FC236}">
                  <a16:creationId xmlns:a16="http://schemas.microsoft.com/office/drawing/2014/main" id="{AFBC5D43-84CE-F251-18B5-164C81C80D59}"/>
                </a:ext>
              </a:extLst>
            </p:cNvPr>
            <p:cNvSpPr txBox="1"/>
            <p:nvPr/>
          </p:nvSpPr>
          <p:spPr>
            <a:xfrm>
              <a:off x="5006226" y="5699854"/>
              <a:ext cx="2175564" cy="239919"/>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Write effective content</a:t>
              </a:r>
            </a:p>
          </p:txBody>
        </p:sp>
      </p:grpSp>
      <p:grpSp>
        <p:nvGrpSpPr>
          <p:cNvPr id="50" name="Group 49">
            <a:extLst>
              <a:ext uri="{FF2B5EF4-FFF2-40B4-BE49-F238E27FC236}">
                <a16:creationId xmlns:a16="http://schemas.microsoft.com/office/drawing/2014/main" id="{E6DB99F2-4688-D31B-8D26-553EE7ABBD3D}"/>
              </a:ext>
            </a:extLst>
          </p:cNvPr>
          <p:cNvGrpSpPr/>
          <p:nvPr/>
        </p:nvGrpSpPr>
        <p:grpSpPr>
          <a:xfrm>
            <a:off x="10008748" y="2770875"/>
            <a:ext cx="1666217" cy="1343770"/>
            <a:chOff x="7262189" y="4376541"/>
            <a:chExt cx="2158060" cy="1745836"/>
          </a:xfrm>
        </p:grpSpPr>
        <p:sp>
          <p:nvSpPr>
            <p:cNvPr id="27" name="Rectangle: Rounded Corners 26">
              <a:extLst>
                <a:ext uri="{FF2B5EF4-FFF2-40B4-BE49-F238E27FC236}">
                  <a16:creationId xmlns:a16="http://schemas.microsoft.com/office/drawing/2014/main" id="{8E47F50F-D56E-7F2F-F6A7-C43267B854DE}"/>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 name="TextBox 36">
              <a:extLst>
                <a:ext uri="{FF2B5EF4-FFF2-40B4-BE49-F238E27FC236}">
                  <a16:creationId xmlns:a16="http://schemas.microsoft.com/office/drawing/2014/main" id="{5733B391-F653-F99E-1B1B-AA6E32FEFBF1}"/>
                </a:ext>
              </a:extLst>
            </p:cNvPr>
            <p:cNvSpPr txBox="1"/>
            <p:nvPr/>
          </p:nvSpPr>
          <p:spPr>
            <a:xfrm>
              <a:off x="7491481" y="4376541"/>
              <a:ext cx="1699476" cy="639786"/>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Negotiation Assistant</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38" name="TextBox 37">
              <a:extLst>
                <a:ext uri="{FF2B5EF4-FFF2-40B4-BE49-F238E27FC236}">
                  <a16:creationId xmlns:a16="http://schemas.microsoft.com/office/drawing/2014/main" id="{F2E614BB-B634-06FF-C9F7-559F7BF09CE9}"/>
                </a:ext>
              </a:extLst>
            </p:cNvPr>
            <p:cNvSpPr txBox="1"/>
            <p:nvPr/>
          </p:nvSpPr>
          <p:spPr>
            <a:xfrm>
              <a:off x="7272171" y="5668315"/>
              <a:ext cx="2129109" cy="23991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Close better deals</a:t>
              </a:r>
            </a:p>
          </p:txBody>
        </p:sp>
      </p:grpSp>
      <p:grpSp>
        <p:nvGrpSpPr>
          <p:cNvPr id="39" name="Group 38">
            <a:extLst>
              <a:ext uri="{FF2B5EF4-FFF2-40B4-BE49-F238E27FC236}">
                <a16:creationId xmlns:a16="http://schemas.microsoft.com/office/drawing/2014/main" id="{6FCEE6F8-2A22-C0FB-C4DD-E3C0F2BBEB20}"/>
              </a:ext>
            </a:extLst>
          </p:cNvPr>
          <p:cNvGrpSpPr/>
          <p:nvPr/>
        </p:nvGrpSpPr>
        <p:grpSpPr>
          <a:xfrm>
            <a:off x="6182721" y="2758707"/>
            <a:ext cx="1688352" cy="1360140"/>
            <a:chOff x="9489967" y="2588705"/>
            <a:chExt cx="2174601" cy="1754695"/>
          </a:xfrm>
        </p:grpSpPr>
        <p:sp>
          <p:nvSpPr>
            <p:cNvPr id="40" name="Rectangle: Rounded Corners 39">
              <a:extLst>
                <a:ext uri="{FF2B5EF4-FFF2-40B4-BE49-F238E27FC236}">
                  <a16:creationId xmlns:a16="http://schemas.microsoft.com/office/drawing/2014/main" id="{0BD1B9C1-1136-6C04-3AE0-D42081DE278B}"/>
                </a:ext>
                <a:ext uri="{C183D7F6-B498-43B3-948B-1728B52AA6E4}">
                  <adec:decorative xmlns:adec="http://schemas.microsoft.com/office/drawing/2017/decorative" val="1"/>
                </a:ext>
              </a:extLst>
            </p:cNvPr>
            <p:cNvSpPr>
              <a:spLocks/>
            </p:cNvSpPr>
            <p:nvPr/>
          </p:nvSpPr>
          <p:spPr bwMode="auto">
            <a:xfrm>
              <a:off x="9506508"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4" name="TextBox 53">
              <a:extLst>
                <a:ext uri="{FF2B5EF4-FFF2-40B4-BE49-F238E27FC236}">
                  <a16:creationId xmlns:a16="http://schemas.microsoft.com/office/drawing/2014/main" id="{DBF9AD5E-E1F2-B03E-7978-BDBE96E3CDDB}"/>
                </a:ext>
              </a:extLst>
            </p:cNvPr>
            <p:cNvSpPr txBox="1"/>
            <p:nvPr/>
          </p:nvSpPr>
          <p:spPr>
            <a:xfrm>
              <a:off x="9639076" y="2588705"/>
              <a:ext cx="1849624" cy="635293"/>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Training Content Writer</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55" name="TextBox 54">
              <a:extLst>
                <a:ext uri="{FF2B5EF4-FFF2-40B4-BE49-F238E27FC236}">
                  <a16:creationId xmlns:a16="http://schemas.microsoft.com/office/drawing/2014/main" id="{CF1212A5-DD19-4E76-6C9E-8953F9DA40A1}"/>
                </a:ext>
              </a:extLst>
            </p:cNvPr>
            <p:cNvSpPr txBox="1"/>
            <p:nvPr/>
          </p:nvSpPr>
          <p:spPr>
            <a:xfrm>
              <a:off x="9489967" y="3931098"/>
              <a:ext cx="2170233" cy="238235"/>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Segoe UI"/>
                  <a:ea typeface="+mn-ea"/>
                  <a:cs typeface="Segoe UI"/>
                </a:rPr>
                <a:t> Materials for learning</a:t>
              </a: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p:txBody>
        </p:sp>
      </p:grpSp>
      <p:grpSp>
        <p:nvGrpSpPr>
          <p:cNvPr id="57" name="Group 56">
            <a:extLst>
              <a:ext uri="{FF2B5EF4-FFF2-40B4-BE49-F238E27FC236}">
                <a16:creationId xmlns:a16="http://schemas.microsoft.com/office/drawing/2014/main" id="{A1E9BA55-A8C9-769A-0413-01AB02F3D48F}"/>
              </a:ext>
            </a:extLst>
          </p:cNvPr>
          <p:cNvGrpSpPr/>
          <p:nvPr/>
        </p:nvGrpSpPr>
        <p:grpSpPr>
          <a:xfrm>
            <a:off x="469161" y="2795151"/>
            <a:ext cx="1719793" cy="1335864"/>
            <a:chOff x="9489967" y="2620022"/>
            <a:chExt cx="2215097" cy="1723378"/>
          </a:xfrm>
        </p:grpSpPr>
        <p:sp>
          <p:nvSpPr>
            <p:cNvPr id="62" name="Rectangle: Rounded Corners 61">
              <a:extLst>
                <a:ext uri="{FF2B5EF4-FFF2-40B4-BE49-F238E27FC236}">
                  <a16:creationId xmlns:a16="http://schemas.microsoft.com/office/drawing/2014/main" id="{AEC4B9AC-5FE3-8C93-963E-776A705BCDBE}"/>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 name="TextBox 72">
              <a:extLst>
                <a:ext uri="{FF2B5EF4-FFF2-40B4-BE49-F238E27FC236}">
                  <a16:creationId xmlns:a16="http://schemas.microsoft.com/office/drawing/2014/main" id="{0FC73834-C0E9-9697-1BBF-00E502F57697}"/>
                </a:ext>
              </a:extLst>
            </p:cNvPr>
            <p:cNvSpPr txBox="1"/>
            <p:nvPr/>
          </p:nvSpPr>
          <p:spPr>
            <a:xfrm>
              <a:off x="9524429" y="2620022"/>
              <a:ext cx="2180635" cy="635293"/>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rgbClr val="0078D4"/>
                  </a:solidFill>
                  <a:effectLst/>
                  <a:uLnTx/>
                  <a:uFillTx/>
                  <a:latin typeface="Segoe UI Semibold"/>
                  <a:ea typeface="+mn-ea"/>
                  <a:cs typeface="Segoe UI"/>
                </a:rPr>
                <a:t>Product Comparison Agent</a:t>
              </a:r>
              <a:endParaRPr lang="en-US" sz="1300" b="0" i="0" u="none" strike="noStrike" kern="1200" cap="none" spc="0" normalizeH="0" baseline="0" noProof="0">
                <a:ln>
                  <a:noFill/>
                </a:ln>
                <a:solidFill>
                  <a:srgbClr val="0078D4"/>
                </a:solidFill>
                <a:effectLst/>
                <a:uLnTx/>
                <a:uFillTx/>
                <a:latin typeface="Segoe UI Semibold"/>
                <a:cs typeface="Segoe UI"/>
              </a:endParaRPr>
            </a:p>
          </p:txBody>
        </p:sp>
        <p:sp>
          <p:nvSpPr>
            <p:cNvPr id="80" name="TextBox 79">
              <a:extLst>
                <a:ext uri="{FF2B5EF4-FFF2-40B4-BE49-F238E27FC236}">
                  <a16:creationId xmlns:a16="http://schemas.microsoft.com/office/drawing/2014/main" id="{1EB6E5A8-CDEF-E217-1FF5-EACF229D3316}"/>
                </a:ext>
              </a:extLst>
            </p:cNvPr>
            <p:cNvSpPr txBox="1"/>
            <p:nvPr/>
          </p:nvSpPr>
          <p:spPr>
            <a:xfrm>
              <a:off x="9489967" y="3858022"/>
              <a:ext cx="2170235" cy="476470"/>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000000"/>
                  </a:solidFill>
                  <a:latin typeface="Segoe UI"/>
                  <a:cs typeface="Segoe UI"/>
                </a:rPr>
                <a:t>C</a:t>
              </a:r>
              <a:r>
                <a:rPr kumimoji="0" lang="en-GB" sz="1200" b="0" i="0" u="none" strike="noStrike" kern="1200" cap="none" spc="0" normalizeH="0" baseline="0" noProof="0" err="1">
                  <a:ln>
                    <a:noFill/>
                  </a:ln>
                  <a:solidFill>
                    <a:srgbClr val="000000"/>
                  </a:solidFill>
                  <a:effectLst/>
                  <a:uLnTx/>
                  <a:uFillTx/>
                  <a:latin typeface="Segoe UI"/>
                  <a:ea typeface="+mn-ea"/>
                  <a:cs typeface="Segoe UI"/>
                </a:rPr>
                <a:t>ompare</a:t>
              </a:r>
              <a:r>
                <a:rPr kumimoji="0" lang="en-GB" sz="1200" b="0" i="0" u="none" strike="noStrike" kern="1200" cap="none" spc="0" normalizeH="0" baseline="0" noProof="0">
                  <a:ln>
                    <a:noFill/>
                  </a:ln>
                  <a:solidFill>
                    <a:srgbClr val="000000"/>
                  </a:solidFill>
                  <a:effectLst/>
                  <a:uLnTx/>
                  <a:uFillTx/>
                  <a:latin typeface="Segoe UI"/>
                  <a:ea typeface="+mn-ea"/>
                  <a:cs typeface="Segoe UI"/>
                </a:rPr>
                <a:t> product features.</a:t>
              </a: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p:txBody>
        </p:sp>
      </p:grpSp>
      <p:pic>
        <p:nvPicPr>
          <p:cNvPr id="85" name="Picture 84">
            <a:extLst>
              <a:ext uri="{FF2B5EF4-FFF2-40B4-BE49-F238E27FC236}">
                <a16:creationId xmlns:a16="http://schemas.microsoft.com/office/drawing/2014/main" id="{A6D95AD4-5DE2-027F-5F01-35D4743A4431}"/>
              </a:ext>
            </a:extLst>
          </p:cNvPr>
          <p:cNvPicPr>
            <a:picLocks noChangeAspect="1"/>
          </p:cNvPicPr>
          <p:nvPr/>
        </p:nvPicPr>
        <p:blipFill>
          <a:blip r:embed="rId3">
            <a:clrChange>
              <a:clrFrom>
                <a:srgbClr val="1E1E1E"/>
              </a:clrFrom>
              <a:clrTo>
                <a:srgbClr val="1E1E1E">
                  <a:alpha val="0"/>
                </a:srgbClr>
              </a:clrTo>
            </a:clrChange>
          </a:blip>
          <a:stretch>
            <a:fillRect/>
          </a:stretch>
        </p:blipFill>
        <p:spPr>
          <a:xfrm>
            <a:off x="8678678" y="3224439"/>
            <a:ext cx="479341" cy="485819"/>
          </a:xfrm>
          <a:prstGeom prst="rect">
            <a:avLst/>
          </a:prstGeom>
        </p:spPr>
      </p:pic>
      <p:pic>
        <p:nvPicPr>
          <p:cNvPr id="93" name="Picture 92">
            <a:extLst>
              <a:ext uri="{FF2B5EF4-FFF2-40B4-BE49-F238E27FC236}">
                <a16:creationId xmlns:a16="http://schemas.microsoft.com/office/drawing/2014/main" id="{0D5A0EBB-8D5A-F269-BA89-99647B95189B}"/>
              </a:ext>
            </a:extLst>
          </p:cNvPr>
          <p:cNvPicPr>
            <a:picLocks noChangeAspect="1"/>
          </p:cNvPicPr>
          <p:nvPr/>
        </p:nvPicPr>
        <p:blipFill>
          <a:blip r:embed="rId4">
            <a:clrChange>
              <a:clrFrom>
                <a:srgbClr val="1E1E1E"/>
              </a:clrFrom>
              <a:clrTo>
                <a:srgbClr val="1E1E1E">
                  <a:alpha val="0"/>
                </a:srgbClr>
              </a:clrTo>
            </a:clrChange>
          </a:blip>
          <a:stretch>
            <a:fillRect/>
          </a:stretch>
        </p:blipFill>
        <p:spPr>
          <a:xfrm>
            <a:off x="2907616" y="3133548"/>
            <a:ext cx="598674" cy="581889"/>
          </a:xfrm>
          <a:prstGeom prst="rect">
            <a:avLst/>
          </a:prstGeom>
        </p:spPr>
      </p:pic>
      <p:pic>
        <p:nvPicPr>
          <p:cNvPr id="95" name="Picture 94">
            <a:extLst>
              <a:ext uri="{FF2B5EF4-FFF2-40B4-BE49-F238E27FC236}">
                <a16:creationId xmlns:a16="http://schemas.microsoft.com/office/drawing/2014/main" id="{0FB3314B-9046-B98C-4CCC-C0424E649977}"/>
              </a:ext>
            </a:extLst>
          </p:cNvPr>
          <p:cNvPicPr>
            <a:picLocks noChangeAspect="1"/>
          </p:cNvPicPr>
          <p:nvPr/>
        </p:nvPicPr>
        <p:blipFill>
          <a:blip r:embed="rId5">
            <a:clrChange>
              <a:clrFrom>
                <a:srgbClr val="1E1E1E"/>
              </a:clrFrom>
              <a:clrTo>
                <a:srgbClr val="1E1E1E">
                  <a:alpha val="0"/>
                </a:srgbClr>
              </a:clrTo>
            </a:clrChange>
          </a:blip>
          <a:stretch>
            <a:fillRect/>
          </a:stretch>
        </p:blipFill>
        <p:spPr>
          <a:xfrm>
            <a:off x="4824628" y="3855665"/>
            <a:ext cx="542786" cy="542786"/>
          </a:xfrm>
          <a:prstGeom prst="rect">
            <a:avLst/>
          </a:prstGeom>
        </p:spPr>
      </p:pic>
      <p:pic>
        <p:nvPicPr>
          <p:cNvPr id="97" name="Picture 96">
            <a:extLst>
              <a:ext uri="{FF2B5EF4-FFF2-40B4-BE49-F238E27FC236}">
                <a16:creationId xmlns:a16="http://schemas.microsoft.com/office/drawing/2014/main" id="{F2E3DC2F-73B5-09AA-972E-DFCAC337DC29}"/>
              </a:ext>
            </a:extLst>
          </p:cNvPr>
          <p:cNvPicPr>
            <a:picLocks noChangeAspect="1"/>
          </p:cNvPicPr>
          <p:nvPr/>
        </p:nvPicPr>
        <p:blipFill>
          <a:blip r:embed="rId6">
            <a:clrChange>
              <a:clrFrom>
                <a:srgbClr val="1E1E1E"/>
              </a:clrFrom>
              <a:clrTo>
                <a:srgbClr val="1E1E1E">
                  <a:alpha val="0"/>
                </a:srgbClr>
              </a:clrTo>
            </a:clrChange>
          </a:blip>
          <a:stretch>
            <a:fillRect/>
          </a:stretch>
        </p:blipFill>
        <p:spPr>
          <a:xfrm>
            <a:off x="6711616" y="3180451"/>
            <a:ext cx="632871" cy="595006"/>
          </a:xfrm>
          <a:prstGeom prst="rect">
            <a:avLst/>
          </a:prstGeom>
        </p:spPr>
      </p:pic>
      <p:pic>
        <p:nvPicPr>
          <p:cNvPr id="99" name="Picture 98">
            <a:extLst>
              <a:ext uri="{FF2B5EF4-FFF2-40B4-BE49-F238E27FC236}">
                <a16:creationId xmlns:a16="http://schemas.microsoft.com/office/drawing/2014/main" id="{1881C3D4-8005-DE9B-B651-B9C77769EB59}"/>
              </a:ext>
            </a:extLst>
          </p:cNvPr>
          <p:cNvPicPr>
            <a:picLocks noChangeAspect="1"/>
          </p:cNvPicPr>
          <p:nvPr/>
        </p:nvPicPr>
        <p:blipFill>
          <a:blip r:embed="rId7">
            <a:clrChange>
              <a:clrFrom>
                <a:srgbClr val="1E1E1E"/>
              </a:clrFrom>
              <a:clrTo>
                <a:srgbClr val="1E1E1E">
                  <a:alpha val="0"/>
                </a:srgbClr>
              </a:clrTo>
            </a:clrChange>
          </a:blip>
          <a:stretch>
            <a:fillRect/>
          </a:stretch>
        </p:blipFill>
        <p:spPr>
          <a:xfrm>
            <a:off x="957391" y="3189781"/>
            <a:ext cx="533108" cy="564163"/>
          </a:xfrm>
          <a:prstGeom prst="rect">
            <a:avLst/>
          </a:prstGeom>
        </p:spPr>
      </p:pic>
      <p:pic>
        <p:nvPicPr>
          <p:cNvPr id="101" name="Picture 100">
            <a:extLst>
              <a:ext uri="{FF2B5EF4-FFF2-40B4-BE49-F238E27FC236}">
                <a16:creationId xmlns:a16="http://schemas.microsoft.com/office/drawing/2014/main" id="{452ED136-7AE3-03F0-B347-F5C29ED86F7B}"/>
              </a:ext>
            </a:extLst>
          </p:cNvPr>
          <p:cNvPicPr>
            <a:picLocks noChangeAspect="1"/>
          </p:cNvPicPr>
          <p:nvPr/>
        </p:nvPicPr>
        <p:blipFill>
          <a:blip r:embed="rId8">
            <a:clrChange>
              <a:clrFrom>
                <a:srgbClr val="1E1E1E"/>
              </a:clrFrom>
              <a:clrTo>
                <a:srgbClr val="1E1E1E">
                  <a:alpha val="0"/>
                </a:srgbClr>
              </a:clrTo>
            </a:clrChange>
          </a:blip>
          <a:stretch>
            <a:fillRect/>
          </a:stretch>
        </p:blipFill>
        <p:spPr>
          <a:xfrm>
            <a:off x="4795688" y="2487705"/>
            <a:ext cx="656006" cy="592707"/>
          </a:xfrm>
          <a:prstGeom prst="rect">
            <a:avLst/>
          </a:prstGeom>
        </p:spPr>
      </p:pic>
      <p:pic>
        <p:nvPicPr>
          <p:cNvPr id="107" name="Picture 106">
            <a:extLst>
              <a:ext uri="{FF2B5EF4-FFF2-40B4-BE49-F238E27FC236}">
                <a16:creationId xmlns:a16="http://schemas.microsoft.com/office/drawing/2014/main" id="{4A5580A2-ED5E-86C0-170A-D0EC92CFB5C4}"/>
              </a:ext>
            </a:extLst>
          </p:cNvPr>
          <p:cNvPicPr>
            <a:picLocks noChangeAspect="1"/>
          </p:cNvPicPr>
          <p:nvPr/>
        </p:nvPicPr>
        <p:blipFill>
          <a:blip r:embed="rId9">
            <a:clrChange>
              <a:clrFrom>
                <a:srgbClr val="1E1E1E"/>
              </a:clrFrom>
              <a:clrTo>
                <a:srgbClr val="1E1E1E">
                  <a:alpha val="0"/>
                </a:srgbClr>
              </a:clrTo>
            </a:clrChange>
          </a:blip>
          <a:stretch>
            <a:fillRect/>
          </a:stretch>
        </p:blipFill>
        <p:spPr>
          <a:xfrm>
            <a:off x="10441065" y="3129955"/>
            <a:ext cx="771188" cy="713827"/>
          </a:xfrm>
          <a:prstGeom prst="rect">
            <a:avLst/>
          </a:prstGeom>
        </p:spPr>
      </p:pic>
      <p:sp>
        <p:nvSpPr>
          <p:cNvPr id="112" name="TextBox 111">
            <a:extLst>
              <a:ext uri="{FF2B5EF4-FFF2-40B4-BE49-F238E27FC236}">
                <a16:creationId xmlns:a16="http://schemas.microsoft.com/office/drawing/2014/main" id="{C2DB688B-4BF8-D55E-D58C-239D8C22F071}"/>
              </a:ext>
            </a:extLst>
          </p:cNvPr>
          <p:cNvSpPr txBox="1"/>
          <p:nvPr/>
        </p:nvSpPr>
        <p:spPr>
          <a:xfrm>
            <a:off x="527431" y="6649264"/>
            <a:ext cx="1124266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a:ln>
                  <a:noFill/>
                </a:ln>
                <a:solidFill>
                  <a:srgbClr val="091F2C"/>
                </a:solidFill>
                <a:effectLst/>
                <a:uLnTx/>
                <a:uFillTx/>
                <a:latin typeface="Segoe Sans Display"/>
                <a:ea typeface="+mn-ea"/>
                <a:cs typeface="+mn-cs"/>
              </a:rPr>
              <a:t>1</a:t>
            </a:r>
            <a:r>
              <a:rPr kumimoji="0" lang="en-US" sz="1100" b="0" i="0" u="none" strike="noStrike" kern="1200" cap="none" spc="0" normalizeH="0" baseline="0" noProof="0">
                <a:ln>
                  <a:noFill/>
                </a:ln>
                <a:solidFill>
                  <a:srgbClr val="091F2C"/>
                </a:solidFill>
                <a:effectLst/>
                <a:uLnTx/>
                <a:uFillTx/>
                <a:latin typeface="Segoe Sans Display"/>
                <a:ea typeface="+mn-ea"/>
                <a:cs typeface="+mn-cs"/>
              </a:rPr>
              <a:t>Agent creation is only available if your organization admin has enabled this capability.</a:t>
            </a:r>
          </a:p>
        </p:txBody>
      </p:sp>
    </p:spTree>
    <p:extLst>
      <p:ext uri="{BB962C8B-B14F-4D97-AF65-F5344CB8AC3E}">
        <p14:creationId xmlns:p14="http://schemas.microsoft.com/office/powerpoint/2010/main" val="4617972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BBF349-E496-7563-E8A3-9F04D156ED5E}"/>
              </a:ext>
            </a:extLst>
          </p:cNvPr>
          <p:cNvSpPr>
            <a:spLocks noGrp="1"/>
          </p:cNvSpPr>
          <p:nvPr>
            <p:ph type="title"/>
          </p:nvPr>
        </p:nvSpPr>
        <p:spPr/>
        <p:txBody>
          <a:bodyPr>
            <a:normAutofit fontScale="90000"/>
          </a:bodyPr>
          <a:lstStyle/>
          <a:p>
            <a:r>
              <a:rPr lang="en-US"/>
              <a:t>Microsoft 365 Agent Sharing</a:t>
            </a:r>
          </a:p>
        </p:txBody>
      </p:sp>
      <p:graphicFrame>
        <p:nvGraphicFramePr>
          <p:cNvPr id="5" name="Content Placeholder 4">
            <a:extLst>
              <a:ext uri="{FF2B5EF4-FFF2-40B4-BE49-F238E27FC236}">
                <a16:creationId xmlns:a16="http://schemas.microsoft.com/office/drawing/2014/main" id="{52975948-8884-E41D-5922-62F990AD7B80}"/>
              </a:ext>
            </a:extLst>
          </p:cNvPr>
          <p:cNvGraphicFramePr>
            <a:graphicFrameLocks noGrp="1"/>
          </p:cNvGraphicFramePr>
          <p:nvPr>
            <p:ph idx="1"/>
            <p:extLst>
              <p:ext uri="{D42A27DB-BD31-4B8C-83A1-F6EECF244321}">
                <p14:modId xmlns:p14="http://schemas.microsoft.com/office/powerpoint/2010/main" val="2444483237"/>
              </p:ext>
            </p:extLst>
          </p:nvPr>
        </p:nvGraphicFramePr>
        <p:xfrm>
          <a:off x="1977952" y="1551867"/>
          <a:ext cx="8236095" cy="3796203"/>
        </p:xfrm>
        <a:graphic>
          <a:graphicData uri="http://schemas.openxmlformats.org/drawingml/2006/table">
            <a:tbl>
              <a:tblPr firstRow="1" bandRow="1">
                <a:tableStyleId>{5C22544A-7EE6-4342-B048-85BDC9FD1C3A}</a:tableStyleId>
              </a:tblPr>
              <a:tblGrid>
                <a:gridCol w="1647219">
                  <a:extLst>
                    <a:ext uri="{9D8B030D-6E8A-4147-A177-3AD203B41FA5}">
                      <a16:colId xmlns:a16="http://schemas.microsoft.com/office/drawing/2014/main" val="1125219811"/>
                    </a:ext>
                  </a:extLst>
                </a:gridCol>
                <a:gridCol w="1647219">
                  <a:extLst>
                    <a:ext uri="{9D8B030D-6E8A-4147-A177-3AD203B41FA5}">
                      <a16:colId xmlns:a16="http://schemas.microsoft.com/office/drawing/2014/main" val="3363063403"/>
                    </a:ext>
                  </a:extLst>
                </a:gridCol>
                <a:gridCol w="1647219">
                  <a:extLst>
                    <a:ext uri="{9D8B030D-6E8A-4147-A177-3AD203B41FA5}">
                      <a16:colId xmlns:a16="http://schemas.microsoft.com/office/drawing/2014/main" val="1890905038"/>
                    </a:ext>
                  </a:extLst>
                </a:gridCol>
                <a:gridCol w="1647219">
                  <a:extLst>
                    <a:ext uri="{9D8B030D-6E8A-4147-A177-3AD203B41FA5}">
                      <a16:colId xmlns:a16="http://schemas.microsoft.com/office/drawing/2014/main" val="3328537941"/>
                    </a:ext>
                  </a:extLst>
                </a:gridCol>
                <a:gridCol w="1647219">
                  <a:extLst>
                    <a:ext uri="{9D8B030D-6E8A-4147-A177-3AD203B41FA5}">
                      <a16:colId xmlns:a16="http://schemas.microsoft.com/office/drawing/2014/main" val="3381517951"/>
                    </a:ext>
                  </a:extLst>
                </a:gridCol>
              </a:tblGrid>
              <a:tr h="358621">
                <a:tc>
                  <a:txBody>
                    <a:bodyPr/>
                    <a:lstStyle/>
                    <a:p>
                      <a:pPr algn="l" fontAlgn="b">
                        <a:buNone/>
                      </a:pPr>
                      <a:endParaRPr lang="en-US" sz="1600" b="0" i="0" u="none" strike="noStrike">
                        <a:solidFill>
                          <a:srgbClr val="000000"/>
                        </a:solidFill>
                        <a:effectLst/>
                        <a:latin typeface="Calibri" panose="020F0502020204030204" pitchFamily="34" charset="0"/>
                      </a:endParaRPr>
                    </a:p>
                  </a:txBody>
                  <a:tcPr marL="9525" marR="9525" marT="9525" marB="0" anchor="b"/>
                </a:tc>
                <a:tc gridSpan="4">
                  <a:txBody>
                    <a:bodyPr/>
                    <a:lstStyle/>
                    <a:p>
                      <a:pPr algn="ctr" fontAlgn="b">
                        <a:buNone/>
                      </a:pPr>
                      <a:r>
                        <a:rPr lang="en-US" sz="1600" b="1" i="0" u="none" strike="noStrike" baseline="0">
                          <a:solidFill>
                            <a:schemeClr val="bg1"/>
                          </a:solidFill>
                          <a:effectLst/>
                          <a:latin typeface="Calibri" panose="020F0502020204030204" pitchFamily="34" charset="0"/>
                        </a:rPr>
                        <a:t>Microsoft 365 Agent</a:t>
                      </a:r>
                    </a:p>
                  </a:txBody>
                  <a:tcPr marL="9525" marR="9525" marT="9525" marB="0" anchor="b"/>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75859840"/>
                  </a:ext>
                </a:extLst>
              </a:tr>
              <a:tr h="358621">
                <a:tc>
                  <a:txBody>
                    <a:bodyPr/>
                    <a:lstStyle/>
                    <a:p>
                      <a:pPr algn="l" fontAlgn="b">
                        <a:buNone/>
                      </a:pPr>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buNone/>
                      </a:pPr>
                      <a:r>
                        <a:rPr lang="en-US" sz="1600" b="0" i="0" u="none" strike="noStrike">
                          <a:solidFill>
                            <a:srgbClr val="366092"/>
                          </a:solidFill>
                          <a:effectLst/>
                          <a:latin typeface="Calibri" panose="020F0502020204030204" pitchFamily="34" charset="0"/>
                        </a:rPr>
                        <a:t>SharePoint</a:t>
                      </a:r>
                    </a:p>
                  </a:txBody>
                  <a:tcPr marL="9525" marR="9525" marT="9525" marB="0" anchor="b"/>
                </a:tc>
                <a:tc>
                  <a:txBody>
                    <a:bodyPr/>
                    <a:lstStyle/>
                    <a:p>
                      <a:pPr algn="ctr" fontAlgn="b">
                        <a:buNone/>
                      </a:pPr>
                      <a:r>
                        <a:rPr lang="en-US" sz="1600" b="0" i="0" u="none" strike="noStrike">
                          <a:solidFill>
                            <a:srgbClr val="366092"/>
                          </a:solidFill>
                          <a:effectLst/>
                          <a:latin typeface="Calibri" panose="020F0502020204030204" pitchFamily="34" charset="0"/>
                        </a:rPr>
                        <a:t>Agent Builder *</a:t>
                      </a:r>
                    </a:p>
                  </a:txBody>
                  <a:tcPr marL="9525" marR="9525" marT="9525" marB="0" anchor="b"/>
                </a:tc>
                <a:tc>
                  <a:txBody>
                    <a:bodyPr/>
                    <a:lstStyle/>
                    <a:p>
                      <a:pPr algn="ctr" fontAlgn="b">
                        <a:buNone/>
                      </a:pPr>
                      <a:r>
                        <a:rPr lang="en-US" sz="1600" b="0" i="0" u="none" strike="noStrike">
                          <a:solidFill>
                            <a:srgbClr val="366092"/>
                          </a:solidFill>
                          <a:effectLst/>
                          <a:latin typeface="Calibri" panose="020F0502020204030204" pitchFamily="34" charset="0"/>
                        </a:rPr>
                        <a:t>Agents Tool Kit</a:t>
                      </a:r>
                    </a:p>
                  </a:txBody>
                  <a:tcPr marL="9525" marR="9525" marT="9525" marB="0" anchor="b"/>
                </a:tc>
                <a:tc>
                  <a:txBody>
                    <a:bodyPr/>
                    <a:lstStyle/>
                    <a:p>
                      <a:pPr algn="ctr" fontAlgn="b">
                        <a:buNone/>
                      </a:pPr>
                      <a:r>
                        <a:rPr lang="en-US" sz="1600" b="0" i="0" u="none" strike="noStrike">
                          <a:solidFill>
                            <a:srgbClr val="366092"/>
                          </a:solidFill>
                          <a:effectLst/>
                          <a:latin typeface="Calibri" panose="020F0502020204030204" pitchFamily="34" charset="0"/>
                        </a:rPr>
                        <a:t>Copilot Studio</a:t>
                      </a:r>
                    </a:p>
                  </a:txBody>
                  <a:tcPr marL="9525" marR="9525" marT="9525" marB="0" anchor="b"/>
                </a:tc>
                <a:extLst>
                  <a:ext uri="{0D108BD9-81ED-4DB2-BD59-A6C34878D82A}">
                    <a16:rowId xmlns:a16="http://schemas.microsoft.com/office/drawing/2014/main" val="1246934155"/>
                  </a:ext>
                </a:extLst>
              </a:tr>
              <a:tr h="716627">
                <a:tc>
                  <a:txBody>
                    <a:bodyPr/>
                    <a:lstStyle/>
                    <a:p>
                      <a:pPr algn="l" fontAlgn="b">
                        <a:buNone/>
                      </a:pPr>
                      <a:r>
                        <a:rPr lang="en-US" sz="1600" b="0" i="0" u="none" strike="noStrike">
                          <a:solidFill>
                            <a:srgbClr val="366092"/>
                          </a:solidFill>
                          <a:effectLst/>
                          <a:latin typeface="Calibri" panose="020F0502020204030204" pitchFamily="34" charset="0"/>
                        </a:rPr>
                        <a:t>'File like permissions' link sharing</a:t>
                      </a:r>
                    </a:p>
                  </a:txBody>
                  <a:tcPr marL="9525" marR="9525" marT="9525" marB="0" anchor="b"/>
                </a:tc>
                <a:tc>
                  <a:txBody>
                    <a:bodyPr/>
                    <a:lstStyle/>
                    <a:p>
                      <a:pPr algn="ctr" fontAlgn="b">
                        <a:buNone/>
                      </a:pPr>
                      <a:r>
                        <a:rPr lang="en-US" sz="1600" b="0" i="0" u="none" strike="noStrike">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en-US" sz="1600" b="0" i="0" u="none" strike="noStrike">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en-US" sz="1600" b="0" i="0" u="none" strike="noStrike">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en-US" sz="1600" b="0" i="0" u="none" strike="noStrike">
                          <a:solidFill>
                            <a:srgbClr val="00B050"/>
                          </a:solidFill>
                          <a:effectLst/>
                          <a:latin typeface="Calibri" panose="020F0502020204030204" pitchFamily="34" charset="0"/>
                        </a:rPr>
                        <a:t>✅</a:t>
                      </a:r>
                    </a:p>
                  </a:txBody>
                  <a:tcPr marL="9525" marR="9525" marT="9525" marB="0" anchor="ctr"/>
                </a:tc>
                <a:extLst>
                  <a:ext uri="{0D108BD9-81ED-4DB2-BD59-A6C34878D82A}">
                    <a16:rowId xmlns:a16="http://schemas.microsoft.com/office/drawing/2014/main" val="3600273336"/>
                  </a:ext>
                </a:extLst>
              </a:tr>
              <a:tr h="480822">
                <a:tc>
                  <a:txBody>
                    <a:bodyPr/>
                    <a:lstStyle/>
                    <a:p>
                      <a:pPr algn="l" fontAlgn="b">
                        <a:buNone/>
                      </a:pPr>
                      <a:r>
                        <a:rPr lang="en-US" sz="1600" b="0" i="0" u="none" strike="noStrike">
                          <a:solidFill>
                            <a:srgbClr val="366092"/>
                          </a:solidFill>
                          <a:effectLst/>
                          <a:latin typeface="Calibri" panose="020F0502020204030204" pitchFamily="34" charset="0"/>
                        </a:rPr>
                        <a:t>Share and interact from Teams</a:t>
                      </a:r>
                    </a:p>
                  </a:txBody>
                  <a:tcPr marL="9525" marR="9525" marT="9525" marB="0" anchor="b"/>
                </a:tc>
                <a:tc>
                  <a:txBody>
                    <a:bodyPr/>
                    <a:lstStyle/>
                    <a:p>
                      <a:pPr algn="ctr" fontAlgn="b">
                        <a:buNone/>
                      </a:pPr>
                      <a:r>
                        <a:rPr lang="en-US" sz="1600" b="0" i="0" u="none" strike="noStrike">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en-US" sz="1600" b="0" i="0" u="none" strike="noStrike">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en-US" sz="1600" b="0" i="0" u="none" strike="noStrike">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en-US" sz="1600" b="0" i="0" u="none" strike="noStrike">
                          <a:solidFill>
                            <a:srgbClr val="FF0000"/>
                          </a:solidFill>
                          <a:effectLst/>
                          <a:latin typeface="Calibri" panose="020F0502020204030204" pitchFamily="34" charset="0"/>
                        </a:rPr>
                        <a:t>❌</a:t>
                      </a:r>
                    </a:p>
                  </a:txBody>
                  <a:tcPr marL="9525" marR="9525" marT="9525" marB="0" anchor="ctr"/>
                </a:tc>
                <a:extLst>
                  <a:ext uri="{0D108BD9-81ED-4DB2-BD59-A6C34878D82A}">
                    <a16:rowId xmlns:a16="http://schemas.microsoft.com/office/drawing/2014/main" val="442507594"/>
                  </a:ext>
                </a:extLst>
              </a:tr>
              <a:tr h="716627">
                <a:tc>
                  <a:txBody>
                    <a:bodyPr/>
                    <a:lstStyle/>
                    <a:p>
                      <a:pPr algn="l" fontAlgn="b">
                        <a:buNone/>
                      </a:pPr>
                      <a:r>
                        <a:rPr lang="en-US" sz="1600" b="0" i="0" u="none" strike="noStrike">
                          <a:solidFill>
                            <a:srgbClr val="366092"/>
                          </a:solidFill>
                          <a:effectLst/>
                          <a:latin typeface="Calibri" panose="020F0502020204030204" pitchFamily="34" charset="0"/>
                        </a:rPr>
                        <a:t>Publish to Organization with approval</a:t>
                      </a:r>
                    </a:p>
                  </a:txBody>
                  <a:tcPr marL="9525" marR="9525" marT="9525" marB="0" anchor="b"/>
                </a:tc>
                <a:tc>
                  <a:txBody>
                    <a:bodyPr/>
                    <a:lstStyle/>
                    <a:p>
                      <a:pPr algn="ctr" fontAlgn="b">
                        <a:buNone/>
                      </a:pPr>
                      <a:r>
                        <a:rPr lang="en-US" sz="1600" b="0" i="0" u="none" strike="noStrike">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en-US" sz="1600" b="0" i="0" u="none" strike="noStrike">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en-US" sz="1600" b="0" i="0" u="none" strike="noStrike">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en-US" sz="1600" b="0" i="0" u="none" strike="noStrike">
                          <a:solidFill>
                            <a:srgbClr val="00B050"/>
                          </a:solidFill>
                          <a:effectLst/>
                          <a:latin typeface="Calibri" panose="020F0502020204030204" pitchFamily="34" charset="0"/>
                        </a:rPr>
                        <a:t>✅</a:t>
                      </a:r>
                    </a:p>
                  </a:txBody>
                  <a:tcPr marL="9525" marR="9525" marT="9525" marB="0" anchor="ctr"/>
                </a:tc>
                <a:extLst>
                  <a:ext uri="{0D108BD9-81ED-4DB2-BD59-A6C34878D82A}">
                    <a16:rowId xmlns:a16="http://schemas.microsoft.com/office/drawing/2014/main" val="1902399494"/>
                  </a:ext>
                </a:extLst>
              </a:tr>
              <a:tr h="358621">
                <a:tc>
                  <a:txBody>
                    <a:bodyPr/>
                    <a:lstStyle/>
                    <a:p>
                      <a:pPr algn="l" fontAlgn="b">
                        <a:buNone/>
                      </a:pPr>
                      <a:r>
                        <a:rPr lang="en-US" sz="1600" b="0" i="0" u="none" strike="noStrike">
                          <a:solidFill>
                            <a:srgbClr val="366092"/>
                          </a:solidFill>
                          <a:effectLst/>
                          <a:latin typeface="Calibri" panose="020F0502020204030204" pitchFamily="34" charset="0"/>
                        </a:rPr>
                        <a:t>Co-authoring</a:t>
                      </a:r>
                    </a:p>
                  </a:txBody>
                  <a:tcPr marL="9525" marR="9525" marT="9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a:solidFill>
                            <a:srgbClr val="FF0000"/>
                          </a:solidFill>
                          <a:effectLst/>
                          <a:latin typeface="Calibri" panose="020F0502020204030204" pitchFamily="34" charset="0"/>
                        </a:rPr>
                        <a:t>❌</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en-US" sz="1600" b="0" i="0" u="none" strike="noStrike">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en-US" sz="1600" b="0" i="0" u="none" strike="noStrike">
                          <a:solidFill>
                            <a:srgbClr val="00B050"/>
                          </a:solidFill>
                          <a:effectLst/>
                          <a:latin typeface="Calibri" panose="020F0502020204030204" pitchFamily="34" charset="0"/>
                        </a:rPr>
                        <a:t>✅</a:t>
                      </a:r>
                    </a:p>
                  </a:txBody>
                  <a:tcPr marL="9525" marR="9525" marT="9525" marB="0" anchor="ctr"/>
                </a:tc>
                <a:extLst>
                  <a:ext uri="{0D108BD9-81ED-4DB2-BD59-A6C34878D82A}">
                    <a16:rowId xmlns:a16="http://schemas.microsoft.com/office/drawing/2014/main" val="292910586"/>
                  </a:ext>
                </a:extLst>
              </a:tr>
              <a:tr h="716627">
                <a:tc>
                  <a:txBody>
                    <a:bodyPr/>
                    <a:lstStyle/>
                    <a:p>
                      <a:pPr algn="l" fontAlgn="b">
                        <a:buNone/>
                      </a:pPr>
                      <a:r>
                        <a:rPr lang="en-US" sz="1600" b="0" i="0" u="none" strike="noStrike">
                          <a:solidFill>
                            <a:srgbClr val="366092"/>
                          </a:solidFill>
                          <a:effectLst/>
                          <a:latin typeface="Calibri" panose="020F0502020204030204" pitchFamily="34" charset="0"/>
                        </a:rPr>
                        <a:t>Export to zip file for Sideloading or approval</a:t>
                      </a:r>
                    </a:p>
                  </a:txBody>
                  <a:tcPr marL="9525" marR="9525" marT="9525" marB="0" anchor="b"/>
                </a:tc>
                <a:tc>
                  <a:txBody>
                    <a:bodyPr/>
                    <a:lstStyle/>
                    <a:p>
                      <a:pPr algn="ctr" fontAlgn="b">
                        <a:buNone/>
                      </a:pPr>
                      <a:r>
                        <a:rPr lang="en-US" sz="1600" b="0" i="0" u="none" strike="noStrike">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en-US" sz="1600" b="0" i="0" u="none" strike="noStrike">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en-US" sz="1600" b="0" i="0" u="none" strike="noStrike">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en-US" sz="1600" b="0" i="0" u="none" strike="noStrike" dirty="0">
                          <a:solidFill>
                            <a:srgbClr val="00B050"/>
                          </a:solidFill>
                          <a:effectLst/>
                          <a:latin typeface="Calibri" panose="020F0502020204030204" pitchFamily="34" charset="0"/>
                        </a:rPr>
                        <a:t>✅</a:t>
                      </a:r>
                    </a:p>
                  </a:txBody>
                  <a:tcPr marL="9525" marR="9525" marT="9525" marB="0" anchor="ctr"/>
                </a:tc>
                <a:extLst>
                  <a:ext uri="{0D108BD9-81ED-4DB2-BD59-A6C34878D82A}">
                    <a16:rowId xmlns:a16="http://schemas.microsoft.com/office/drawing/2014/main" val="2864170515"/>
                  </a:ext>
                </a:extLst>
              </a:tr>
            </a:tbl>
          </a:graphicData>
        </a:graphic>
      </p:graphicFrame>
      <p:sp>
        <p:nvSpPr>
          <p:cNvPr id="7" name="TextBox 6">
            <a:extLst>
              <a:ext uri="{FF2B5EF4-FFF2-40B4-BE49-F238E27FC236}">
                <a16:creationId xmlns:a16="http://schemas.microsoft.com/office/drawing/2014/main" id="{DB984556-5943-D57F-C061-C8F0C8FAB61E}"/>
              </a:ext>
            </a:extLst>
          </p:cNvPr>
          <p:cNvSpPr txBox="1"/>
          <p:nvPr/>
        </p:nvSpPr>
        <p:spPr>
          <a:xfrm>
            <a:off x="1182813" y="5321909"/>
            <a:ext cx="10098100" cy="646331"/>
          </a:xfrm>
          <a:prstGeom prst="rect">
            <a:avLst/>
          </a:prstGeom>
          <a:noFill/>
        </p:spPr>
        <p:txBody>
          <a:bodyPr wrap="square" lIns="91440" tIns="45720" rIns="91440" bIns="45720" anchor="t">
            <a:spAutoFit/>
          </a:bodyPr>
          <a:lstStyle/>
          <a:p>
            <a:r>
              <a:rPr lang="en-US" sz="1800" b="1" i="0" u="none" strike="noStrike">
                <a:solidFill>
                  <a:schemeClr val="bg1"/>
                </a:solidFill>
                <a:effectLst/>
                <a:latin typeface="Calibri"/>
                <a:ea typeface="Calibri"/>
                <a:cs typeface="Calibri"/>
              </a:rPr>
              <a:t>*</a:t>
            </a:r>
            <a:r>
              <a:rPr lang="en-US" sz="1800" b="0" i="0" u="none" strike="noStrike">
                <a:solidFill>
                  <a:schemeClr val="bg1"/>
                </a:solidFill>
                <a:effectLst/>
                <a:latin typeface="Segoe UI"/>
                <a:cs typeface="Segoe UI"/>
              </a:rPr>
              <a:t> </a:t>
            </a:r>
            <a:r>
              <a:rPr lang="en-US" sz="1800">
                <a:solidFill>
                  <a:schemeClr val="bg1"/>
                </a:solidFill>
                <a:latin typeface="Segoe UI"/>
                <a:cs typeface="Segoe UI"/>
              </a:rPr>
              <a:t>A</a:t>
            </a:r>
            <a:r>
              <a:rPr lang="en-US" sz="1800" b="0" i="0" u="none" strike="noStrike">
                <a:solidFill>
                  <a:schemeClr val="bg1"/>
                </a:solidFill>
                <a:effectLst/>
                <a:latin typeface="Segoe UI"/>
                <a:cs typeface="Segoe UI"/>
              </a:rPr>
              <a:t>dmins have the ability to restrict the creation of Agent Builder sharing links — limiting it to specific groups or disabling sharing across the entire organization.</a:t>
            </a:r>
            <a:r>
              <a:rPr lang="en-US" sz="1750">
                <a:solidFill>
                  <a:schemeClr val="bg1"/>
                </a:solidFill>
              </a:rPr>
              <a:t> (</a:t>
            </a:r>
            <a:r>
              <a:rPr lang="en-US" sz="1750">
                <a:solidFill>
                  <a:schemeClr val="bg1"/>
                </a:solidFill>
                <a:ea typeface="+mn-lt"/>
                <a:cs typeface="+mn-lt"/>
              </a:rPr>
              <a:t>MC1138797)</a:t>
            </a:r>
            <a:endParaRPr lang="en-US">
              <a:solidFill>
                <a:schemeClr val="bg1"/>
              </a:solidFill>
            </a:endParaRPr>
          </a:p>
        </p:txBody>
      </p:sp>
    </p:spTree>
    <p:extLst>
      <p:ext uri="{BB962C8B-B14F-4D97-AF65-F5344CB8AC3E}">
        <p14:creationId xmlns:p14="http://schemas.microsoft.com/office/powerpoint/2010/main" val="62142319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8D10B10-2C4A-F390-6EFE-3413B3ECCE11}"/>
              </a:ext>
            </a:extLst>
          </p:cNvPr>
          <p:cNvSpPr txBox="1"/>
          <p:nvPr/>
        </p:nvSpPr>
        <p:spPr>
          <a:xfrm>
            <a:off x="225508" y="1859321"/>
            <a:ext cx="11061948" cy="2240613"/>
          </a:xfrm>
          <a:prstGeom prst="rect">
            <a:avLst/>
          </a:prstGeom>
          <a:noFill/>
          <a:ln>
            <a:noFill/>
            <a:prstDash/>
          </a:ln>
          <a:effectLst/>
        </p:spPr>
        <p:txBody>
          <a:bodyPr wrap="square" lIns="0" rIns="0">
            <a:spAutoFit/>
          </a:bodyPr>
          <a:lstStyle/>
          <a:p>
            <a:pPr algn="ctr">
              <a:lnSpc>
                <a:spcPct val="90000"/>
              </a:lnSpc>
              <a:spcAft>
                <a:spcPts val="600"/>
              </a:spcAft>
            </a:pPr>
            <a:r>
              <a:rPr lang="en-US" sz="480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Next Steps</a:t>
            </a:r>
          </a:p>
          <a:p>
            <a:pPr algn="ctr">
              <a:lnSpc>
                <a:spcPct val="90000"/>
              </a:lnSpc>
              <a:spcAft>
                <a:spcPts val="600"/>
              </a:spcAft>
            </a:pPr>
            <a:r>
              <a:rPr lang="en-US" sz="480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amp; </a:t>
            </a:r>
          </a:p>
          <a:p>
            <a:pPr marL="25400" algn="ctr">
              <a:lnSpc>
                <a:spcPct val="90000"/>
              </a:lnSpc>
              <a:spcAft>
                <a:spcPts val="600"/>
              </a:spcAft>
            </a:pPr>
            <a:r>
              <a:rPr lang="en-US" sz="480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Call to Action</a:t>
            </a:r>
          </a:p>
        </p:txBody>
      </p:sp>
    </p:spTree>
    <p:extLst>
      <p:ext uri="{BB962C8B-B14F-4D97-AF65-F5344CB8AC3E}">
        <p14:creationId xmlns:p14="http://schemas.microsoft.com/office/powerpoint/2010/main" val="148056649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20CFC23-19D4-F2EF-95DE-57E32F85F22A}"/>
              </a:ext>
            </a:extLst>
          </p:cNvPr>
          <p:cNvSpPr txBox="1"/>
          <p:nvPr/>
        </p:nvSpPr>
        <p:spPr>
          <a:xfrm>
            <a:off x="1180186" y="2598003"/>
            <a:ext cx="9699956" cy="83099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91F2C"/>
                </a:solidFill>
                <a:effectLst/>
                <a:uLnTx/>
                <a:uFillTx/>
                <a:latin typeface="Segoe Sans Display"/>
                <a:ea typeface="+mn-ea"/>
                <a:cs typeface="+mn-cs"/>
              </a:rPr>
              <a:t>We’d love your input on Copilot Agent templates and examples </a:t>
            </a:r>
            <a:r>
              <a:rPr kumimoji="0" lang="en-US" sz="2400" b="0" i="0" u="none" strike="noStrike" kern="1200" cap="none" spc="0" normalizeH="0" baseline="0" noProof="0">
                <a:ln>
                  <a:noFill/>
                </a:ln>
                <a:solidFill>
                  <a:srgbClr val="091F2C"/>
                </a:solidFill>
                <a:effectLst/>
                <a:uLnTx/>
                <a:uFillTx/>
                <a:latin typeface="Segoe Sans Display"/>
                <a:ea typeface="+mn-ea"/>
                <a:cs typeface="+mn-cs"/>
                <a:hlinkClick r:id="rId2"/>
              </a:rPr>
              <a:t>here</a:t>
            </a:r>
            <a:r>
              <a:rPr kumimoji="0" lang="en-US" sz="2400" b="0" i="0" u="none" strike="noStrike" kern="1200" cap="none" spc="0" normalizeH="0" baseline="0" noProof="0">
                <a:ln>
                  <a:noFill/>
                </a:ln>
                <a:solidFill>
                  <a:srgbClr val="091F2C"/>
                </a:solidFill>
                <a:effectLst/>
                <a:uLnTx/>
                <a:uFillTx/>
                <a:latin typeface="Segoe Sans Display"/>
                <a:ea typeface="+mn-ea"/>
                <a:cs typeface="+mn-cs"/>
              </a:rPr>
              <a:t> Your feedback helps us improve and innovate!</a:t>
            </a:r>
            <a:endParaRPr kumimoji="0" lang="en-CA" sz="2400" b="0" i="0" u="none" strike="noStrike" kern="1200" cap="none" spc="0" normalizeH="0" baseline="0" noProof="0">
              <a:ln>
                <a:noFill/>
              </a:ln>
              <a:solidFill>
                <a:srgbClr val="091F2C"/>
              </a:solidFill>
              <a:effectLst/>
              <a:uLnTx/>
              <a:uFillTx/>
              <a:latin typeface="Segoe Sans Display"/>
              <a:ea typeface="+mn-ea"/>
              <a:cs typeface="+mn-cs"/>
            </a:endParaRPr>
          </a:p>
        </p:txBody>
      </p:sp>
    </p:spTree>
    <p:extLst>
      <p:ext uri="{BB962C8B-B14F-4D97-AF65-F5344CB8AC3E}">
        <p14:creationId xmlns:p14="http://schemas.microsoft.com/office/powerpoint/2010/main" val="304087810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E81A90-0EBD-64F5-FC34-B7D74C0B4EE1}"/>
            </a:ext>
          </a:extLst>
        </p:cNvPr>
        <p:cNvGrpSpPr/>
        <p:nvPr/>
      </p:nvGrpSpPr>
      <p:grpSpPr>
        <a:xfrm>
          <a:off x="0" y="0"/>
          <a:ext cx="0" cy="0"/>
          <a:chOff x="0" y="0"/>
          <a:chExt cx="0" cy="0"/>
        </a:xfrm>
      </p:grpSpPr>
      <p:pic>
        <p:nvPicPr>
          <p:cNvPr id="12" name="Picture 11" descr="A blurry image of a blue and orange sky&#10;&#10;AI-generated content may be incorrect.">
            <a:extLst>
              <a:ext uri="{FF2B5EF4-FFF2-40B4-BE49-F238E27FC236}">
                <a16:creationId xmlns:a16="http://schemas.microsoft.com/office/drawing/2014/main" id="{879953B5-B96A-E1FC-81A7-F589D39253A4}"/>
              </a:ext>
            </a:extLst>
          </p:cNvPr>
          <p:cNvPicPr>
            <a:picLocks noChangeAspect="1"/>
          </p:cNvPicPr>
          <p:nvPr/>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0" y="29685"/>
            <a:ext cx="12138167" cy="6646984"/>
          </a:xfrm>
          <a:prstGeom prst="rect">
            <a:avLst/>
          </a:prstGeom>
          <a:effectLst/>
        </p:spPr>
      </p:pic>
      <p:sp>
        <p:nvSpPr>
          <p:cNvPr id="13" name="TextBox 12">
            <a:extLst>
              <a:ext uri="{FF2B5EF4-FFF2-40B4-BE49-F238E27FC236}">
                <a16:creationId xmlns:a16="http://schemas.microsoft.com/office/drawing/2014/main" id="{37AFB55D-457A-2AC6-CE47-DD155DB9B0EC}"/>
              </a:ext>
            </a:extLst>
          </p:cNvPr>
          <p:cNvSpPr txBox="1"/>
          <p:nvPr/>
        </p:nvSpPr>
        <p:spPr>
          <a:xfrm>
            <a:off x="510639" y="748860"/>
            <a:ext cx="11109861" cy="867930"/>
          </a:xfrm>
          <a:prstGeom prst="rect">
            <a:avLst/>
          </a:prstGeom>
          <a:noFill/>
          <a:ln>
            <a:noFill/>
            <a:prstDash/>
          </a:ln>
          <a:effectLst/>
        </p:spPr>
        <p:txBody>
          <a:bodyPr wrap="square">
            <a:spAutoFit/>
          </a:bodyPr>
          <a:lstStyle/>
          <a:p>
            <a:pPr algn="ctr">
              <a:lnSpc>
                <a:spcPct val="90000"/>
              </a:lnSpc>
              <a:spcAft>
                <a:spcPts val="1800"/>
              </a:spcAft>
            </a:pPr>
            <a:r>
              <a:rPr lang="en-US"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Visit the </a:t>
            </a:r>
            <a:r>
              <a:rPr lang="en-US"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hlinkClick r:id="rId4"/>
              </a:rPr>
              <a:t>AI Agents Hub</a:t>
            </a:r>
            <a:r>
              <a:rPr lang="en-US"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 for content to help you plan for, manage, and create agents!</a:t>
            </a:r>
          </a:p>
        </p:txBody>
      </p:sp>
      <p:pic>
        <p:nvPicPr>
          <p:cNvPr id="3" name="Picture 2">
            <a:extLst>
              <a:ext uri="{FF2B5EF4-FFF2-40B4-BE49-F238E27FC236}">
                <a16:creationId xmlns:a16="http://schemas.microsoft.com/office/drawing/2014/main" id="{C96D840C-3171-9FC6-33FF-DC248A5D3FF4}"/>
              </a:ext>
            </a:extLst>
          </p:cNvPr>
          <p:cNvPicPr>
            <a:picLocks noChangeAspect="1"/>
          </p:cNvPicPr>
          <p:nvPr/>
        </p:nvPicPr>
        <p:blipFill>
          <a:blip r:embed="rId5"/>
          <a:stretch>
            <a:fillRect/>
          </a:stretch>
        </p:blipFill>
        <p:spPr>
          <a:xfrm>
            <a:off x="2960270" y="1847317"/>
            <a:ext cx="6204167" cy="4226205"/>
          </a:xfrm>
          <a:prstGeom prst="roundRect">
            <a:avLst>
              <a:gd name="adj" fmla="val 7675"/>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09764099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9A7C4A-0536-1F37-DE83-47C0C8491735}"/>
              </a:ext>
            </a:extLst>
          </p:cNvPr>
          <p:cNvSpPr>
            <a:spLocks noGrp="1"/>
          </p:cNvSpPr>
          <p:nvPr>
            <p:ph type="title" idx="4294967295"/>
          </p:nvPr>
        </p:nvSpPr>
        <p:spPr>
          <a:xfrm>
            <a:off x="-1" y="457200"/>
            <a:ext cx="12085983" cy="3840480"/>
          </a:xfrm>
        </p:spPr>
        <p:txBody>
          <a:bodyPr wrap="square">
            <a:spAutoFit/>
          </a:bodyPr>
          <a:lstStyle/>
          <a:p>
            <a:pPr algn="ctr"/>
            <a:r>
              <a:rPr lang="en-US">
                <a:solidFill>
                  <a:schemeClr val="bg1"/>
                </a:solidFill>
              </a:rPr>
              <a:t>Microsoft investments to accelerate your time to value</a:t>
            </a:r>
          </a:p>
        </p:txBody>
      </p:sp>
      <p:pic>
        <p:nvPicPr>
          <p:cNvPr id="2" name="Picture 1">
            <a:extLst>
              <a:ext uri="{FF2B5EF4-FFF2-40B4-BE49-F238E27FC236}">
                <a16:creationId xmlns:a16="http://schemas.microsoft.com/office/drawing/2014/main" id="{67915510-118A-6029-1C2F-62F893052CB6}"/>
              </a:ext>
              <a:ext uri="{C183D7F6-B498-43B3-948B-1728B52AA6E4}">
                <adec:decorative xmlns:adec="http://schemas.microsoft.com/office/drawing/2017/decorative" val="1"/>
              </a:ext>
            </a:extLst>
          </p:cNvPr>
          <p:cNvPicPr>
            <a:picLocks/>
          </p:cNvPicPr>
          <p:nvPr/>
        </p:nvPicPr>
        <p:blipFill rotWithShape="1">
          <a:blip r:embed="rId3">
            <a:alphaModFix amt="45000"/>
          </a:blip>
          <a:srcRect l="7533" t="35613" r="65955" b="15124"/>
          <a:stretch/>
        </p:blipFill>
        <p:spPr>
          <a:xfrm>
            <a:off x="587373" y="1387130"/>
            <a:ext cx="11017254" cy="4247425"/>
          </a:xfrm>
          <a:prstGeom prst="roundRect">
            <a:avLst>
              <a:gd name="adj" fmla="val 47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6" name="Rectangle: Top Corners Rounded 5">
            <a:extLst>
              <a:ext uri="{FF2B5EF4-FFF2-40B4-BE49-F238E27FC236}">
                <a16:creationId xmlns:a16="http://schemas.microsoft.com/office/drawing/2014/main" id="{C4CB7184-0299-51B1-BF69-B9A4ACF92838}"/>
              </a:ext>
              <a:ext uri="{C183D7F6-B498-43B3-948B-1728B52AA6E4}">
                <adec:decorative xmlns:adec="http://schemas.microsoft.com/office/drawing/2017/decorative" val="1"/>
              </a:ext>
            </a:extLst>
          </p:cNvPr>
          <p:cNvSpPr>
            <a:spLocks/>
          </p:cNvSpPr>
          <p:nvPr/>
        </p:nvSpPr>
        <p:spPr bwMode="auto">
          <a:xfrm>
            <a:off x="586739" y="5078265"/>
            <a:ext cx="11017254" cy="564952"/>
          </a:xfrm>
          <a:prstGeom prst="round2SameRect">
            <a:avLst>
              <a:gd name="adj1" fmla="val 0"/>
              <a:gd name="adj2" fmla="val 29391"/>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7" name="TextBox 6">
            <a:extLst>
              <a:ext uri="{FF2B5EF4-FFF2-40B4-BE49-F238E27FC236}">
                <a16:creationId xmlns:a16="http://schemas.microsoft.com/office/drawing/2014/main" id="{8E01AF9E-FF17-FC65-E60D-CDD41B7320CC}"/>
              </a:ext>
              <a:ext uri="{C183D7F6-B498-43B3-948B-1728B52AA6E4}">
                <adec:decorative xmlns:adec="http://schemas.microsoft.com/office/drawing/2017/decorative" val="1"/>
              </a:ext>
            </a:extLst>
          </p:cNvPr>
          <p:cNvSpPr txBox="1">
            <a:spLocks/>
          </p:cNvSpPr>
          <p:nvPr/>
        </p:nvSpPr>
        <p:spPr>
          <a:xfrm>
            <a:off x="724531" y="1536572"/>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3" name="TextBox 12">
            <a:extLst>
              <a:ext uri="{FF2B5EF4-FFF2-40B4-BE49-F238E27FC236}">
                <a16:creationId xmlns:a16="http://schemas.microsoft.com/office/drawing/2014/main" id="{73681691-20BB-3D4C-2F76-5868DD0BF3E0}"/>
              </a:ext>
              <a:ext uri="{C183D7F6-B498-43B3-948B-1728B52AA6E4}">
                <adec:decorative xmlns:adec="http://schemas.microsoft.com/office/drawing/2017/decorative" val="1"/>
              </a:ext>
            </a:extLst>
          </p:cNvPr>
          <p:cNvSpPr txBox="1">
            <a:spLocks/>
          </p:cNvSpPr>
          <p:nvPr/>
        </p:nvSpPr>
        <p:spPr>
          <a:xfrm>
            <a:off x="7984918" y="1536572"/>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7" name="Rectangle: Top Corners Rounded 16">
            <a:extLst>
              <a:ext uri="{FF2B5EF4-FFF2-40B4-BE49-F238E27FC236}">
                <a16:creationId xmlns:a16="http://schemas.microsoft.com/office/drawing/2014/main" id="{5D2A3FB4-7639-F59C-C966-FC8B96EED6F1}"/>
              </a:ext>
              <a:ext uri="{C183D7F6-B498-43B3-948B-1728B52AA6E4}">
                <adec:decorative xmlns:adec="http://schemas.microsoft.com/office/drawing/2017/decorative" val="1"/>
              </a:ext>
            </a:extLst>
          </p:cNvPr>
          <p:cNvSpPr/>
          <p:nvPr/>
        </p:nvSpPr>
        <p:spPr bwMode="auto">
          <a:xfrm>
            <a:off x="2094689" y="2488219"/>
            <a:ext cx="738426" cy="67806"/>
          </a:xfrm>
          <a:prstGeom prst="round2SameRect">
            <a:avLst>
              <a:gd name="adj1" fmla="val 50000"/>
              <a:gd name="adj2"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Rectangle: Top Corners Rounded 17">
            <a:extLst>
              <a:ext uri="{FF2B5EF4-FFF2-40B4-BE49-F238E27FC236}">
                <a16:creationId xmlns:a16="http://schemas.microsoft.com/office/drawing/2014/main" id="{7D4C55B4-C4BE-34D2-C7AB-1B27FE243C07}"/>
              </a:ext>
              <a:ext uri="{C183D7F6-B498-43B3-948B-1728B52AA6E4}">
                <adec:decorative xmlns:adec="http://schemas.microsoft.com/office/drawing/2017/decorative" val="1"/>
              </a:ext>
            </a:extLst>
          </p:cNvPr>
          <p:cNvSpPr>
            <a:spLocks/>
          </p:cNvSpPr>
          <p:nvPr/>
        </p:nvSpPr>
        <p:spPr bwMode="auto">
          <a:xfrm>
            <a:off x="9355076" y="2488219"/>
            <a:ext cx="738426" cy="67806"/>
          </a:xfrm>
          <a:prstGeom prst="round2SameRect">
            <a:avLst>
              <a:gd name="adj1" fmla="val 50000"/>
              <a:gd name="adj2" fmla="val 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1CA52D74-D3EF-4A3E-A379-85ADA397C946}"/>
              </a:ext>
            </a:extLst>
          </p:cNvPr>
          <p:cNvSpPr txBox="1"/>
          <p:nvPr/>
        </p:nvSpPr>
        <p:spPr>
          <a:xfrm>
            <a:off x="866365" y="2772980"/>
            <a:ext cx="3195076" cy="147732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Find Partners to help with Microsoft 365 Copilot Extensibility</a:t>
            </a:r>
            <a:br>
              <a:rPr kumimoji="0" lang="en-US" sz="2400" b="0" i="0" u="none" strike="noStrike" kern="1200" cap="none" spc="0" normalizeH="0" baseline="0" noProof="0">
                <a:ln>
                  <a:noFill/>
                </a:ln>
                <a:solidFill>
                  <a:srgbClr val="000000"/>
                </a:solidFill>
                <a:effectLst/>
                <a:uLnTx/>
                <a:uFillTx/>
                <a:latin typeface="Segoe UI"/>
                <a:ea typeface="+mn-ea"/>
                <a:cs typeface="+mn-cs"/>
              </a:rPr>
            </a:br>
            <a:r>
              <a:rPr kumimoji="0" lang="en-US" sz="2400" b="0" i="0" u="none" strike="noStrike" kern="1200" cap="none" spc="0" normalizeH="0" baseline="0" noProof="0">
                <a:ln>
                  <a:noFill/>
                </a:ln>
                <a:solidFill>
                  <a:srgbClr val="000000"/>
                </a:solidFill>
                <a:effectLst/>
                <a:uLnTx/>
                <a:uFillTx/>
                <a:latin typeface="Segoe UI"/>
                <a:ea typeface="+mn-ea"/>
                <a:cs typeface="+mn-cs"/>
              </a:rPr>
              <a:t>at the </a:t>
            </a:r>
          </a:p>
        </p:txBody>
      </p:sp>
      <p:sp>
        <p:nvSpPr>
          <p:cNvPr id="35" name="TextBox 34">
            <a:extLst>
              <a:ext uri="{FF2B5EF4-FFF2-40B4-BE49-F238E27FC236}">
                <a16:creationId xmlns:a16="http://schemas.microsoft.com/office/drawing/2014/main" id="{E0C2927B-7403-59DF-EE1E-90C5A54567BE}"/>
              </a:ext>
              <a:ext uri="{C183D7F6-B498-43B3-948B-1728B52AA6E4}">
                <adec:decorative xmlns:adec="http://schemas.microsoft.com/office/drawing/2017/decorative" val="1"/>
              </a:ext>
            </a:extLst>
          </p:cNvPr>
          <p:cNvSpPr txBox="1">
            <a:spLocks/>
          </p:cNvSpPr>
          <p:nvPr/>
        </p:nvSpPr>
        <p:spPr>
          <a:xfrm>
            <a:off x="4346016" y="1536572"/>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38" name="Rectangle: Top Corners Rounded 37">
            <a:extLst>
              <a:ext uri="{FF2B5EF4-FFF2-40B4-BE49-F238E27FC236}">
                <a16:creationId xmlns:a16="http://schemas.microsoft.com/office/drawing/2014/main" id="{9E69B886-851A-4BFC-B42B-0DB3A1083649}"/>
              </a:ext>
              <a:ext uri="{C183D7F6-B498-43B3-948B-1728B52AA6E4}">
                <adec:decorative xmlns:adec="http://schemas.microsoft.com/office/drawing/2017/decorative" val="1"/>
              </a:ext>
            </a:extLst>
          </p:cNvPr>
          <p:cNvSpPr/>
          <p:nvPr/>
        </p:nvSpPr>
        <p:spPr bwMode="auto">
          <a:xfrm>
            <a:off x="5716174" y="2488219"/>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DBD0298A-FAE0-CE7C-83BD-AD035A9707E2}"/>
              </a:ext>
            </a:extLst>
          </p:cNvPr>
          <p:cNvSpPr txBox="1"/>
          <p:nvPr/>
        </p:nvSpPr>
        <p:spPr>
          <a:xfrm>
            <a:off x="4487849" y="2772980"/>
            <a:ext cx="3195076" cy="147732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Eligible customers</a:t>
            </a:r>
            <a:br>
              <a:rPr kumimoji="0" lang="en-US" sz="2400" b="0" i="0" u="none" strike="noStrike" kern="1200" cap="none" spc="0" normalizeH="0" baseline="0" noProof="0">
                <a:ln>
                  <a:noFill/>
                </a:ln>
                <a:solidFill>
                  <a:srgbClr val="000000"/>
                </a:solidFill>
                <a:effectLst/>
                <a:uLnTx/>
                <a:uFillTx/>
                <a:latin typeface="Segoe UI"/>
                <a:ea typeface="+mn-ea"/>
                <a:cs typeface="+mn-cs"/>
              </a:rPr>
            </a:br>
            <a:r>
              <a:rPr kumimoji="0" lang="en-US" sz="2400" b="0" i="0" u="none" strike="noStrike" kern="1200" cap="none" spc="0" normalizeH="0" baseline="0" noProof="0">
                <a:ln>
                  <a:noFill/>
                </a:ln>
                <a:solidFill>
                  <a:srgbClr val="000000"/>
                </a:solidFill>
                <a:effectLst/>
                <a:uLnTx/>
                <a:uFillTx/>
                <a:latin typeface="Segoe UI"/>
                <a:ea typeface="+mn-ea"/>
                <a:cs typeface="+mn-cs"/>
              </a:rPr>
              <a:t>can request technical and deployment</a:t>
            </a:r>
            <a:br>
              <a:rPr kumimoji="0" lang="en-US" sz="2400" b="0" i="0" u="none" strike="noStrike" kern="1200" cap="none" spc="0" normalizeH="0" baseline="0" noProof="0">
                <a:ln>
                  <a:noFill/>
                </a:ln>
                <a:solidFill>
                  <a:srgbClr val="000000"/>
                </a:solidFill>
                <a:effectLst/>
                <a:uLnTx/>
                <a:uFillTx/>
                <a:latin typeface="Segoe UI"/>
                <a:ea typeface="+mn-ea"/>
                <a:cs typeface="+mn-cs"/>
              </a:rPr>
            </a:br>
            <a:r>
              <a:rPr kumimoji="0" lang="en-US" sz="2400" b="0" i="0" u="none" strike="noStrike" kern="1200" cap="none" spc="0" normalizeH="0" baseline="0" noProof="0">
                <a:ln>
                  <a:noFill/>
                </a:ln>
                <a:solidFill>
                  <a:srgbClr val="000000"/>
                </a:solidFill>
                <a:effectLst/>
                <a:uLnTx/>
                <a:uFillTx/>
                <a:latin typeface="Segoe UI"/>
                <a:ea typeface="+mn-ea"/>
                <a:cs typeface="+mn-cs"/>
              </a:rPr>
              <a:t>assistance from </a:t>
            </a:r>
          </a:p>
        </p:txBody>
      </p:sp>
      <p:sp>
        <p:nvSpPr>
          <p:cNvPr id="41" name="TextBox 40">
            <a:extLst>
              <a:ext uri="{FF2B5EF4-FFF2-40B4-BE49-F238E27FC236}">
                <a16:creationId xmlns:a16="http://schemas.microsoft.com/office/drawing/2014/main" id="{9BF808FC-1B6F-4ED3-A609-8BD36DB8C8F2}"/>
              </a:ext>
            </a:extLst>
          </p:cNvPr>
          <p:cNvSpPr txBox="1"/>
          <p:nvPr/>
        </p:nvSpPr>
        <p:spPr>
          <a:xfrm>
            <a:off x="8126751" y="2772980"/>
            <a:ext cx="3195076" cy="147732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Get started on</a:t>
            </a:r>
            <a:br>
              <a:rPr kumimoji="0" lang="en-US" sz="2400" b="0" i="0" u="none" strike="noStrike" kern="1200" cap="none" spc="0" normalizeH="0" baseline="0" noProof="0">
                <a:ln>
                  <a:noFill/>
                </a:ln>
                <a:solidFill>
                  <a:srgbClr val="000000"/>
                </a:solidFill>
                <a:effectLst/>
                <a:uLnTx/>
                <a:uFillTx/>
                <a:latin typeface="Segoe UI"/>
                <a:ea typeface="+mn-ea"/>
                <a:cs typeface="+mn-cs"/>
              </a:rPr>
            </a:br>
            <a:r>
              <a:rPr kumimoji="0" lang="en-US" sz="2400" b="0" i="0" u="none" strike="noStrike" kern="1200" cap="none" spc="0" normalizeH="0" baseline="0" noProof="0">
                <a:ln>
                  <a:noFill/>
                </a:ln>
                <a:solidFill>
                  <a:srgbClr val="000000"/>
                </a:solidFill>
                <a:effectLst/>
                <a:uLnTx/>
                <a:uFillTx/>
                <a:latin typeface="Segoe UI"/>
                <a:ea typeface="+mn-ea"/>
                <a:cs typeface="+mn-cs"/>
              </a:rPr>
              <a:t>your Copilot journey with expert-led</a:t>
            </a:r>
            <a:br>
              <a:rPr kumimoji="0" lang="en-US" sz="2400" b="0" i="0" u="none" strike="noStrike" kern="1200" cap="none" spc="0" normalizeH="0" baseline="0" noProof="0">
                <a:ln>
                  <a:noFill/>
                </a:ln>
                <a:solidFill>
                  <a:srgbClr val="000000"/>
                </a:solidFill>
                <a:effectLst/>
                <a:uLnTx/>
                <a:uFillTx/>
                <a:latin typeface="Segoe UI"/>
                <a:ea typeface="+mn-ea"/>
                <a:cs typeface="+mn-cs"/>
              </a:rPr>
            </a:br>
            <a:r>
              <a:rPr kumimoji="0" lang="en-US" sz="2400" b="0" i="0" u="none" strike="noStrike" kern="1200" cap="none" spc="0" normalizeH="0" baseline="0" noProof="0">
                <a:ln>
                  <a:noFill/>
                </a:ln>
                <a:solidFill>
                  <a:srgbClr val="000000"/>
                </a:solidFill>
                <a:effectLst/>
                <a:uLnTx/>
                <a:uFillTx/>
                <a:latin typeface="Segoe UI"/>
                <a:ea typeface="+mn-ea"/>
                <a:cs typeface="+mn-cs"/>
              </a:rPr>
              <a:t>services through </a:t>
            </a:r>
          </a:p>
        </p:txBody>
      </p:sp>
      <p:sp>
        <p:nvSpPr>
          <p:cNvPr id="42" name="Rectangle: Rounded Corners 41">
            <a:extLst>
              <a:ext uri="{FF2B5EF4-FFF2-40B4-BE49-F238E27FC236}">
                <a16:creationId xmlns:a16="http://schemas.microsoft.com/office/drawing/2014/main" id="{E254328C-50E5-EFF4-38D1-C35709195A27}"/>
              </a:ext>
            </a:extLst>
          </p:cNvPr>
          <p:cNvSpPr>
            <a:spLocks/>
          </p:cNvSpPr>
          <p:nvPr/>
        </p:nvSpPr>
        <p:spPr bwMode="auto">
          <a:xfrm>
            <a:off x="866365" y="4485138"/>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Microsoft 365 Copilot </a:t>
            </a:r>
            <a:br>
              <a:rPr kumimoji="0" lang="en-US" sz="16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br>
            <a:r>
              <a:rPr kumimoji="0" lang="en-US" sz="16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Partner Directory</a:t>
            </a:r>
            <a:endParaRPr kumimoji="0" lang="en-US" sz="16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43" name="Rectangle: Rounded Corners 42">
            <a:extLst>
              <a:ext uri="{FF2B5EF4-FFF2-40B4-BE49-F238E27FC236}">
                <a16:creationId xmlns:a16="http://schemas.microsoft.com/office/drawing/2014/main" id="{C1F0D71F-275E-62C3-C81C-9A0FDF1CCBED}"/>
              </a:ext>
            </a:extLst>
          </p:cNvPr>
          <p:cNvSpPr>
            <a:spLocks/>
          </p:cNvSpPr>
          <p:nvPr/>
        </p:nvSpPr>
        <p:spPr bwMode="auto">
          <a:xfrm>
            <a:off x="4487850" y="4485138"/>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5">
                  <a:extLst>
                    <a:ext uri="{A12FA001-AC4F-418D-AE19-62706E023703}">
                      <ahyp:hlinkClr xmlns:ahyp="http://schemas.microsoft.com/office/drawing/2018/hyperlinkcolor" val="tx"/>
                    </a:ext>
                  </a:extLst>
                </a:hlinkClick>
              </a:rPr>
              <a:t>Microsoft FastTrack</a:t>
            </a:r>
            <a:endParaRPr kumimoji="0" lang="en-US" sz="16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44" name="Rectangle: Rounded Corners 43">
            <a:extLst>
              <a:ext uri="{FF2B5EF4-FFF2-40B4-BE49-F238E27FC236}">
                <a16:creationId xmlns:a16="http://schemas.microsoft.com/office/drawing/2014/main" id="{C9F09923-D651-73EA-1851-1C29A3706FE7}"/>
              </a:ext>
            </a:extLst>
          </p:cNvPr>
          <p:cNvSpPr>
            <a:spLocks/>
          </p:cNvSpPr>
          <p:nvPr/>
        </p:nvSpPr>
        <p:spPr bwMode="auto">
          <a:xfrm>
            <a:off x="8126753" y="4485138"/>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6">
                  <a:extLst>
                    <a:ext uri="{A12FA001-AC4F-418D-AE19-62706E023703}">
                      <ahyp:hlinkClr xmlns:ahyp="http://schemas.microsoft.com/office/drawing/2018/hyperlinkcolor" val="tx"/>
                    </a:ext>
                  </a:extLst>
                </a:hlinkClick>
              </a:rPr>
              <a:t>Microsoft Unified</a:t>
            </a:r>
            <a:endParaRPr kumimoji="0" lang="en-US" sz="16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9" name="Graphic 2">
            <a:extLst>
              <a:ext uri="{FF2B5EF4-FFF2-40B4-BE49-F238E27FC236}">
                <a16:creationId xmlns:a16="http://schemas.microsoft.com/office/drawing/2014/main" id="{F1A6E0B9-1B23-69CF-89C4-ADF4FE4D6ABF}"/>
              </a:ext>
              <a:ext uri="{C183D7F6-B498-43B3-948B-1728B52AA6E4}">
                <adec:decorative xmlns:adec="http://schemas.microsoft.com/office/drawing/2017/decorative" val="1"/>
              </a:ext>
            </a:extLst>
          </p:cNvPr>
          <p:cNvSpPr/>
          <p:nvPr/>
        </p:nvSpPr>
        <p:spPr>
          <a:xfrm>
            <a:off x="2259610" y="1818920"/>
            <a:ext cx="408584" cy="510642"/>
          </a:xfrm>
          <a:custGeom>
            <a:avLst/>
            <a:gdLst>
              <a:gd name="connsiteX0" fmla="*/ 237141 w 237141"/>
              <a:gd name="connsiteY0" fmla="*/ 211124 h 296376"/>
              <a:gd name="connsiteX1" fmla="*/ 203808 w 237141"/>
              <a:gd name="connsiteY1" fmla="*/ 177791 h 296376"/>
              <a:gd name="connsiteX2" fmla="*/ 203793 w 237141"/>
              <a:gd name="connsiteY2" fmla="*/ 177791 h 296376"/>
              <a:gd name="connsiteX3" fmla="*/ 33348 w 237141"/>
              <a:gd name="connsiteY3" fmla="*/ 177791 h 296376"/>
              <a:gd name="connsiteX4" fmla="*/ 0 w 237141"/>
              <a:gd name="connsiteY4" fmla="*/ 211110 h 296376"/>
              <a:gd name="connsiteX5" fmla="*/ 0 w 237141"/>
              <a:gd name="connsiteY5" fmla="*/ 211139 h 296376"/>
              <a:gd name="connsiteX6" fmla="*/ 0 w 237141"/>
              <a:gd name="connsiteY6" fmla="*/ 224775 h 296376"/>
              <a:gd name="connsiteX7" fmla="*/ 7559 w 237141"/>
              <a:gd name="connsiteY7" fmla="*/ 248415 h 296376"/>
              <a:gd name="connsiteX8" fmla="*/ 118511 w 237141"/>
              <a:gd name="connsiteY8" fmla="*/ 296377 h 296376"/>
              <a:gd name="connsiteX9" fmla="*/ 229523 w 237141"/>
              <a:gd name="connsiteY9" fmla="*/ 248430 h 296376"/>
              <a:gd name="connsiteX10" fmla="*/ 237141 w 237141"/>
              <a:gd name="connsiteY10" fmla="*/ 224760 h 296376"/>
              <a:gd name="connsiteX11" fmla="*/ 237141 w 237141"/>
              <a:gd name="connsiteY11" fmla="*/ 211139 h 296376"/>
              <a:gd name="connsiteX12" fmla="*/ 192633 w 237141"/>
              <a:gd name="connsiteY12" fmla="*/ 74116 h 296376"/>
              <a:gd name="connsiteX13" fmla="*/ 118535 w 237141"/>
              <a:gd name="connsiteY13" fmla="*/ 0 h 296376"/>
              <a:gd name="connsiteX14" fmla="*/ 58870 w 237141"/>
              <a:gd name="connsiteY14" fmla="*/ 30141 h 296376"/>
              <a:gd name="connsiteX15" fmla="*/ 55550 w 237141"/>
              <a:gd name="connsiteY15" fmla="*/ 29622 h 296376"/>
              <a:gd name="connsiteX16" fmla="*/ 18527 w 237141"/>
              <a:gd name="connsiteY16" fmla="*/ 29622 h 296376"/>
              <a:gd name="connsiteX17" fmla="*/ 7411 w 237141"/>
              <a:gd name="connsiteY17" fmla="*/ 40738 h 296376"/>
              <a:gd name="connsiteX18" fmla="*/ 7411 w 237141"/>
              <a:gd name="connsiteY18" fmla="*/ 122226 h 296376"/>
              <a:gd name="connsiteX19" fmla="*/ 48140 w 237141"/>
              <a:gd name="connsiteY19" fmla="*/ 163014 h 296376"/>
              <a:gd name="connsiteX20" fmla="*/ 48169 w 237141"/>
              <a:gd name="connsiteY20" fmla="*/ 163014 h 296376"/>
              <a:gd name="connsiteX21" fmla="*/ 51875 w 237141"/>
              <a:gd name="connsiteY21" fmla="*/ 163014 h 296376"/>
              <a:gd name="connsiteX22" fmla="*/ 51875 w 237141"/>
              <a:gd name="connsiteY22" fmla="*/ 162955 h 296376"/>
              <a:gd name="connsiteX23" fmla="*/ 52023 w 237141"/>
              <a:gd name="connsiteY23" fmla="*/ 162955 h 296376"/>
              <a:gd name="connsiteX24" fmla="*/ 66838 w 237141"/>
              <a:gd name="connsiteY24" fmla="*/ 148187 h 296376"/>
              <a:gd name="connsiteX25" fmla="*/ 52069 w 237141"/>
              <a:gd name="connsiteY25" fmla="*/ 133372 h 296376"/>
              <a:gd name="connsiteX26" fmla="*/ 40373 w 237141"/>
              <a:gd name="connsiteY26" fmla="*/ 139078 h 296376"/>
              <a:gd name="connsiteX27" fmla="*/ 29643 w 237141"/>
              <a:gd name="connsiteY27" fmla="*/ 122241 h 296376"/>
              <a:gd name="connsiteX28" fmla="*/ 29643 w 237141"/>
              <a:gd name="connsiteY28" fmla="*/ 118550 h 296376"/>
              <a:gd name="connsiteX29" fmla="*/ 40729 w 237141"/>
              <a:gd name="connsiteY29" fmla="*/ 118550 h 296376"/>
              <a:gd name="connsiteX30" fmla="*/ 55847 w 237141"/>
              <a:gd name="connsiteY30" fmla="*/ 113689 h 296376"/>
              <a:gd name="connsiteX31" fmla="*/ 158062 w 237141"/>
              <a:gd name="connsiteY31" fmla="*/ 136832 h 296376"/>
              <a:gd name="connsiteX32" fmla="*/ 192633 w 237141"/>
              <a:gd name="connsiteY32" fmla="*/ 74116 h 296376"/>
              <a:gd name="connsiteX33" fmla="*/ 44420 w 237141"/>
              <a:gd name="connsiteY33" fmla="*/ 72545 h 296376"/>
              <a:gd name="connsiteX34" fmla="*/ 44420 w 237141"/>
              <a:gd name="connsiteY34" fmla="*/ 75687 h 296376"/>
              <a:gd name="connsiteX35" fmla="*/ 44420 w 237141"/>
              <a:gd name="connsiteY35" fmla="*/ 92598 h 296376"/>
              <a:gd name="connsiteX36" fmla="*/ 40714 w 237141"/>
              <a:gd name="connsiteY36" fmla="*/ 96304 h 296376"/>
              <a:gd name="connsiteX37" fmla="*/ 29643 w 237141"/>
              <a:gd name="connsiteY37" fmla="*/ 96304 h 296376"/>
              <a:gd name="connsiteX38" fmla="*/ 29643 w 237141"/>
              <a:gd name="connsiteY38" fmla="*/ 51869 h 296376"/>
              <a:gd name="connsiteX39" fmla="*/ 44434 w 237141"/>
              <a:gd name="connsiteY39" fmla="*/ 51869 h 296376"/>
              <a:gd name="connsiteX40" fmla="*/ 44434 w 237141"/>
              <a:gd name="connsiteY40" fmla="*/ 72545 h 29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37141" h="296376">
                <a:moveTo>
                  <a:pt x="237141" y="211124"/>
                </a:moveTo>
                <a:cubicBezTo>
                  <a:pt x="237141" y="192715"/>
                  <a:pt x="222218" y="177791"/>
                  <a:pt x="203808" y="177791"/>
                </a:cubicBezTo>
                <a:cubicBezTo>
                  <a:pt x="203804" y="177791"/>
                  <a:pt x="203798" y="177791"/>
                  <a:pt x="203793" y="177791"/>
                </a:cubicBezTo>
                <a:lnTo>
                  <a:pt x="33348" y="177791"/>
                </a:lnTo>
                <a:cubicBezTo>
                  <a:pt x="14939" y="177782"/>
                  <a:pt x="8" y="192700"/>
                  <a:pt x="0" y="211110"/>
                </a:cubicBezTo>
                <a:cubicBezTo>
                  <a:pt x="0" y="211120"/>
                  <a:pt x="0" y="211129"/>
                  <a:pt x="0" y="211139"/>
                </a:cubicBezTo>
                <a:lnTo>
                  <a:pt x="0" y="224775"/>
                </a:lnTo>
                <a:cubicBezTo>
                  <a:pt x="0" y="233238"/>
                  <a:pt x="2638" y="241508"/>
                  <a:pt x="7559" y="248415"/>
                </a:cubicBezTo>
                <a:cubicBezTo>
                  <a:pt x="30428" y="280488"/>
                  <a:pt x="67808" y="296377"/>
                  <a:pt x="118511" y="296377"/>
                </a:cubicBezTo>
                <a:cubicBezTo>
                  <a:pt x="169200" y="296377"/>
                  <a:pt x="206624" y="280503"/>
                  <a:pt x="229523" y="248430"/>
                </a:cubicBezTo>
                <a:cubicBezTo>
                  <a:pt x="234466" y="241526"/>
                  <a:pt x="237129" y="233251"/>
                  <a:pt x="237141" y="224760"/>
                </a:cubicBezTo>
                <a:lnTo>
                  <a:pt x="237141" y="211139"/>
                </a:lnTo>
                <a:close/>
                <a:moveTo>
                  <a:pt x="192633" y="74116"/>
                </a:moveTo>
                <a:cubicBezTo>
                  <a:pt x="192637" y="33188"/>
                  <a:pt x="159463" y="5"/>
                  <a:pt x="118535" y="0"/>
                </a:cubicBezTo>
                <a:cubicBezTo>
                  <a:pt x="94988" y="-3"/>
                  <a:pt x="72840" y="11185"/>
                  <a:pt x="58870" y="30141"/>
                </a:cubicBezTo>
                <a:cubicBezTo>
                  <a:pt x="57796" y="29801"/>
                  <a:pt x="56677" y="29626"/>
                  <a:pt x="55550" y="29622"/>
                </a:cubicBezTo>
                <a:lnTo>
                  <a:pt x="18527" y="29622"/>
                </a:lnTo>
                <a:cubicBezTo>
                  <a:pt x="12388" y="29622"/>
                  <a:pt x="7411" y="34599"/>
                  <a:pt x="7411" y="40738"/>
                </a:cubicBezTo>
                <a:lnTo>
                  <a:pt x="7411" y="122226"/>
                </a:lnTo>
                <a:cubicBezTo>
                  <a:pt x="7394" y="144737"/>
                  <a:pt x="25629" y="162998"/>
                  <a:pt x="48140" y="163014"/>
                </a:cubicBezTo>
                <a:cubicBezTo>
                  <a:pt x="48150" y="163014"/>
                  <a:pt x="48159" y="163014"/>
                  <a:pt x="48169" y="163014"/>
                </a:cubicBezTo>
                <a:lnTo>
                  <a:pt x="51875" y="163014"/>
                </a:lnTo>
                <a:lnTo>
                  <a:pt x="51875" y="162955"/>
                </a:lnTo>
                <a:lnTo>
                  <a:pt x="52023" y="162955"/>
                </a:lnTo>
                <a:cubicBezTo>
                  <a:pt x="60192" y="162968"/>
                  <a:pt x="66825" y="156355"/>
                  <a:pt x="66838" y="148187"/>
                </a:cubicBezTo>
                <a:cubicBezTo>
                  <a:pt x="66850" y="140018"/>
                  <a:pt x="60238" y="133385"/>
                  <a:pt x="52069" y="133372"/>
                </a:cubicBezTo>
                <a:cubicBezTo>
                  <a:pt x="47498" y="133364"/>
                  <a:pt x="43181" y="135470"/>
                  <a:pt x="40373" y="139078"/>
                </a:cubicBezTo>
                <a:cubicBezTo>
                  <a:pt x="33820" y="136038"/>
                  <a:pt x="29631" y="129465"/>
                  <a:pt x="29643" y="122241"/>
                </a:cubicBezTo>
                <a:lnTo>
                  <a:pt x="29643" y="118550"/>
                </a:lnTo>
                <a:lnTo>
                  <a:pt x="40729" y="118550"/>
                </a:lnTo>
                <a:cubicBezTo>
                  <a:pt x="46361" y="118550"/>
                  <a:pt x="51593" y="116742"/>
                  <a:pt x="55847" y="113689"/>
                </a:cubicBezTo>
                <a:cubicBezTo>
                  <a:pt x="77682" y="148306"/>
                  <a:pt x="123445" y="158667"/>
                  <a:pt x="158062" y="136832"/>
                </a:cubicBezTo>
                <a:cubicBezTo>
                  <a:pt x="179593" y="123252"/>
                  <a:pt x="192646" y="99572"/>
                  <a:pt x="192633" y="74116"/>
                </a:cubicBezTo>
                <a:close/>
                <a:moveTo>
                  <a:pt x="44420" y="72545"/>
                </a:moveTo>
                <a:cubicBezTo>
                  <a:pt x="44398" y="73592"/>
                  <a:pt x="44398" y="74640"/>
                  <a:pt x="44420" y="75687"/>
                </a:cubicBezTo>
                <a:lnTo>
                  <a:pt x="44420" y="92598"/>
                </a:lnTo>
                <a:cubicBezTo>
                  <a:pt x="44420" y="94645"/>
                  <a:pt x="42761" y="96304"/>
                  <a:pt x="40714" y="96304"/>
                </a:cubicBezTo>
                <a:lnTo>
                  <a:pt x="29643" y="96304"/>
                </a:lnTo>
                <a:lnTo>
                  <a:pt x="29643" y="51869"/>
                </a:lnTo>
                <a:lnTo>
                  <a:pt x="44434" y="51869"/>
                </a:lnTo>
                <a:lnTo>
                  <a:pt x="44434" y="7254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0" name="Graphic 5">
            <a:extLst>
              <a:ext uri="{FF2B5EF4-FFF2-40B4-BE49-F238E27FC236}">
                <a16:creationId xmlns:a16="http://schemas.microsoft.com/office/drawing/2014/main" id="{71C07B2C-5385-20FF-B78D-1D4C4C12C4B7}"/>
              </a:ext>
              <a:ext uri="{C183D7F6-B498-43B3-948B-1728B52AA6E4}">
                <adec:decorative xmlns:adec="http://schemas.microsoft.com/office/drawing/2017/decorative" val="1"/>
              </a:ext>
            </a:extLst>
          </p:cNvPr>
          <p:cNvSpPr/>
          <p:nvPr/>
        </p:nvSpPr>
        <p:spPr>
          <a:xfrm>
            <a:off x="5843385" y="1834468"/>
            <a:ext cx="484004" cy="479546"/>
          </a:xfrm>
          <a:custGeom>
            <a:avLst/>
            <a:gdLst>
              <a:gd name="connsiteX0" fmla="*/ 22232 w 308503"/>
              <a:gd name="connsiteY0" fmla="*/ 163035 h 305660"/>
              <a:gd name="connsiteX1" fmla="*/ 160204 w 308503"/>
              <a:gd name="connsiteY1" fmla="*/ 163035 h 305660"/>
              <a:gd name="connsiteX2" fmla="*/ 133392 w 308503"/>
              <a:gd name="connsiteY2" fmla="*/ 229731 h 305660"/>
              <a:gd name="connsiteX3" fmla="*/ 144345 w 308503"/>
              <a:gd name="connsiteY3" fmla="*/ 274387 h 305660"/>
              <a:gd name="connsiteX4" fmla="*/ 96339 w 308503"/>
              <a:gd name="connsiteY4" fmla="*/ 281605 h 305660"/>
              <a:gd name="connsiteX5" fmla="*/ 74 w 308503"/>
              <a:gd name="connsiteY5" fmla="*/ 218318 h 305660"/>
              <a:gd name="connsiteX6" fmla="*/ 0 w 308503"/>
              <a:gd name="connsiteY6" fmla="*/ 214909 h 305660"/>
              <a:gd name="connsiteX7" fmla="*/ 0 w 308503"/>
              <a:gd name="connsiteY7" fmla="*/ 185267 h 305660"/>
              <a:gd name="connsiteX8" fmla="*/ 20098 w 308503"/>
              <a:gd name="connsiteY8" fmla="*/ 163138 h 305660"/>
              <a:gd name="connsiteX9" fmla="*/ 22232 w 308503"/>
              <a:gd name="connsiteY9" fmla="*/ 163035 h 305660"/>
              <a:gd name="connsiteX10" fmla="*/ 281605 w 308503"/>
              <a:gd name="connsiteY10" fmla="*/ 81517 h 305660"/>
              <a:gd name="connsiteX11" fmla="*/ 229731 w 308503"/>
              <a:gd name="connsiteY11" fmla="*/ 133392 h 305660"/>
              <a:gd name="connsiteX12" fmla="*/ 177856 w 308503"/>
              <a:gd name="connsiteY12" fmla="*/ 81517 h 305660"/>
              <a:gd name="connsiteX13" fmla="*/ 229731 w 308503"/>
              <a:gd name="connsiteY13" fmla="*/ 29643 h 305660"/>
              <a:gd name="connsiteX14" fmla="*/ 281605 w 308503"/>
              <a:gd name="connsiteY14" fmla="*/ 81517 h 305660"/>
              <a:gd name="connsiteX15" fmla="*/ 96339 w 308503"/>
              <a:gd name="connsiteY15" fmla="*/ 0 h 305660"/>
              <a:gd name="connsiteX16" fmla="*/ 163035 w 308503"/>
              <a:gd name="connsiteY16" fmla="*/ 66696 h 305660"/>
              <a:gd name="connsiteX17" fmla="*/ 96339 w 308503"/>
              <a:gd name="connsiteY17" fmla="*/ 133392 h 305660"/>
              <a:gd name="connsiteX18" fmla="*/ 29643 w 308503"/>
              <a:gd name="connsiteY18" fmla="*/ 66696 h 305660"/>
              <a:gd name="connsiteX19" fmla="*/ 96339 w 308503"/>
              <a:gd name="connsiteY19" fmla="*/ 0 h 305660"/>
              <a:gd name="connsiteX20" fmla="*/ 181962 w 308503"/>
              <a:gd name="connsiteY20" fmla="*/ 177485 h 305660"/>
              <a:gd name="connsiteX21" fmla="*/ 161719 w 308503"/>
              <a:gd name="connsiteY21" fmla="*/ 214195 h 305660"/>
              <a:gd name="connsiteX22" fmla="*/ 160604 w 308503"/>
              <a:gd name="connsiteY22" fmla="*/ 214494 h 305660"/>
              <a:gd name="connsiteX23" fmla="*/ 151948 w 308503"/>
              <a:gd name="connsiteY23" fmla="*/ 216629 h 305660"/>
              <a:gd name="connsiteX24" fmla="*/ 152037 w 308503"/>
              <a:gd name="connsiteY24" fmla="*/ 243411 h 305660"/>
              <a:gd name="connsiteX25" fmla="*/ 160041 w 308503"/>
              <a:gd name="connsiteY25" fmla="*/ 245338 h 305660"/>
              <a:gd name="connsiteX26" fmla="*/ 181917 w 308503"/>
              <a:gd name="connsiteY26" fmla="*/ 281097 h 305660"/>
              <a:gd name="connsiteX27" fmla="*/ 181532 w 308503"/>
              <a:gd name="connsiteY27" fmla="*/ 282539 h 305660"/>
              <a:gd name="connsiteX28" fmla="*/ 178760 w 308503"/>
              <a:gd name="connsiteY28" fmla="*/ 291906 h 305660"/>
              <a:gd name="connsiteX29" fmla="*/ 200770 w 308503"/>
              <a:gd name="connsiteY29" fmla="*/ 305557 h 305660"/>
              <a:gd name="connsiteX30" fmla="*/ 208077 w 308503"/>
              <a:gd name="connsiteY30" fmla="*/ 297879 h 305660"/>
              <a:gd name="connsiteX31" fmla="*/ 249984 w 308503"/>
              <a:gd name="connsiteY31" fmla="*/ 296819 h 305660"/>
              <a:gd name="connsiteX32" fmla="*/ 251044 w 308503"/>
              <a:gd name="connsiteY32" fmla="*/ 297879 h 305660"/>
              <a:gd name="connsiteX33" fmla="*/ 258440 w 308503"/>
              <a:gd name="connsiteY33" fmla="*/ 305660 h 305660"/>
              <a:gd name="connsiteX34" fmla="*/ 280405 w 308503"/>
              <a:gd name="connsiteY34" fmla="*/ 292128 h 305660"/>
              <a:gd name="connsiteX35" fmla="*/ 277470 w 308503"/>
              <a:gd name="connsiteY35" fmla="*/ 281961 h 305660"/>
              <a:gd name="connsiteX36" fmla="*/ 297735 w 308503"/>
              <a:gd name="connsiteY36" fmla="*/ 245263 h 305660"/>
              <a:gd name="connsiteX37" fmla="*/ 298843 w 308503"/>
              <a:gd name="connsiteY37" fmla="*/ 244967 h 305660"/>
              <a:gd name="connsiteX38" fmla="*/ 307483 w 308503"/>
              <a:gd name="connsiteY38" fmla="*/ 242833 h 305660"/>
              <a:gd name="connsiteX39" fmla="*/ 307394 w 308503"/>
              <a:gd name="connsiteY39" fmla="*/ 216036 h 305660"/>
              <a:gd name="connsiteX40" fmla="*/ 299391 w 308503"/>
              <a:gd name="connsiteY40" fmla="*/ 214109 h 305660"/>
              <a:gd name="connsiteX41" fmla="*/ 277531 w 308503"/>
              <a:gd name="connsiteY41" fmla="*/ 178338 h 305660"/>
              <a:gd name="connsiteX42" fmla="*/ 277915 w 308503"/>
              <a:gd name="connsiteY42" fmla="*/ 176907 h 305660"/>
              <a:gd name="connsiteX43" fmla="*/ 280672 w 308503"/>
              <a:gd name="connsiteY43" fmla="*/ 167570 h 305660"/>
              <a:gd name="connsiteX44" fmla="*/ 258677 w 308503"/>
              <a:gd name="connsiteY44" fmla="*/ 153890 h 305660"/>
              <a:gd name="connsiteX45" fmla="*/ 251370 w 308503"/>
              <a:gd name="connsiteY45" fmla="*/ 161582 h 305660"/>
              <a:gd name="connsiteX46" fmla="*/ 209462 w 308503"/>
              <a:gd name="connsiteY46" fmla="*/ 162657 h 305660"/>
              <a:gd name="connsiteX47" fmla="*/ 208388 w 308503"/>
              <a:gd name="connsiteY47" fmla="*/ 161582 h 305660"/>
              <a:gd name="connsiteX48" fmla="*/ 201007 w 308503"/>
              <a:gd name="connsiteY48" fmla="*/ 153801 h 305660"/>
              <a:gd name="connsiteX49" fmla="*/ 179027 w 308503"/>
              <a:gd name="connsiteY49" fmla="*/ 167318 h 305660"/>
              <a:gd name="connsiteX50" fmla="*/ 181962 w 308503"/>
              <a:gd name="connsiteY50" fmla="*/ 177485 h 305660"/>
              <a:gd name="connsiteX51" fmla="*/ 229731 w 308503"/>
              <a:gd name="connsiteY51" fmla="*/ 251963 h 305660"/>
              <a:gd name="connsiteX52" fmla="*/ 208240 w 308503"/>
              <a:gd name="connsiteY52" fmla="*/ 229731 h 305660"/>
              <a:gd name="connsiteX53" fmla="*/ 229731 w 308503"/>
              <a:gd name="connsiteY53" fmla="*/ 207499 h 305660"/>
              <a:gd name="connsiteX54" fmla="*/ 251222 w 308503"/>
              <a:gd name="connsiteY54" fmla="*/ 229731 h 305660"/>
              <a:gd name="connsiteX55" fmla="*/ 229731 w 308503"/>
              <a:gd name="connsiteY55" fmla="*/ 251963 h 305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08503" h="305660">
                <a:moveTo>
                  <a:pt x="22232" y="163035"/>
                </a:moveTo>
                <a:lnTo>
                  <a:pt x="160204" y="163035"/>
                </a:lnTo>
                <a:cubicBezTo>
                  <a:pt x="142967" y="180957"/>
                  <a:pt x="133356" y="204865"/>
                  <a:pt x="133392" y="229731"/>
                </a:cubicBezTo>
                <a:cubicBezTo>
                  <a:pt x="133392" y="245841"/>
                  <a:pt x="137349" y="261033"/>
                  <a:pt x="144345" y="274387"/>
                </a:cubicBezTo>
                <a:cubicBezTo>
                  <a:pt x="128783" y="279575"/>
                  <a:pt x="111619" y="281605"/>
                  <a:pt x="96339" y="281605"/>
                </a:cubicBezTo>
                <a:cubicBezTo>
                  <a:pt x="55995" y="281605"/>
                  <a:pt x="2446" y="267436"/>
                  <a:pt x="74" y="218318"/>
                </a:cubicBezTo>
                <a:lnTo>
                  <a:pt x="0" y="214909"/>
                </a:lnTo>
                <a:lnTo>
                  <a:pt x="0" y="185267"/>
                </a:lnTo>
                <a:cubicBezTo>
                  <a:pt x="1" y="173816"/>
                  <a:pt x="8699" y="164238"/>
                  <a:pt x="20098" y="163138"/>
                </a:cubicBezTo>
                <a:lnTo>
                  <a:pt x="22232" y="163035"/>
                </a:lnTo>
                <a:close/>
                <a:moveTo>
                  <a:pt x="281605" y="81517"/>
                </a:moveTo>
                <a:cubicBezTo>
                  <a:pt x="281605" y="110167"/>
                  <a:pt x="258380" y="133392"/>
                  <a:pt x="229731" y="133392"/>
                </a:cubicBezTo>
                <a:cubicBezTo>
                  <a:pt x="201081" y="133392"/>
                  <a:pt x="177856" y="110167"/>
                  <a:pt x="177856" y="81517"/>
                </a:cubicBezTo>
                <a:cubicBezTo>
                  <a:pt x="177856" y="52868"/>
                  <a:pt x="201081" y="29643"/>
                  <a:pt x="229731" y="29643"/>
                </a:cubicBezTo>
                <a:cubicBezTo>
                  <a:pt x="258380" y="29643"/>
                  <a:pt x="281605" y="52868"/>
                  <a:pt x="281605" y="81517"/>
                </a:cubicBezTo>
                <a:close/>
                <a:moveTo>
                  <a:pt x="96339" y="0"/>
                </a:moveTo>
                <a:cubicBezTo>
                  <a:pt x="133174" y="0"/>
                  <a:pt x="163035" y="29861"/>
                  <a:pt x="163035" y="66696"/>
                </a:cubicBezTo>
                <a:cubicBezTo>
                  <a:pt x="163035" y="103531"/>
                  <a:pt x="133174" y="133392"/>
                  <a:pt x="96339" y="133392"/>
                </a:cubicBezTo>
                <a:cubicBezTo>
                  <a:pt x="59504" y="133392"/>
                  <a:pt x="29643" y="103531"/>
                  <a:pt x="29643" y="66696"/>
                </a:cubicBezTo>
                <a:cubicBezTo>
                  <a:pt x="29643" y="29861"/>
                  <a:pt x="59504" y="0"/>
                  <a:pt x="96339" y="0"/>
                </a:cubicBezTo>
                <a:close/>
                <a:moveTo>
                  <a:pt x="181962" y="177485"/>
                </a:moveTo>
                <a:cubicBezTo>
                  <a:pt x="186509" y="193212"/>
                  <a:pt x="177445" y="209648"/>
                  <a:pt x="161719" y="214195"/>
                </a:cubicBezTo>
                <a:cubicBezTo>
                  <a:pt x="161349" y="214302"/>
                  <a:pt x="160977" y="214402"/>
                  <a:pt x="160604" y="214494"/>
                </a:cubicBezTo>
                <a:lnTo>
                  <a:pt x="151948" y="216629"/>
                </a:lnTo>
                <a:cubicBezTo>
                  <a:pt x="150561" y="225505"/>
                  <a:pt x="150591" y="234545"/>
                  <a:pt x="152037" y="243411"/>
                </a:cubicBezTo>
                <a:lnTo>
                  <a:pt x="160041" y="245338"/>
                </a:lnTo>
                <a:cubicBezTo>
                  <a:pt x="175957" y="249172"/>
                  <a:pt x="185751" y="265182"/>
                  <a:pt x="181917" y="281097"/>
                </a:cubicBezTo>
                <a:cubicBezTo>
                  <a:pt x="181801" y="281582"/>
                  <a:pt x="181672" y="282062"/>
                  <a:pt x="181532" y="282539"/>
                </a:cubicBezTo>
                <a:lnTo>
                  <a:pt x="178760" y="291906"/>
                </a:lnTo>
                <a:cubicBezTo>
                  <a:pt x="185282" y="297627"/>
                  <a:pt x="192692" y="302266"/>
                  <a:pt x="200770" y="305557"/>
                </a:cubicBezTo>
                <a:lnTo>
                  <a:pt x="208077" y="297879"/>
                </a:lnTo>
                <a:cubicBezTo>
                  <a:pt x="219357" y="286015"/>
                  <a:pt x="238120" y="285540"/>
                  <a:pt x="249984" y="296819"/>
                </a:cubicBezTo>
                <a:cubicBezTo>
                  <a:pt x="250346" y="297163"/>
                  <a:pt x="250700" y="297518"/>
                  <a:pt x="251044" y="297879"/>
                </a:cubicBezTo>
                <a:lnTo>
                  <a:pt x="258440" y="305660"/>
                </a:lnTo>
                <a:cubicBezTo>
                  <a:pt x="266459" y="302395"/>
                  <a:pt x="273882" y="297823"/>
                  <a:pt x="280405" y="292128"/>
                </a:cubicBezTo>
                <a:lnTo>
                  <a:pt x="277470" y="281961"/>
                </a:lnTo>
                <a:cubicBezTo>
                  <a:pt x="272932" y="266231"/>
                  <a:pt x="282006" y="249802"/>
                  <a:pt x="297735" y="245263"/>
                </a:cubicBezTo>
                <a:cubicBezTo>
                  <a:pt x="298103" y="245158"/>
                  <a:pt x="298472" y="245059"/>
                  <a:pt x="298843" y="244967"/>
                </a:cubicBezTo>
                <a:lnTo>
                  <a:pt x="307483" y="242833"/>
                </a:lnTo>
                <a:cubicBezTo>
                  <a:pt x="308872" y="233952"/>
                  <a:pt x="308843" y="224908"/>
                  <a:pt x="307394" y="216036"/>
                </a:cubicBezTo>
                <a:lnTo>
                  <a:pt x="299391" y="214109"/>
                </a:lnTo>
                <a:cubicBezTo>
                  <a:pt x="283477" y="210267"/>
                  <a:pt x="273689" y="194253"/>
                  <a:pt x="277531" y="178338"/>
                </a:cubicBezTo>
                <a:cubicBezTo>
                  <a:pt x="277647" y="177859"/>
                  <a:pt x="277776" y="177382"/>
                  <a:pt x="277915" y="176907"/>
                </a:cubicBezTo>
                <a:lnTo>
                  <a:pt x="280672" y="167570"/>
                </a:lnTo>
                <a:cubicBezTo>
                  <a:pt x="274152" y="161819"/>
                  <a:pt x="266717" y="157197"/>
                  <a:pt x="258677" y="153890"/>
                </a:cubicBezTo>
                <a:lnTo>
                  <a:pt x="251370" y="161582"/>
                </a:lnTo>
                <a:cubicBezTo>
                  <a:pt x="240094" y="173451"/>
                  <a:pt x="221331" y="173933"/>
                  <a:pt x="209462" y="162657"/>
                </a:cubicBezTo>
                <a:cubicBezTo>
                  <a:pt x="209095" y="162308"/>
                  <a:pt x="208736" y="161950"/>
                  <a:pt x="208388" y="161582"/>
                </a:cubicBezTo>
                <a:lnTo>
                  <a:pt x="201007" y="153801"/>
                </a:lnTo>
                <a:cubicBezTo>
                  <a:pt x="192944" y="157062"/>
                  <a:pt x="185533" y="161656"/>
                  <a:pt x="179027" y="167318"/>
                </a:cubicBezTo>
                <a:lnTo>
                  <a:pt x="181962" y="177485"/>
                </a:lnTo>
                <a:close/>
                <a:moveTo>
                  <a:pt x="229731" y="251963"/>
                </a:moveTo>
                <a:cubicBezTo>
                  <a:pt x="217874" y="251963"/>
                  <a:pt x="208240" y="242003"/>
                  <a:pt x="208240" y="229731"/>
                </a:cubicBezTo>
                <a:cubicBezTo>
                  <a:pt x="208240" y="217444"/>
                  <a:pt x="217874" y="207499"/>
                  <a:pt x="229731" y="207499"/>
                </a:cubicBezTo>
                <a:cubicBezTo>
                  <a:pt x="241588" y="207499"/>
                  <a:pt x="251222" y="217444"/>
                  <a:pt x="251222" y="229731"/>
                </a:cubicBezTo>
                <a:cubicBezTo>
                  <a:pt x="251222" y="242003"/>
                  <a:pt x="241588" y="251963"/>
                  <a:pt x="229731" y="251963"/>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5" name="Graphic 6">
            <a:extLst>
              <a:ext uri="{FF2B5EF4-FFF2-40B4-BE49-F238E27FC236}">
                <a16:creationId xmlns:a16="http://schemas.microsoft.com/office/drawing/2014/main" id="{550DE085-9727-4EE2-072B-958D977F57DE}"/>
              </a:ext>
              <a:ext uri="{C183D7F6-B498-43B3-948B-1728B52AA6E4}">
                <adec:decorative xmlns:adec="http://schemas.microsoft.com/office/drawing/2017/decorative" val="1"/>
              </a:ext>
            </a:extLst>
          </p:cNvPr>
          <p:cNvSpPr/>
          <p:nvPr/>
        </p:nvSpPr>
        <p:spPr>
          <a:xfrm>
            <a:off x="9484516" y="1834468"/>
            <a:ext cx="479546" cy="479546"/>
          </a:xfrm>
          <a:custGeom>
            <a:avLst/>
            <a:gdLst>
              <a:gd name="connsiteX0" fmla="*/ 148213 w 296426"/>
              <a:gd name="connsiteY0" fmla="*/ 0 h 296426"/>
              <a:gd name="connsiteX1" fmla="*/ 296427 w 296426"/>
              <a:gd name="connsiteY1" fmla="*/ 148213 h 296426"/>
              <a:gd name="connsiteX2" fmla="*/ 148213 w 296426"/>
              <a:gd name="connsiteY2" fmla="*/ 296427 h 296426"/>
              <a:gd name="connsiteX3" fmla="*/ 0 w 296426"/>
              <a:gd name="connsiteY3" fmla="*/ 148213 h 296426"/>
              <a:gd name="connsiteX4" fmla="*/ 148213 w 296426"/>
              <a:gd name="connsiteY4" fmla="*/ 0 h 296426"/>
              <a:gd name="connsiteX5" fmla="*/ 159789 w 296426"/>
              <a:gd name="connsiteY5" fmla="*/ 81058 h 296426"/>
              <a:gd name="connsiteX6" fmla="*/ 158544 w 296426"/>
              <a:gd name="connsiteY6" fmla="*/ 79976 h 296426"/>
              <a:gd name="connsiteX7" fmla="*/ 145457 w 296426"/>
              <a:gd name="connsiteY7" fmla="*/ 79872 h 296426"/>
              <a:gd name="connsiteX8" fmla="*/ 144063 w 296426"/>
              <a:gd name="connsiteY8" fmla="*/ 81058 h 296426"/>
              <a:gd name="connsiteX9" fmla="*/ 142996 w 296426"/>
              <a:gd name="connsiteY9" fmla="*/ 82303 h 296426"/>
              <a:gd name="connsiteX10" fmla="*/ 142892 w 296426"/>
              <a:gd name="connsiteY10" fmla="*/ 95390 h 296426"/>
              <a:gd name="connsiteX11" fmla="*/ 144078 w 296426"/>
              <a:gd name="connsiteY11" fmla="*/ 96783 h 296426"/>
              <a:gd name="connsiteX12" fmla="*/ 184377 w 296426"/>
              <a:gd name="connsiteY12" fmla="*/ 137097 h 296426"/>
              <a:gd name="connsiteX13" fmla="*/ 85223 w 296426"/>
              <a:gd name="connsiteY13" fmla="*/ 137097 h 296426"/>
              <a:gd name="connsiteX14" fmla="*/ 83711 w 296426"/>
              <a:gd name="connsiteY14" fmla="*/ 137186 h 296426"/>
              <a:gd name="connsiteX15" fmla="*/ 74210 w 296426"/>
              <a:gd name="connsiteY15" fmla="*/ 146702 h 296426"/>
              <a:gd name="connsiteX16" fmla="*/ 74107 w 296426"/>
              <a:gd name="connsiteY16" fmla="*/ 148199 h 296426"/>
              <a:gd name="connsiteX17" fmla="*/ 74210 w 296426"/>
              <a:gd name="connsiteY17" fmla="*/ 149710 h 296426"/>
              <a:gd name="connsiteX18" fmla="*/ 83711 w 296426"/>
              <a:gd name="connsiteY18" fmla="*/ 159211 h 296426"/>
              <a:gd name="connsiteX19" fmla="*/ 85223 w 296426"/>
              <a:gd name="connsiteY19" fmla="*/ 159315 h 296426"/>
              <a:gd name="connsiteX20" fmla="*/ 184377 w 296426"/>
              <a:gd name="connsiteY20" fmla="*/ 159315 h 296426"/>
              <a:gd name="connsiteX21" fmla="*/ 144063 w 296426"/>
              <a:gd name="connsiteY21" fmla="*/ 199629 h 296426"/>
              <a:gd name="connsiteX22" fmla="*/ 142981 w 296426"/>
              <a:gd name="connsiteY22" fmla="*/ 200888 h 296426"/>
              <a:gd name="connsiteX23" fmla="*/ 145205 w 296426"/>
              <a:gd name="connsiteY23" fmla="*/ 216451 h 296426"/>
              <a:gd name="connsiteX24" fmla="*/ 158544 w 296426"/>
              <a:gd name="connsiteY24" fmla="*/ 216451 h 296426"/>
              <a:gd name="connsiteX25" fmla="*/ 159774 w 296426"/>
              <a:gd name="connsiteY25" fmla="*/ 215369 h 296426"/>
              <a:gd name="connsiteX26" fmla="*/ 219089 w 296426"/>
              <a:gd name="connsiteY26" fmla="*/ 156083 h 296426"/>
              <a:gd name="connsiteX27" fmla="*/ 220156 w 296426"/>
              <a:gd name="connsiteY27" fmla="*/ 154824 h 296426"/>
              <a:gd name="connsiteX28" fmla="*/ 220275 w 296426"/>
              <a:gd name="connsiteY28" fmla="*/ 141751 h 296426"/>
              <a:gd name="connsiteX29" fmla="*/ 219089 w 296426"/>
              <a:gd name="connsiteY29" fmla="*/ 140358 h 296426"/>
              <a:gd name="connsiteX30" fmla="*/ 159804 w 296426"/>
              <a:gd name="connsiteY30" fmla="*/ 81058 h 296426"/>
              <a:gd name="connsiteX31" fmla="*/ 158544 w 296426"/>
              <a:gd name="connsiteY31" fmla="*/ 79976 h 296426"/>
              <a:gd name="connsiteX32" fmla="*/ 159789 w 296426"/>
              <a:gd name="connsiteY32" fmla="*/ 81058 h 2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6426" h="296426">
                <a:moveTo>
                  <a:pt x="148213" y="0"/>
                </a:moveTo>
                <a:cubicBezTo>
                  <a:pt x="230086" y="0"/>
                  <a:pt x="296427" y="66355"/>
                  <a:pt x="296427" y="148213"/>
                </a:cubicBezTo>
                <a:cubicBezTo>
                  <a:pt x="296427" y="230072"/>
                  <a:pt x="230086" y="296427"/>
                  <a:pt x="148213" y="296427"/>
                </a:cubicBezTo>
                <a:cubicBezTo>
                  <a:pt x="66370" y="296427"/>
                  <a:pt x="0" y="230072"/>
                  <a:pt x="0" y="148213"/>
                </a:cubicBezTo>
                <a:cubicBezTo>
                  <a:pt x="0" y="66355"/>
                  <a:pt x="66370" y="0"/>
                  <a:pt x="148213" y="0"/>
                </a:cubicBezTo>
                <a:close/>
                <a:moveTo>
                  <a:pt x="159789" y="81058"/>
                </a:moveTo>
                <a:lnTo>
                  <a:pt x="158544" y="79976"/>
                </a:lnTo>
                <a:cubicBezTo>
                  <a:pt x="154667" y="77105"/>
                  <a:pt x="149380" y="77063"/>
                  <a:pt x="145457" y="79872"/>
                </a:cubicBezTo>
                <a:lnTo>
                  <a:pt x="144063" y="81058"/>
                </a:lnTo>
                <a:lnTo>
                  <a:pt x="142996" y="82303"/>
                </a:lnTo>
                <a:cubicBezTo>
                  <a:pt x="140125" y="86180"/>
                  <a:pt x="140084" y="91467"/>
                  <a:pt x="142892" y="95390"/>
                </a:cubicBezTo>
                <a:lnTo>
                  <a:pt x="144078" y="96783"/>
                </a:lnTo>
                <a:lnTo>
                  <a:pt x="184377" y="137097"/>
                </a:lnTo>
                <a:lnTo>
                  <a:pt x="85223" y="137097"/>
                </a:lnTo>
                <a:lnTo>
                  <a:pt x="83711" y="137186"/>
                </a:lnTo>
                <a:cubicBezTo>
                  <a:pt x="78767" y="137867"/>
                  <a:pt x="74882" y="141757"/>
                  <a:pt x="74210" y="146702"/>
                </a:cubicBezTo>
                <a:lnTo>
                  <a:pt x="74107" y="148199"/>
                </a:lnTo>
                <a:lnTo>
                  <a:pt x="74210" y="149710"/>
                </a:lnTo>
                <a:cubicBezTo>
                  <a:pt x="74889" y="154649"/>
                  <a:pt x="78772" y="158532"/>
                  <a:pt x="83711" y="159211"/>
                </a:cubicBezTo>
                <a:lnTo>
                  <a:pt x="85223" y="159315"/>
                </a:lnTo>
                <a:lnTo>
                  <a:pt x="184377" y="159315"/>
                </a:lnTo>
                <a:lnTo>
                  <a:pt x="144063" y="199629"/>
                </a:lnTo>
                <a:lnTo>
                  <a:pt x="142981" y="200888"/>
                </a:lnTo>
                <a:cubicBezTo>
                  <a:pt x="139298" y="205800"/>
                  <a:pt x="140293" y="212768"/>
                  <a:pt x="145205" y="216451"/>
                </a:cubicBezTo>
                <a:cubicBezTo>
                  <a:pt x="149157" y="219415"/>
                  <a:pt x="154591" y="219415"/>
                  <a:pt x="158544" y="216451"/>
                </a:cubicBezTo>
                <a:lnTo>
                  <a:pt x="159774" y="215369"/>
                </a:lnTo>
                <a:lnTo>
                  <a:pt x="219089" y="156083"/>
                </a:lnTo>
                <a:lnTo>
                  <a:pt x="220156" y="154824"/>
                </a:lnTo>
                <a:cubicBezTo>
                  <a:pt x="223024" y="150952"/>
                  <a:pt x="223073" y="145674"/>
                  <a:pt x="220275" y="141751"/>
                </a:cubicBezTo>
                <a:lnTo>
                  <a:pt x="219089" y="140358"/>
                </a:lnTo>
                <a:lnTo>
                  <a:pt x="159804" y="81058"/>
                </a:lnTo>
                <a:lnTo>
                  <a:pt x="158544" y="79976"/>
                </a:lnTo>
                <a:lnTo>
                  <a:pt x="159789" y="81058"/>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grpSp>
        <p:nvGrpSpPr>
          <p:cNvPr id="46" name="Group 45">
            <a:extLst>
              <a:ext uri="{FF2B5EF4-FFF2-40B4-BE49-F238E27FC236}">
                <a16:creationId xmlns:a16="http://schemas.microsoft.com/office/drawing/2014/main" id="{46FA2823-24E3-274D-4828-A007FE1F1D7C}"/>
              </a:ext>
              <a:ext uri="{C183D7F6-B498-43B3-948B-1728B52AA6E4}">
                <adec:decorative xmlns:adec="http://schemas.microsoft.com/office/drawing/2017/decorative" val="1"/>
              </a:ext>
            </a:extLst>
          </p:cNvPr>
          <p:cNvGrpSpPr/>
          <p:nvPr/>
        </p:nvGrpSpPr>
        <p:grpSpPr>
          <a:xfrm>
            <a:off x="909223" y="4522236"/>
            <a:ext cx="518930" cy="518930"/>
            <a:chOff x="632462" y="5834381"/>
            <a:chExt cx="396238" cy="396238"/>
          </a:xfrm>
        </p:grpSpPr>
        <p:sp>
          <p:nvSpPr>
            <p:cNvPr id="47" name="Freeform: Shape 115">
              <a:extLst>
                <a:ext uri="{FF2B5EF4-FFF2-40B4-BE49-F238E27FC236}">
                  <a16:creationId xmlns:a16="http://schemas.microsoft.com/office/drawing/2014/main" id="{FF246A9C-9882-9E05-7657-569692785013}"/>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8" name="Graphic 255" descr="Icon of a finger tapping on a screen">
              <a:extLst>
                <a:ext uri="{FF2B5EF4-FFF2-40B4-BE49-F238E27FC236}">
                  <a16:creationId xmlns:a16="http://schemas.microsoft.com/office/drawing/2014/main" id="{28D9AF22-0DB2-C64A-31D2-1F55F81B7673}"/>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49" name="Group 48">
            <a:extLst>
              <a:ext uri="{FF2B5EF4-FFF2-40B4-BE49-F238E27FC236}">
                <a16:creationId xmlns:a16="http://schemas.microsoft.com/office/drawing/2014/main" id="{D2F384E1-7FD4-C245-F507-217F49F14C46}"/>
              </a:ext>
              <a:ext uri="{C183D7F6-B498-43B3-948B-1728B52AA6E4}">
                <adec:decorative xmlns:adec="http://schemas.microsoft.com/office/drawing/2017/decorative" val="1"/>
              </a:ext>
            </a:extLst>
          </p:cNvPr>
          <p:cNvGrpSpPr/>
          <p:nvPr/>
        </p:nvGrpSpPr>
        <p:grpSpPr>
          <a:xfrm>
            <a:off x="4530708" y="4522236"/>
            <a:ext cx="518930" cy="518930"/>
            <a:chOff x="632462" y="5834381"/>
            <a:chExt cx="396238" cy="396238"/>
          </a:xfrm>
        </p:grpSpPr>
        <p:sp>
          <p:nvSpPr>
            <p:cNvPr id="50" name="Freeform: Shape 115">
              <a:extLst>
                <a:ext uri="{FF2B5EF4-FFF2-40B4-BE49-F238E27FC236}">
                  <a16:creationId xmlns:a16="http://schemas.microsoft.com/office/drawing/2014/main" id="{844C3B0A-085E-ED01-0723-E92574F558FC}"/>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1" name="Graphic 255" descr="Icon of a finger tapping on a screen">
              <a:extLst>
                <a:ext uri="{FF2B5EF4-FFF2-40B4-BE49-F238E27FC236}">
                  <a16:creationId xmlns:a16="http://schemas.microsoft.com/office/drawing/2014/main" id="{2A9BFABE-1A21-4EEF-2D5E-EBF2599AB15D}"/>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52" name="Group 51">
            <a:extLst>
              <a:ext uri="{FF2B5EF4-FFF2-40B4-BE49-F238E27FC236}">
                <a16:creationId xmlns:a16="http://schemas.microsoft.com/office/drawing/2014/main" id="{93A158F8-C083-EC61-E920-CE0515DE586B}"/>
              </a:ext>
              <a:ext uri="{C183D7F6-B498-43B3-948B-1728B52AA6E4}">
                <adec:decorative xmlns:adec="http://schemas.microsoft.com/office/drawing/2017/decorative" val="1"/>
              </a:ext>
            </a:extLst>
          </p:cNvPr>
          <p:cNvGrpSpPr/>
          <p:nvPr/>
        </p:nvGrpSpPr>
        <p:grpSpPr>
          <a:xfrm>
            <a:off x="8169611" y="4522236"/>
            <a:ext cx="518930" cy="518930"/>
            <a:chOff x="632462" y="5834381"/>
            <a:chExt cx="396238" cy="396238"/>
          </a:xfrm>
        </p:grpSpPr>
        <p:sp>
          <p:nvSpPr>
            <p:cNvPr id="53" name="Freeform: Shape 115">
              <a:extLst>
                <a:ext uri="{FF2B5EF4-FFF2-40B4-BE49-F238E27FC236}">
                  <a16:creationId xmlns:a16="http://schemas.microsoft.com/office/drawing/2014/main" id="{323855ED-6191-A38E-650D-8A32D451EBDF}"/>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4" name="Graphic 255" descr="Icon of a finger tapping on a screen">
              <a:extLst>
                <a:ext uri="{FF2B5EF4-FFF2-40B4-BE49-F238E27FC236}">
                  <a16:creationId xmlns:a16="http://schemas.microsoft.com/office/drawing/2014/main" id="{3A73A677-766E-3260-EC80-2A14347B3BBA}"/>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321255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nodeType="withEffect">
                                  <p:stCondLst>
                                    <p:cond delay="0"/>
                                  </p:stCondLst>
                                  <p:childTnLst>
                                    <p:animMotion origin="layout" path="M 1.25E-6 0.03889 L 1.25E-6 1.85185E-6 " pathEditMode="relative" rAng="0" ptsTypes="AA">
                                      <p:cBhvr>
                                        <p:cTn id="9" dur="500" fill="hold"/>
                                        <p:tgtEl>
                                          <p:spTgt spid="2"/>
                                        </p:tgtEl>
                                        <p:attrNameLst>
                                          <p:attrName>ppt_x</p:attrName>
                                          <p:attrName>ppt_y</p:attrName>
                                        </p:attrNameLst>
                                      </p:cBhvr>
                                      <p:rCtr x="0" y="-1944"/>
                                    </p:animMotion>
                                  </p:childTnLst>
                                </p:cTn>
                              </p:par>
                            </p:childTnLst>
                          </p:cTn>
                        </p:par>
                        <p:par>
                          <p:cTn id="10" fill="hold">
                            <p:stCondLst>
                              <p:cond delay="500"/>
                            </p:stCondLst>
                            <p:childTnLst>
                              <p:par>
                                <p:cTn id="11" presetID="22" presetClass="entr" presetSubtype="1"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up)">
                                      <p:cBhvr>
                                        <p:cTn id="13" dur="250"/>
                                        <p:tgtEl>
                                          <p:spTgt spid="6"/>
                                        </p:tgtEl>
                                      </p:cBhvr>
                                    </p:animEffect>
                                  </p:childTnLst>
                                </p:cTn>
                              </p:par>
                            </p:childTnLst>
                          </p:cTn>
                        </p:par>
                        <p:par>
                          <p:cTn id="14" fill="hold">
                            <p:stCondLst>
                              <p:cond delay="750"/>
                            </p:stCondLst>
                            <p:childTnLst>
                              <p:par>
                                <p:cTn id="15" presetID="10" presetClass="entr" presetSubtype="0"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250"/>
                                        <p:tgtEl>
                                          <p:spTgt spid="7"/>
                                        </p:tgtEl>
                                      </p:cBhvr>
                                    </p:animEffect>
                                  </p:childTnLst>
                                </p:cTn>
                              </p:par>
                              <p:par>
                                <p:cTn id="18" presetID="42" presetClass="path" presetSubtype="0" decel="100000" fill="hold" grpId="1" nodeType="withEffect">
                                  <p:stCondLst>
                                    <p:cond delay="0"/>
                                  </p:stCondLst>
                                  <p:childTnLst>
                                    <p:animMotion origin="layout" path="M 1.25E-6 0.03889 L 1.25E-6 1.85185E-6 " pathEditMode="relative" rAng="0" ptsTypes="AA">
                                      <p:cBhvr>
                                        <p:cTn id="19" dur="500" fill="hold"/>
                                        <p:tgtEl>
                                          <p:spTgt spid="7"/>
                                        </p:tgtEl>
                                        <p:attrNameLst>
                                          <p:attrName>ppt_x</p:attrName>
                                          <p:attrName>ppt_y</p:attrName>
                                        </p:attrNameLst>
                                      </p:cBhvr>
                                      <p:rCtr x="0" y="-1944"/>
                                    </p:animMotion>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250"/>
                                        <p:tgtEl>
                                          <p:spTgt spid="13"/>
                                        </p:tgtEl>
                                      </p:cBhvr>
                                    </p:animEffect>
                                  </p:childTnLst>
                                </p:cTn>
                              </p:par>
                              <p:par>
                                <p:cTn id="23" presetID="42" presetClass="path" presetSubtype="0" decel="100000" fill="hold" grpId="1" nodeType="withEffect">
                                  <p:stCondLst>
                                    <p:cond delay="0"/>
                                  </p:stCondLst>
                                  <p:childTnLst>
                                    <p:animMotion origin="layout" path="M 1.25E-6 0.03889 L 1.25E-6 1.85185E-6 " pathEditMode="relative" rAng="0" ptsTypes="AA">
                                      <p:cBhvr>
                                        <p:cTn id="24" dur="500" fill="hold"/>
                                        <p:tgtEl>
                                          <p:spTgt spid="13"/>
                                        </p:tgtEl>
                                        <p:attrNameLst>
                                          <p:attrName>ppt_x</p:attrName>
                                          <p:attrName>ppt_y</p:attrName>
                                        </p:attrNameLst>
                                      </p:cBhvr>
                                      <p:rCtr x="0" y="-1944"/>
                                    </p:animMotion>
                                  </p:childTnLst>
                                </p:cTn>
                              </p:par>
                              <p:par>
                                <p:cTn id="25" presetID="10"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250"/>
                                        <p:tgtEl>
                                          <p:spTgt spid="17"/>
                                        </p:tgtEl>
                                      </p:cBhvr>
                                    </p:animEffect>
                                  </p:childTnLst>
                                </p:cTn>
                              </p:par>
                              <p:par>
                                <p:cTn id="28" presetID="42" presetClass="path" presetSubtype="0" decel="100000" fill="hold" grpId="1" nodeType="withEffect">
                                  <p:stCondLst>
                                    <p:cond delay="0"/>
                                  </p:stCondLst>
                                  <p:childTnLst>
                                    <p:animMotion origin="layout" path="M 1.25E-6 0.03889 L 1.25E-6 1.85185E-6 " pathEditMode="relative" rAng="0" ptsTypes="AA">
                                      <p:cBhvr>
                                        <p:cTn id="29" dur="500" fill="hold"/>
                                        <p:tgtEl>
                                          <p:spTgt spid="17"/>
                                        </p:tgtEl>
                                        <p:attrNameLst>
                                          <p:attrName>ppt_x</p:attrName>
                                          <p:attrName>ppt_y</p:attrName>
                                        </p:attrNameLst>
                                      </p:cBhvr>
                                      <p:rCtr x="0" y="-1944"/>
                                    </p:animMotion>
                                  </p:childTnLst>
                                </p:cTn>
                              </p:par>
                              <p:par>
                                <p:cTn id="30" presetID="10" presetClass="entr" presetSubtype="0" fill="hold" grpId="0"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250"/>
                                        <p:tgtEl>
                                          <p:spTgt spid="18"/>
                                        </p:tgtEl>
                                      </p:cBhvr>
                                    </p:animEffect>
                                  </p:childTnLst>
                                </p:cTn>
                              </p:par>
                              <p:par>
                                <p:cTn id="33" presetID="42" presetClass="path" presetSubtype="0" decel="100000" fill="hold" grpId="1" nodeType="withEffect">
                                  <p:stCondLst>
                                    <p:cond delay="0"/>
                                  </p:stCondLst>
                                  <p:childTnLst>
                                    <p:animMotion origin="layout" path="M 1.25E-6 0.03889 L 1.25E-6 1.85185E-6 " pathEditMode="relative" rAng="0" ptsTypes="AA">
                                      <p:cBhvr>
                                        <p:cTn id="34" dur="500" fill="hold"/>
                                        <p:tgtEl>
                                          <p:spTgt spid="18"/>
                                        </p:tgtEl>
                                        <p:attrNameLst>
                                          <p:attrName>ppt_x</p:attrName>
                                          <p:attrName>ppt_y</p:attrName>
                                        </p:attrNameLst>
                                      </p:cBhvr>
                                      <p:rCtr x="0" y="-1944"/>
                                    </p:animMotion>
                                  </p:childTnLst>
                                </p:cTn>
                              </p:par>
                              <p:par>
                                <p:cTn id="35" presetID="10"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250"/>
                                        <p:tgtEl>
                                          <p:spTgt spid="19"/>
                                        </p:tgtEl>
                                      </p:cBhvr>
                                    </p:animEffect>
                                  </p:childTnLst>
                                </p:cTn>
                              </p:par>
                              <p:par>
                                <p:cTn id="38" presetID="42" presetClass="path" presetSubtype="0" decel="100000" fill="hold" grpId="1" nodeType="withEffect">
                                  <p:stCondLst>
                                    <p:cond delay="0"/>
                                  </p:stCondLst>
                                  <p:childTnLst>
                                    <p:animMotion origin="layout" path="M 1.25E-6 0.03889 L 1.25E-6 1.85185E-6 " pathEditMode="relative" rAng="0" ptsTypes="AA">
                                      <p:cBhvr>
                                        <p:cTn id="39" dur="500" fill="hold"/>
                                        <p:tgtEl>
                                          <p:spTgt spid="19"/>
                                        </p:tgtEl>
                                        <p:attrNameLst>
                                          <p:attrName>ppt_x</p:attrName>
                                          <p:attrName>ppt_y</p:attrName>
                                        </p:attrNameLst>
                                      </p:cBhvr>
                                      <p:rCtr x="0" y="-1944"/>
                                    </p:animMotion>
                                  </p:childTnLst>
                                </p:cTn>
                              </p:par>
                              <p:par>
                                <p:cTn id="40" presetID="10" presetClass="entr" presetSubtype="0" fill="hold" grpId="0" nodeType="with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fade">
                                      <p:cBhvr>
                                        <p:cTn id="42" dur="250"/>
                                        <p:tgtEl>
                                          <p:spTgt spid="35"/>
                                        </p:tgtEl>
                                      </p:cBhvr>
                                    </p:animEffect>
                                  </p:childTnLst>
                                </p:cTn>
                              </p:par>
                              <p:par>
                                <p:cTn id="43" presetID="42" presetClass="path" presetSubtype="0" decel="100000" fill="hold" grpId="1" nodeType="withEffect">
                                  <p:stCondLst>
                                    <p:cond delay="0"/>
                                  </p:stCondLst>
                                  <p:childTnLst>
                                    <p:animMotion origin="layout" path="M 1.25E-6 0.03889 L 1.25E-6 1.85185E-6 " pathEditMode="relative" rAng="0" ptsTypes="AA">
                                      <p:cBhvr>
                                        <p:cTn id="44" dur="500" fill="hold"/>
                                        <p:tgtEl>
                                          <p:spTgt spid="35"/>
                                        </p:tgtEl>
                                        <p:attrNameLst>
                                          <p:attrName>ppt_x</p:attrName>
                                          <p:attrName>ppt_y</p:attrName>
                                        </p:attrNameLst>
                                      </p:cBhvr>
                                      <p:rCtr x="0" y="-1944"/>
                                    </p:animMotion>
                                  </p:childTnLst>
                                </p:cTn>
                              </p:par>
                              <p:par>
                                <p:cTn id="45" presetID="10" presetClass="entr" presetSubtype="0" fill="hold" grpId="0" nodeType="with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250"/>
                                        <p:tgtEl>
                                          <p:spTgt spid="38"/>
                                        </p:tgtEl>
                                      </p:cBhvr>
                                    </p:animEffect>
                                  </p:childTnLst>
                                </p:cTn>
                              </p:par>
                              <p:par>
                                <p:cTn id="48" presetID="42" presetClass="path" presetSubtype="0" decel="100000" fill="hold" grpId="1" nodeType="withEffect">
                                  <p:stCondLst>
                                    <p:cond delay="0"/>
                                  </p:stCondLst>
                                  <p:childTnLst>
                                    <p:animMotion origin="layout" path="M 1.25E-6 0.03889 L 1.25E-6 1.85185E-6 " pathEditMode="relative" rAng="0" ptsTypes="AA">
                                      <p:cBhvr>
                                        <p:cTn id="49" dur="500" fill="hold"/>
                                        <p:tgtEl>
                                          <p:spTgt spid="38"/>
                                        </p:tgtEl>
                                        <p:attrNameLst>
                                          <p:attrName>ppt_x</p:attrName>
                                          <p:attrName>ppt_y</p:attrName>
                                        </p:attrNameLst>
                                      </p:cBhvr>
                                      <p:rCtr x="0" y="-1944"/>
                                    </p:animMotion>
                                  </p:childTnLst>
                                </p:cTn>
                              </p:par>
                              <p:par>
                                <p:cTn id="50" presetID="10" presetClass="entr" presetSubtype="0" fill="hold" grpId="0" nodeType="withEffect">
                                  <p:stCondLst>
                                    <p:cond delay="0"/>
                                  </p:stCondLst>
                                  <p:childTnLst>
                                    <p:set>
                                      <p:cBhvr>
                                        <p:cTn id="51" dur="1" fill="hold">
                                          <p:stCondLst>
                                            <p:cond delay="0"/>
                                          </p:stCondLst>
                                        </p:cTn>
                                        <p:tgtEl>
                                          <p:spTgt spid="40"/>
                                        </p:tgtEl>
                                        <p:attrNameLst>
                                          <p:attrName>style.visibility</p:attrName>
                                        </p:attrNameLst>
                                      </p:cBhvr>
                                      <p:to>
                                        <p:strVal val="visible"/>
                                      </p:to>
                                    </p:set>
                                    <p:animEffect transition="in" filter="fade">
                                      <p:cBhvr>
                                        <p:cTn id="52" dur="250"/>
                                        <p:tgtEl>
                                          <p:spTgt spid="40"/>
                                        </p:tgtEl>
                                      </p:cBhvr>
                                    </p:animEffect>
                                  </p:childTnLst>
                                </p:cTn>
                              </p:par>
                              <p:par>
                                <p:cTn id="53" presetID="42" presetClass="path" presetSubtype="0" decel="100000" fill="hold" grpId="1" nodeType="withEffect">
                                  <p:stCondLst>
                                    <p:cond delay="0"/>
                                  </p:stCondLst>
                                  <p:childTnLst>
                                    <p:animMotion origin="layout" path="M 1.25E-6 0.03889 L 1.25E-6 1.85185E-6 " pathEditMode="relative" rAng="0" ptsTypes="AA">
                                      <p:cBhvr>
                                        <p:cTn id="54" dur="500" fill="hold"/>
                                        <p:tgtEl>
                                          <p:spTgt spid="40"/>
                                        </p:tgtEl>
                                        <p:attrNameLst>
                                          <p:attrName>ppt_x</p:attrName>
                                          <p:attrName>ppt_y</p:attrName>
                                        </p:attrNameLst>
                                      </p:cBhvr>
                                      <p:rCtr x="0" y="-1944"/>
                                    </p:animMotion>
                                  </p:childTnLst>
                                </p:cTn>
                              </p:par>
                              <p:par>
                                <p:cTn id="55" presetID="10" presetClass="entr" presetSubtype="0" fill="hold" grpId="0" nodeType="withEffect">
                                  <p:stCondLst>
                                    <p:cond delay="0"/>
                                  </p:stCondLst>
                                  <p:childTnLst>
                                    <p:set>
                                      <p:cBhvr>
                                        <p:cTn id="56" dur="1" fill="hold">
                                          <p:stCondLst>
                                            <p:cond delay="0"/>
                                          </p:stCondLst>
                                        </p:cTn>
                                        <p:tgtEl>
                                          <p:spTgt spid="41"/>
                                        </p:tgtEl>
                                        <p:attrNameLst>
                                          <p:attrName>style.visibility</p:attrName>
                                        </p:attrNameLst>
                                      </p:cBhvr>
                                      <p:to>
                                        <p:strVal val="visible"/>
                                      </p:to>
                                    </p:set>
                                    <p:animEffect transition="in" filter="fade">
                                      <p:cBhvr>
                                        <p:cTn id="57" dur="250"/>
                                        <p:tgtEl>
                                          <p:spTgt spid="41"/>
                                        </p:tgtEl>
                                      </p:cBhvr>
                                    </p:animEffect>
                                  </p:childTnLst>
                                </p:cTn>
                              </p:par>
                              <p:par>
                                <p:cTn id="58" presetID="42" presetClass="path" presetSubtype="0" decel="100000" fill="hold" grpId="1" nodeType="withEffect">
                                  <p:stCondLst>
                                    <p:cond delay="0"/>
                                  </p:stCondLst>
                                  <p:childTnLst>
                                    <p:animMotion origin="layout" path="M 1.25E-6 0.03889 L 1.25E-6 1.85185E-6 " pathEditMode="relative" rAng="0" ptsTypes="AA">
                                      <p:cBhvr>
                                        <p:cTn id="59" dur="500" fill="hold"/>
                                        <p:tgtEl>
                                          <p:spTgt spid="41"/>
                                        </p:tgtEl>
                                        <p:attrNameLst>
                                          <p:attrName>ppt_x</p:attrName>
                                          <p:attrName>ppt_y</p:attrName>
                                        </p:attrNameLst>
                                      </p:cBhvr>
                                      <p:rCtr x="0" y="-1944"/>
                                    </p:animMotion>
                                  </p:childTnLst>
                                </p:cTn>
                              </p:par>
                              <p:par>
                                <p:cTn id="60" presetID="10" presetClass="entr" presetSubtype="0" fill="hold" nodeType="withEffect">
                                  <p:stCondLst>
                                    <p:cond delay="0"/>
                                  </p:stCondLst>
                                  <p:childTnLst>
                                    <p:set>
                                      <p:cBhvr>
                                        <p:cTn id="61" dur="1" fill="hold">
                                          <p:stCondLst>
                                            <p:cond delay="0"/>
                                          </p:stCondLst>
                                        </p:cTn>
                                        <p:tgtEl>
                                          <p:spTgt spid="46"/>
                                        </p:tgtEl>
                                        <p:attrNameLst>
                                          <p:attrName>style.visibility</p:attrName>
                                        </p:attrNameLst>
                                      </p:cBhvr>
                                      <p:to>
                                        <p:strVal val="visible"/>
                                      </p:to>
                                    </p:set>
                                    <p:animEffect transition="in" filter="fade">
                                      <p:cBhvr>
                                        <p:cTn id="62" dur="250"/>
                                        <p:tgtEl>
                                          <p:spTgt spid="46"/>
                                        </p:tgtEl>
                                      </p:cBhvr>
                                    </p:animEffect>
                                  </p:childTnLst>
                                </p:cTn>
                              </p:par>
                              <p:par>
                                <p:cTn id="63" presetID="42" presetClass="path" presetSubtype="0" decel="100000" fill="hold" nodeType="withEffect">
                                  <p:stCondLst>
                                    <p:cond delay="0"/>
                                  </p:stCondLst>
                                  <p:childTnLst>
                                    <p:animMotion origin="layout" path="M -3.33333E-6 0.03889 L -3.33333E-6 -7.40741E-7 " pathEditMode="relative" rAng="0" ptsTypes="AA">
                                      <p:cBhvr>
                                        <p:cTn id="64" dur="500" fill="hold"/>
                                        <p:tgtEl>
                                          <p:spTgt spid="46"/>
                                        </p:tgtEl>
                                        <p:attrNameLst>
                                          <p:attrName>ppt_x</p:attrName>
                                          <p:attrName>ppt_y</p:attrName>
                                        </p:attrNameLst>
                                      </p:cBhvr>
                                      <p:rCtr x="0" y="-1944"/>
                                    </p:animMotion>
                                  </p:childTnLst>
                                </p:cTn>
                              </p:par>
                              <p:par>
                                <p:cTn id="65" presetID="10" presetClass="entr" presetSubtype="0" fill="hold" grpId="0" nodeType="with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fade">
                                      <p:cBhvr>
                                        <p:cTn id="67" dur="250"/>
                                        <p:tgtEl>
                                          <p:spTgt spid="42"/>
                                        </p:tgtEl>
                                      </p:cBhvr>
                                    </p:animEffect>
                                  </p:childTnLst>
                                </p:cTn>
                              </p:par>
                              <p:par>
                                <p:cTn id="68" presetID="42" presetClass="path" presetSubtype="0" decel="100000" fill="hold" grpId="1" nodeType="withEffect">
                                  <p:stCondLst>
                                    <p:cond delay="0"/>
                                  </p:stCondLst>
                                  <p:childTnLst>
                                    <p:animMotion origin="layout" path="M 1.25E-6 0.03889 L 1.25E-6 1.85185E-6 " pathEditMode="relative" rAng="0" ptsTypes="AA">
                                      <p:cBhvr>
                                        <p:cTn id="69" dur="500" fill="hold"/>
                                        <p:tgtEl>
                                          <p:spTgt spid="42"/>
                                        </p:tgtEl>
                                        <p:attrNameLst>
                                          <p:attrName>ppt_x</p:attrName>
                                          <p:attrName>ppt_y</p:attrName>
                                        </p:attrNameLst>
                                      </p:cBhvr>
                                      <p:rCtr x="0" y="-1944"/>
                                    </p:animMotion>
                                  </p:childTnLst>
                                </p:cTn>
                              </p:par>
                              <p:par>
                                <p:cTn id="70" presetID="10" presetClass="entr" presetSubtype="0" fill="hold" nodeType="withEffect">
                                  <p:stCondLst>
                                    <p:cond delay="0"/>
                                  </p:stCondLst>
                                  <p:childTnLst>
                                    <p:set>
                                      <p:cBhvr>
                                        <p:cTn id="71" dur="1" fill="hold">
                                          <p:stCondLst>
                                            <p:cond delay="0"/>
                                          </p:stCondLst>
                                        </p:cTn>
                                        <p:tgtEl>
                                          <p:spTgt spid="49"/>
                                        </p:tgtEl>
                                        <p:attrNameLst>
                                          <p:attrName>style.visibility</p:attrName>
                                        </p:attrNameLst>
                                      </p:cBhvr>
                                      <p:to>
                                        <p:strVal val="visible"/>
                                      </p:to>
                                    </p:set>
                                    <p:animEffect transition="in" filter="fade">
                                      <p:cBhvr>
                                        <p:cTn id="72" dur="250"/>
                                        <p:tgtEl>
                                          <p:spTgt spid="49"/>
                                        </p:tgtEl>
                                      </p:cBhvr>
                                    </p:animEffect>
                                  </p:childTnLst>
                                </p:cTn>
                              </p:par>
                              <p:par>
                                <p:cTn id="73" presetID="42" presetClass="path" presetSubtype="0" decel="100000" fill="hold" nodeType="withEffect">
                                  <p:stCondLst>
                                    <p:cond delay="0"/>
                                  </p:stCondLst>
                                  <p:childTnLst>
                                    <p:animMotion origin="layout" path="M 1.45833E-6 0.03889 L 1.45833E-6 -7.40741E-7 " pathEditMode="relative" rAng="0" ptsTypes="AA">
                                      <p:cBhvr>
                                        <p:cTn id="74" dur="500" fill="hold"/>
                                        <p:tgtEl>
                                          <p:spTgt spid="49"/>
                                        </p:tgtEl>
                                        <p:attrNameLst>
                                          <p:attrName>ppt_x</p:attrName>
                                          <p:attrName>ppt_y</p:attrName>
                                        </p:attrNameLst>
                                      </p:cBhvr>
                                      <p:rCtr x="0" y="-1944"/>
                                    </p:animMotion>
                                  </p:childTnLst>
                                </p:cTn>
                              </p:par>
                              <p:par>
                                <p:cTn id="75" presetID="10" presetClass="entr" presetSubtype="0" fill="hold" grpId="0" nodeType="withEffect">
                                  <p:stCondLst>
                                    <p:cond delay="0"/>
                                  </p:stCondLst>
                                  <p:childTnLst>
                                    <p:set>
                                      <p:cBhvr>
                                        <p:cTn id="76" dur="1" fill="hold">
                                          <p:stCondLst>
                                            <p:cond delay="0"/>
                                          </p:stCondLst>
                                        </p:cTn>
                                        <p:tgtEl>
                                          <p:spTgt spid="43"/>
                                        </p:tgtEl>
                                        <p:attrNameLst>
                                          <p:attrName>style.visibility</p:attrName>
                                        </p:attrNameLst>
                                      </p:cBhvr>
                                      <p:to>
                                        <p:strVal val="visible"/>
                                      </p:to>
                                    </p:set>
                                    <p:animEffect transition="in" filter="fade">
                                      <p:cBhvr>
                                        <p:cTn id="77" dur="250"/>
                                        <p:tgtEl>
                                          <p:spTgt spid="43"/>
                                        </p:tgtEl>
                                      </p:cBhvr>
                                    </p:animEffect>
                                  </p:childTnLst>
                                </p:cTn>
                              </p:par>
                              <p:par>
                                <p:cTn id="78" presetID="42" presetClass="path" presetSubtype="0" decel="100000" fill="hold" grpId="1" nodeType="withEffect">
                                  <p:stCondLst>
                                    <p:cond delay="0"/>
                                  </p:stCondLst>
                                  <p:childTnLst>
                                    <p:animMotion origin="layout" path="M 1.45833E-6 0.03889 L 1.45833E-6 -7.40741E-7 " pathEditMode="relative" rAng="0" ptsTypes="AA">
                                      <p:cBhvr>
                                        <p:cTn id="79" dur="500" fill="hold"/>
                                        <p:tgtEl>
                                          <p:spTgt spid="43"/>
                                        </p:tgtEl>
                                        <p:attrNameLst>
                                          <p:attrName>ppt_x</p:attrName>
                                          <p:attrName>ppt_y</p:attrName>
                                        </p:attrNameLst>
                                      </p:cBhvr>
                                      <p:rCtr x="0" y="-1944"/>
                                    </p:animMotion>
                                  </p:childTnLst>
                                </p:cTn>
                              </p:par>
                              <p:par>
                                <p:cTn id="80" presetID="10" presetClass="entr" presetSubtype="0" fill="hold" nodeType="withEffect">
                                  <p:stCondLst>
                                    <p:cond delay="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250"/>
                                        <p:tgtEl>
                                          <p:spTgt spid="52"/>
                                        </p:tgtEl>
                                      </p:cBhvr>
                                    </p:animEffect>
                                  </p:childTnLst>
                                </p:cTn>
                              </p:par>
                              <p:par>
                                <p:cTn id="83" presetID="42" presetClass="path" presetSubtype="0" decel="100000" fill="hold" nodeType="withEffect">
                                  <p:stCondLst>
                                    <p:cond delay="0"/>
                                  </p:stCondLst>
                                  <p:childTnLst>
                                    <p:animMotion origin="layout" path="M 3.95833E-6 0.03889 L 3.95833E-6 -7.40741E-7 " pathEditMode="relative" rAng="0" ptsTypes="AA">
                                      <p:cBhvr>
                                        <p:cTn id="84" dur="500" fill="hold"/>
                                        <p:tgtEl>
                                          <p:spTgt spid="52"/>
                                        </p:tgtEl>
                                        <p:attrNameLst>
                                          <p:attrName>ppt_x</p:attrName>
                                          <p:attrName>ppt_y</p:attrName>
                                        </p:attrNameLst>
                                      </p:cBhvr>
                                      <p:rCtr x="0" y="-1944"/>
                                    </p:animMotion>
                                  </p:childTnLst>
                                </p:cTn>
                              </p:par>
                              <p:par>
                                <p:cTn id="85" presetID="10" presetClass="entr" presetSubtype="0" fill="hold" grpId="0" nodeType="withEffect">
                                  <p:stCondLst>
                                    <p:cond delay="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42" presetClass="path" presetSubtype="0" decel="100000" fill="hold" grpId="1" nodeType="withEffect">
                                  <p:stCondLst>
                                    <p:cond delay="0"/>
                                  </p:stCondLst>
                                  <p:childTnLst>
                                    <p:animMotion origin="layout" path="M 1.25E-6 0.03889 L 1.25E-6 1.85185E-6 " pathEditMode="relative" rAng="0" ptsTypes="AA">
                                      <p:cBhvr>
                                        <p:cTn id="89" dur="500" fill="hold"/>
                                        <p:tgtEl>
                                          <p:spTgt spid="44"/>
                                        </p:tgtEl>
                                        <p:attrNameLst>
                                          <p:attrName>ppt_x</p:attrName>
                                          <p:attrName>ppt_y</p:attrName>
                                        </p:attrNameLst>
                                      </p:cBhvr>
                                      <p:rCtr x="0" y="-1944"/>
                                    </p:animMotion>
                                  </p:childTnLst>
                                </p:cTn>
                              </p:par>
                              <p:par>
                                <p:cTn id="90" presetID="10" presetClass="entr" presetSubtype="0" fill="hold" grpId="0" nodeType="withEffect">
                                  <p:stCondLst>
                                    <p:cond delay="0"/>
                                  </p:stCondLst>
                                  <p:childTnLst>
                                    <p:set>
                                      <p:cBhvr>
                                        <p:cTn id="91" dur="1" fill="hold">
                                          <p:stCondLst>
                                            <p:cond delay="0"/>
                                          </p:stCondLst>
                                        </p:cTn>
                                        <p:tgtEl>
                                          <p:spTgt spid="9"/>
                                        </p:tgtEl>
                                        <p:attrNameLst>
                                          <p:attrName>style.visibility</p:attrName>
                                        </p:attrNameLst>
                                      </p:cBhvr>
                                      <p:to>
                                        <p:strVal val="visible"/>
                                      </p:to>
                                    </p:set>
                                    <p:animEffect transition="in" filter="fade">
                                      <p:cBhvr>
                                        <p:cTn id="92" dur="250"/>
                                        <p:tgtEl>
                                          <p:spTgt spid="9"/>
                                        </p:tgtEl>
                                      </p:cBhvr>
                                    </p:animEffect>
                                  </p:childTnLst>
                                </p:cTn>
                              </p:par>
                              <p:par>
                                <p:cTn id="93" presetID="42" presetClass="path" presetSubtype="0" decel="100000" fill="hold" grpId="1" nodeType="withEffect">
                                  <p:stCondLst>
                                    <p:cond delay="0"/>
                                  </p:stCondLst>
                                  <p:childTnLst>
                                    <p:animMotion origin="layout" path="M 1.25E-6 0.03889 L 1.25E-6 1.85185E-6 " pathEditMode="relative" rAng="0" ptsTypes="AA">
                                      <p:cBhvr>
                                        <p:cTn id="94" dur="500" fill="hold"/>
                                        <p:tgtEl>
                                          <p:spTgt spid="9"/>
                                        </p:tgtEl>
                                        <p:attrNameLst>
                                          <p:attrName>ppt_x</p:attrName>
                                          <p:attrName>ppt_y</p:attrName>
                                        </p:attrNameLst>
                                      </p:cBhvr>
                                      <p:rCtr x="0" y="-1944"/>
                                    </p:animMotion>
                                  </p:childTnLst>
                                </p:cTn>
                              </p:par>
                              <p:par>
                                <p:cTn id="95" presetID="10" presetClass="entr" presetSubtype="0" fill="hold" grpId="0" nodeType="withEffect">
                                  <p:stCondLst>
                                    <p:cond delay="0"/>
                                  </p:stCondLst>
                                  <p:childTnLst>
                                    <p:set>
                                      <p:cBhvr>
                                        <p:cTn id="96" dur="1" fill="hold">
                                          <p:stCondLst>
                                            <p:cond delay="0"/>
                                          </p:stCondLst>
                                        </p:cTn>
                                        <p:tgtEl>
                                          <p:spTgt spid="10"/>
                                        </p:tgtEl>
                                        <p:attrNameLst>
                                          <p:attrName>style.visibility</p:attrName>
                                        </p:attrNameLst>
                                      </p:cBhvr>
                                      <p:to>
                                        <p:strVal val="visible"/>
                                      </p:to>
                                    </p:set>
                                    <p:animEffect transition="in" filter="fade">
                                      <p:cBhvr>
                                        <p:cTn id="97" dur="250"/>
                                        <p:tgtEl>
                                          <p:spTgt spid="10"/>
                                        </p:tgtEl>
                                      </p:cBhvr>
                                    </p:animEffect>
                                  </p:childTnLst>
                                </p:cTn>
                              </p:par>
                              <p:par>
                                <p:cTn id="98" presetID="42" presetClass="path" presetSubtype="0" decel="100000" fill="hold" grpId="1" nodeType="withEffect">
                                  <p:stCondLst>
                                    <p:cond delay="0"/>
                                  </p:stCondLst>
                                  <p:childTnLst>
                                    <p:animMotion origin="layout" path="M 1.25E-6 0.03889 L 1.25E-6 1.85185E-6 " pathEditMode="relative" rAng="0" ptsTypes="AA">
                                      <p:cBhvr>
                                        <p:cTn id="99" dur="500" fill="hold"/>
                                        <p:tgtEl>
                                          <p:spTgt spid="10"/>
                                        </p:tgtEl>
                                        <p:attrNameLst>
                                          <p:attrName>ppt_x</p:attrName>
                                          <p:attrName>ppt_y</p:attrName>
                                        </p:attrNameLst>
                                      </p:cBhvr>
                                      <p:rCtr x="0" y="-1944"/>
                                    </p:animMotion>
                                  </p:childTnLst>
                                </p:cTn>
                              </p:par>
                              <p:par>
                                <p:cTn id="100" presetID="10" presetClass="entr" presetSubtype="0" fill="hold" grpId="0" nodeType="withEffect">
                                  <p:stCondLst>
                                    <p:cond delay="0"/>
                                  </p:stCondLst>
                                  <p:childTnLst>
                                    <p:set>
                                      <p:cBhvr>
                                        <p:cTn id="101" dur="1" fill="hold">
                                          <p:stCondLst>
                                            <p:cond delay="0"/>
                                          </p:stCondLst>
                                        </p:cTn>
                                        <p:tgtEl>
                                          <p:spTgt spid="15"/>
                                        </p:tgtEl>
                                        <p:attrNameLst>
                                          <p:attrName>style.visibility</p:attrName>
                                        </p:attrNameLst>
                                      </p:cBhvr>
                                      <p:to>
                                        <p:strVal val="visible"/>
                                      </p:to>
                                    </p:set>
                                    <p:animEffect transition="in" filter="fade">
                                      <p:cBhvr>
                                        <p:cTn id="102" dur="250"/>
                                        <p:tgtEl>
                                          <p:spTgt spid="15"/>
                                        </p:tgtEl>
                                      </p:cBhvr>
                                    </p:animEffect>
                                  </p:childTnLst>
                                </p:cTn>
                              </p:par>
                              <p:par>
                                <p:cTn id="103" presetID="42" presetClass="path" presetSubtype="0" decel="100000" fill="hold" grpId="1" nodeType="withEffect">
                                  <p:stCondLst>
                                    <p:cond delay="0"/>
                                  </p:stCondLst>
                                  <p:childTnLst>
                                    <p:animMotion origin="layout" path="M 1.25E-6 0.03889 L 1.25E-6 1.85185E-6 " pathEditMode="relative" rAng="0" ptsTypes="AA">
                                      <p:cBhvr>
                                        <p:cTn id="104" dur="500" fill="hold"/>
                                        <p:tgtEl>
                                          <p:spTgt spid="15"/>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7" grpId="1" animBg="1"/>
      <p:bldP spid="13" grpId="0" animBg="1"/>
      <p:bldP spid="13" grpId="1" animBg="1"/>
      <p:bldP spid="17" grpId="0" animBg="1"/>
      <p:bldP spid="17" grpId="1" animBg="1"/>
      <p:bldP spid="18" grpId="0" animBg="1"/>
      <p:bldP spid="18" grpId="1" animBg="1"/>
      <p:bldP spid="19" grpId="0"/>
      <p:bldP spid="19" grpId="1"/>
      <p:bldP spid="35" grpId="0" animBg="1"/>
      <p:bldP spid="35" grpId="1" animBg="1"/>
      <p:bldP spid="38" grpId="0" animBg="1"/>
      <p:bldP spid="38" grpId="1" animBg="1"/>
      <p:bldP spid="40" grpId="0"/>
      <p:bldP spid="40" grpId="1"/>
      <p:bldP spid="41" grpId="0"/>
      <p:bldP spid="41" grpId="1"/>
      <p:bldP spid="42" grpId="0" animBg="1"/>
      <p:bldP spid="42" grpId="1" animBg="1"/>
      <p:bldP spid="43" grpId="0" animBg="1"/>
      <p:bldP spid="43" grpId="1" animBg="1"/>
      <p:bldP spid="44" grpId="0" animBg="1"/>
      <p:bldP spid="44" grpId="1" animBg="1"/>
      <p:bldP spid="9" grpId="0" animBg="1"/>
      <p:bldP spid="9" grpId="1" animBg="1"/>
      <p:bldP spid="10" grpId="0" animBg="1"/>
      <p:bldP spid="10" grpId="1" animBg="1"/>
      <p:bldP spid="15" grpId="0" animBg="1"/>
      <p:bldP spid="15"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29F9FEAD-A6B6-504E-CFA2-B4BAD2C42276}"/>
              </a:ext>
            </a:extLst>
          </p:cNvPr>
          <p:cNvSpPr>
            <a:spLocks noGrp="1"/>
          </p:cNvSpPr>
          <p:nvPr>
            <p:ph idx="1"/>
          </p:nvPr>
        </p:nvSpPr>
        <p:spPr>
          <a:xfrm>
            <a:off x="5210176" y="1547290"/>
            <a:ext cx="6638924" cy="3939540"/>
          </a:xfrm>
        </p:spPr>
        <p:txBody>
          <a:bodyPr/>
          <a:lstStyle/>
          <a:p>
            <a:pPr marL="514350" indent="-514350">
              <a:spcBef>
                <a:spcPts val="600"/>
              </a:spcBef>
              <a:spcAft>
                <a:spcPts val="600"/>
              </a:spcAft>
              <a:buAutoNum type="arabicPlain"/>
            </a:pPr>
            <a:r>
              <a:rPr lang="en-GB"/>
              <a:t>Fundamentals of agent creation</a:t>
            </a:r>
          </a:p>
          <a:p>
            <a:pPr marL="514350" indent="-514350">
              <a:spcBef>
                <a:spcPts val="600"/>
              </a:spcBef>
              <a:spcAft>
                <a:spcPts val="600"/>
              </a:spcAft>
              <a:buAutoNum type="arabicPlain"/>
            </a:pPr>
            <a:r>
              <a:rPr lang="en-IN"/>
              <a:t>Pre-built Agents in M365 Copilot</a:t>
            </a:r>
            <a:endParaRPr lang="en-US"/>
          </a:p>
          <a:p>
            <a:pPr marL="514350" indent="-514350">
              <a:spcBef>
                <a:spcPts val="600"/>
              </a:spcBef>
              <a:spcAft>
                <a:spcPts val="600"/>
              </a:spcAft>
              <a:buAutoNum type="arabicPlain"/>
            </a:pPr>
            <a:r>
              <a:rPr lang="en-GB"/>
              <a:t>Discover Agents - The Agent Store</a:t>
            </a:r>
          </a:p>
          <a:p>
            <a:pPr marL="514350" indent="-514350">
              <a:spcBef>
                <a:spcPts val="600"/>
              </a:spcBef>
              <a:spcAft>
                <a:spcPts val="600"/>
              </a:spcAft>
              <a:buAutoNum type="arabicPlain"/>
            </a:pPr>
            <a:r>
              <a:rPr lang="en-IN"/>
              <a:t>Create Agents Using Templates</a:t>
            </a:r>
            <a:endParaRPr lang="en-US"/>
          </a:p>
          <a:p>
            <a:pPr marL="514350" indent="-514350">
              <a:spcBef>
                <a:spcPts val="600"/>
              </a:spcBef>
              <a:spcAft>
                <a:spcPts val="600"/>
              </a:spcAft>
              <a:buAutoNum type="arabicPlain"/>
            </a:pPr>
            <a:r>
              <a:rPr lang="en-US"/>
              <a:t>Create Agents Using Example Guides</a:t>
            </a:r>
          </a:p>
          <a:p>
            <a:pPr marL="514350" indent="-514350">
              <a:spcBef>
                <a:spcPts val="600"/>
              </a:spcBef>
              <a:spcAft>
                <a:spcPts val="600"/>
              </a:spcAft>
              <a:buAutoNum type="arabicPlain"/>
            </a:pPr>
            <a:r>
              <a:rPr lang="en-US"/>
              <a:t>Sharing Agents</a:t>
            </a:r>
          </a:p>
          <a:p>
            <a:pPr marL="514350" indent="-514350">
              <a:spcBef>
                <a:spcPts val="600"/>
              </a:spcBef>
              <a:spcAft>
                <a:spcPts val="600"/>
              </a:spcAft>
              <a:buAutoNum type="arabicPlain"/>
            </a:pPr>
            <a:r>
              <a:rPr lang="en-US"/>
              <a:t>Next Steps &amp; Call to Action</a:t>
            </a:r>
          </a:p>
        </p:txBody>
      </p:sp>
      <p:sp>
        <p:nvSpPr>
          <p:cNvPr id="9" name="Title 8">
            <a:extLst>
              <a:ext uri="{FF2B5EF4-FFF2-40B4-BE49-F238E27FC236}">
                <a16:creationId xmlns:a16="http://schemas.microsoft.com/office/drawing/2014/main" id="{4BA1EBAE-1D52-4D45-80BB-BA0E5E112711}"/>
              </a:ext>
            </a:extLst>
          </p:cNvPr>
          <p:cNvSpPr>
            <a:spLocks noGrp="1"/>
          </p:cNvSpPr>
          <p:nvPr>
            <p:ph type="title"/>
          </p:nvPr>
        </p:nvSpPr>
        <p:spPr/>
        <p:txBody>
          <a:bodyPr/>
          <a:lstStyle/>
          <a:p>
            <a:r>
              <a:rPr lang="en-US"/>
              <a:t>Agenda</a:t>
            </a:r>
          </a:p>
        </p:txBody>
      </p:sp>
      <p:cxnSp>
        <p:nvCxnSpPr>
          <p:cNvPr id="11" name="Straight Connector 10">
            <a:extLst>
              <a:ext uri="{FF2B5EF4-FFF2-40B4-BE49-F238E27FC236}">
                <a16:creationId xmlns:a16="http://schemas.microsoft.com/office/drawing/2014/main" id="{1ED95B53-DDF2-6191-A9CC-CC607C737C1E}"/>
              </a:ext>
              <a:ext uri="{C183D7F6-B498-43B3-948B-1728B52AA6E4}">
                <adec:decorative xmlns:adec="http://schemas.microsoft.com/office/drawing/2017/decorative" val="1"/>
              </a:ext>
            </a:extLst>
          </p:cNvPr>
          <p:cNvCxnSpPr>
            <a:cxnSpLocks/>
          </p:cNvCxnSpPr>
          <p:nvPr/>
        </p:nvCxnSpPr>
        <p:spPr>
          <a:xfrm>
            <a:off x="4767746" y="1524000"/>
            <a:ext cx="0" cy="4021483"/>
          </a:xfrm>
          <a:prstGeom prst="line">
            <a:avLst/>
          </a:prstGeom>
          <a:ln w="222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92299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8769FFE3-B4A9-DABD-6587-4FE32909B048}"/>
              </a:ext>
            </a:extLst>
          </p:cNvPr>
          <p:cNvSpPr/>
          <p:nvPr/>
        </p:nvSpPr>
        <p:spPr bwMode="auto">
          <a:xfrm rot="16200000" flipH="1">
            <a:off x="-136453" y="2742488"/>
            <a:ext cx="4025649" cy="2576099"/>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7" name="Picture 6" descr="A qr code on a white background">
            <a:extLst>
              <a:ext uri="{FF2B5EF4-FFF2-40B4-BE49-F238E27FC236}">
                <a16:creationId xmlns:a16="http://schemas.microsoft.com/office/drawing/2014/main" id="{73434B69-5AE9-898D-CD74-79C32E94922A}"/>
              </a:ext>
            </a:extLst>
          </p:cNvPr>
          <p:cNvPicPr>
            <a:picLocks noChangeAspect="1"/>
          </p:cNvPicPr>
          <p:nvPr/>
        </p:nvPicPr>
        <p:blipFill>
          <a:blip r:embed="rId2"/>
          <a:stretch>
            <a:fillRect/>
          </a:stretch>
        </p:blipFill>
        <p:spPr>
          <a:xfrm>
            <a:off x="971115" y="2441954"/>
            <a:ext cx="1810512" cy="1810512"/>
          </a:xfrm>
          <a:prstGeom prst="roundRect">
            <a:avLst>
              <a:gd name="adj" fmla="val 2933"/>
            </a:avLst>
          </a:prstGeom>
          <a:noFill/>
        </p:spPr>
      </p:pic>
      <p:pic>
        <p:nvPicPr>
          <p:cNvPr id="8" name="Graphic 7">
            <a:extLst>
              <a:ext uri="{FF2B5EF4-FFF2-40B4-BE49-F238E27FC236}">
                <a16:creationId xmlns:a16="http://schemas.microsoft.com/office/drawing/2014/main" id="{75B56898-3899-BCD6-7447-3BC0B11179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07588" y="835066"/>
            <a:ext cx="1337566" cy="705394"/>
          </a:xfrm>
          <a:prstGeom prst="rect">
            <a:avLst/>
          </a:prstGeom>
        </p:spPr>
      </p:pic>
      <p:grpSp>
        <p:nvGrpSpPr>
          <p:cNvPr id="9" name="Group 8">
            <a:extLst>
              <a:ext uri="{FF2B5EF4-FFF2-40B4-BE49-F238E27FC236}">
                <a16:creationId xmlns:a16="http://schemas.microsoft.com/office/drawing/2014/main" id="{820D5F12-A3A3-A4CD-77D1-C117AD33C91C}"/>
              </a:ext>
            </a:extLst>
          </p:cNvPr>
          <p:cNvGrpSpPr/>
          <p:nvPr/>
        </p:nvGrpSpPr>
        <p:grpSpPr>
          <a:xfrm>
            <a:off x="370476" y="4696070"/>
            <a:ext cx="7503737" cy="844463"/>
            <a:chOff x="5607459" y="5376024"/>
            <a:chExt cx="5795892" cy="844463"/>
          </a:xfrm>
        </p:grpSpPr>
        <p:sp>
          <p:nvSpPr>
            <p:cNvPr id="10" name="Rectangle: Rounded Corners 11">
              <a:extLst>
                <a:ext uri="{FF2B5EF4-FFF2-40B4-BE49-F238E27FC236}">
                  <a16:creationId xmlns:a16="http://schemas.microsoft.com/office/drawing/2014/main" id="{A5462F07-51EC-FE13-93F4-2314FCEFECD5}"/>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1">
              <a:extLst>
                <a:ext uri="{FF2B5EF4-FFF2-40B4-BE49-F238E27FC236}">
                  <a16:creationId xmlns:a16="http://schemas.microsoft.com/office/drawing/2014/main" id="{E7411E11-9611-5596-57F4-8F8E3C1C7A50}"/>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descr="A blurry image of a blue and orange sky&#10;&#10;AI-generated content may be incorrect.">
            <a:extLst>
              <a:ext uri="{FF2B5EF4-FFF2-40B4-BE49-F238E27FC236}">
                <a16:creationId xmlns:a16="http://schemas.microsoft.com/office/drawing/2014/main" id="{8B53E518-C6A8-9ECF-F889-F03B4CEBA56D}"/>
              </a:ext>
            </a:extLst>
          </p:cNvPr>
          <p:cNvPicPr>
            <a:picLocks noChangeAspect="1"/>
          </p:cNvPicPr>
          <p:nvPr/>
        </p:nvPicPr>
        <p:blipFill>
          <a:blip r:embed="rId5">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3624479" y="2"/>
            <a:ext cx="8567520" cy="6646984"/>
          </a:xfrm>
          <a:prstGeom prst="rect">
            <a:avLst/>
          </a:prstGeom>
          <a:effectLst/>
        </p:spPr>
      </p:pic>
      <p:sp>
        <p:nvSpPr>
          <p:cNvPr id="13" name="TextBox 12">
            <a:extLst>
              <a:ext uri="{FF2B5EF4-FFF2-40B4-BE49-F238E27FC236}">
                <a16:creationId xmlns:a16="http://schemas.microsoft.com/office/drawing/2014/main" id="{C4CABB8F-80F5-8CBA-B0D9-1B0D8B936F4A}"/>
              </a:ext>
            </a:extLst>
          </p:cNvPr>
          <p:cNvSpPr txBox="1"/>
          <p:nvPr/>
        </p:nvSpPr>
        <p:spPr>
          <a:xfrm>
            <a:off x="4088315" y="748860"/>
            <a:ext cx="7532185" cy="867930"/>
          </a:xfrm>
          <a:prstGeom prst="rect">
            <a:avLst/>
          </a:prstGeom>
          <a:noFill/>
          <a:ln>
            <a:noFill/>
            <a:prstDash/>
          </a:ln>
          <a:effectLst/>
        </p:spPr>
        <p:txBody>
          <a:bodyPr wrap="square">
            <a:spAutoFit/>
          </a:bodyPr>
          <a:lstStyle/>
          <a:p>
            <a:pPr algn="ctr">
              <a:lnSpc>
                <a:spcPct val="90000"/>
              </a:lnSpc>
              <a:spcAft>
                <a:spcPts val="1800"/>
              </a:spcAft>
            </a:pPr>
            <a:r>
              <a:rPr lang="en-US"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Visit </a:t>
            </a:r>
            <a:r>
              <a:rPr lang="en-US"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hlinkClick r:id="rId7">
                  <a:extLst>
                    <a:ext uri="{A12FA001-AC4F-418D-AE19-62706E023703}">
                      <ahyp:hlinkClr xmlns:ahyp="http://schemas.microsoft.com/office/drawing/2018/hyperlinkcolor" val="tx"/>
                    </a:ext>
                  </a:extLst>
                </a:hlinkClick>
              </a:rPr>
              <a:t>Customer Hub website </a:t>
            </a:r>
            <a:r>
              <a:rPr lang="en-US"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for upcoming sessions, updates, and on demand contents!</a:t>
            </a:r>
          </a:p>
        </p:txBody>
      </p:sp>
      <p:sp>
        <p:nvSpPr>
          <p:cNvPr id="14" name="Rectangle: Rounded Corners 13">
            <a:extLst>
              <a:ext uri="{FF2B5EF4-FFF2-40B4-BE49-F238E27FC236}">
                <a16:creationId xmlns:a16="http://schemas.microsoft.com/office/drawing/2014/main" id="{DE7ED2F4-D21B-084A-2A38-BC93B81F409C}"/>
              </a:ext>
            </a:extLst>
          </p:cNvPr>
          <p:cNvSpPr/>
          <p:nvPr/>
        </p:nvSpPr>
        <p:spPr bwMode="auto">
          <a:xfrm rot="16200000" flipH="1">
            <a:off x="5821723" y="257308"/>
            <a:ext cx="4052645" cy="7519459"/>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pic>
        <p:nvPicPr>
          <p:cNvPr id="16" name="Picture 15">
            <a:extLst>
              <a:ext uri="{FF2B5EF4-FFF2-40B4-BE49-F238E27FC236}">
                <a16:creationId xmlns:a16="http://schemas.microsoft.com/office/drawing/2014/main" id="{09B68A1B-6C97-5CBE-8BA3-9965A9A3366F}"/>
              </a:ext>
            </a:extLst>
          </p:cNvPr>
          <p:cNvPicPr>
            <a:picLocks noChangeAspect="1"/>
          </p:cNvPicPr>
          <p:nvPr/>
        </p:nvPicPr>
        <p:blipFill>
          <a:blip r:embed="rId8"/>
          <a:stretch>
            <a:fillRect/>
          </a:stretch>
        </p:blipFill>
        <p:spPr>
          <a:xfrm>
            <a:off x="4354189" y="2266134"/>
            <a:ext cx="6987712" cy="3527026"/>
          </a:xfrm>
          <a:prstGeom prst="rect">
            <a:avLst/>
          </a:prstGeom>
        </p:spPr>
      </p:pic>
      <p:sp>
        <p:nvSpPr>
          <p:cNvPr id="18" name="TextBox 17">
            <a:extLst>
              <a:ext uri="{FF2B5EF4-FFF2-40B4-BE49-F238E27FC236}">
                <a16:creationId xmlns:a16="http://schemas.microsoft.com/office/drawing/2014/main" id="{DDBD7BC9-C94D-BA17-C3A3-5295E41DE562}"/>
              </a:ext>
            </a:extLst>
          </p:cNvPr>
          <p:cNvSpPr txBox="1"/>
          <p:nvPr/>
        </p:nvSpPr>
        <p:spPr>
          <a:xfrm>
            <a:off x="711789" y="5033662"/>
            <a:ext cx="2329164" cy="169277"/>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algn="l" defTabSz="914400">
              <a:defRPr/>
            </a:pPr>
            <a:r>
              <a:rPr lang="en-US" sz="1100">
                <a:solidFill>
                  <a:schemeClr val="tx2"/>
                </a:solidFill>
                <a:latin typeface="Segoe Sans Text"/>
                <a:hlinkClick r:id="rId7">
                  <a:extLst>
                    <a:ext uri="{A12FA001-AC4F-418D-AE19-62706E023703}">
                      <ahyp:hlinkClr xmlns:ahyp="http://schemas.microsoft.com/office/drawing/2018/hyperlinkcolor" val="tx"/>
                    </a:ext>
                  </a:extLst>
                </a:hlinkClick>
              </a:rPr>
              <a:t>https://aka.ms/CustomerHubSessions</a:t>
            </a:r>
            <a:r>
              <a:rPr lang="en-US" sz="1100">
                <a:solidFill>
                  <a:schemeClr val="tx2"/>
                </a:solidFill>
                <a:latin typeface="Segoe Sans Text"/>
              </a:rPr>
              <a:t>​</a:t>
            </a:r>
          </a:p>
        </p:txBody>
      </p:sp>
    </p:spTree>
    <p:extLst>
      <p:ext uri="{BB962C8B-B14F-4D97-AF65-F5344CB8AC3E}">
        <p14:creationId xmlns:p14="http://schemas.microsoft.com/office/powerpoint/2010/main" val="206910846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951121-1D4C-791C-4F5A-371E412F531D}"/>
            </a:ext>
          </a:extLst>
        </p:cNvPr>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3C69F6D4-D2D0-01A4-410B-B72D218C33B8}"/>
              </a:ext>
            </a:extLst>
          </p:cNvPr>
          <p:cNvSpPr/>
          <p:nvPr/>
        </p:nvSpPr>
        <p:spPr bwMode="auto">
          <a:xfrm rot="5400000">
            <a:off x="7802228" y="2452113"/>
            <a:ext cx="3909527" cy="3521317"/>
          </a:xfrm>
          <a:prstGeom prst="roundRect">
            <a:avLst>
              <a:gd name="adj" fmla="val 14295"/>
            </a:avLst>
          </a:prstGeom>
          <a:solidFill>
            <a:schemeClr val="tx1">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12" name="Text Placeholder 11">
            <a:extLst>
              <a:ext uri="{FF2B5EF4-FFF2-40B4-BE49-F238E27FC236}">
                <a16:creationId xmlns:a16="http://schemas.microsoft.com/office/drawing/2014/main" id="{4CDE0B7A-8A5F-1F6D-45DB-066A7C44CEF4}"/>
              </a:ext>
            </a:extLst>
          </p:cNvPr>
          <p:cNvSpPr txBox="1">
            <a:spLocks/>
          </p:cNvSpPr>
          <p:nvPr/>
        </p:nvSpPr>
        <p:spPr>
          <a:xfrm>
            <a:off x="8447812" y="2740524"/>
            <a:ext cx="2414260" cy="584775"/>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00000"/>
              <a:buNone/>
            </a:pPr>
            <a:r>
              <a:rPr lang="en-US" sz="1600">
                <a:solidFill>
                  <a:schemeClr val="bg1"/>
                </a:solidFill>
                <a:cs typeface="Segoe UI Light" panose="020B0502040204020203" pitchFamily="34" charset="0"/>
              </a:rPr>
              <a:t>Get more from Copilot and Microsoft 365</a:t>
            </a:r>
          </a:p>
        </p:txBody>
      </p:sp>
      <p:sp>
        <p:nvSpPr>
          <p:cNvPr id="13" name="Text Placeholder 11">
            <a:extLst>
              <a:ext uri="{FF2B5EF4-FFF2-40B4-BE49-F238E27FC236}">
                <a16:creationId xmlns:a16="http://schemas.microsoft.com/office/drawing/2014/main" id="{83645DB9-C3AA-828A-AF3A-C882454D4474}"/>
              </a:ext>
            </a:extLst>
          </p:cNvPr>
          <p:cNvSpPr txBox="1">
            <a:spLocks/>
          </p:cNvSpPr>
          <p:nvPr/>
        </p:nvSpPr>
        <p:spPr>
          <a:xfrm>
            <a:off x="8447812" y="3571527"/>
            <a:ext cx="2606826" cy="338554"/>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00000"/>
              <a:buNone/>
            </a:pPr>
            <a:r>
              <a:rPr lang="en-US" sz="1600">
                <a:solidFill>
                  <a:schemeClr val="bg1"/>
                </a:solidFill>
                <a:cs typeface="Segoe UI Light" panose="020B0502040204020203" pitchFamily="34" charset="0"/>
              </a:rPr>
              <a:t>Help others do the same</a:t>
            </a:r>
          </a:p>
        </p:txBody>
      </p:sp>
      <p:sp>
        <p:nvSpPr>
          <p:cNvPr id="14" name="Text Placeholder 11">
            <a:extLst>
              <a:ext uri="{FF2B5EF4-FFF2-40B4-BE49-F238E27FC236}">
                <a16:creationId xmlns:a16="http://schemas.microsoft.com/office/drawing/2014/main" id="{926B550B-0BE4-8BB9-2A6B-5C4652412844}"/>
              </a:ext>
            </a:extLst>
          </p:cNvPr>
          <p:cNvSpPr txBox="1">
            <a:spLocks/>
          </p:cNvSpPr>
          <p:nvPr/>
        </p:nvSpPr>
        <p:spPr>
          <a:xfrm>
            <a:off x="8447812" y="4156309"/>
            <a:ext cx="2832899" cy="584775"/>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00000"/>
              <a:buNone/>
            </a:pPr>
            <a:r>
              <a:rPr lang="en-US" sz="1600">
                <a:solidFill>
                  <a:schemeClr val="bg1"/>
                </a:solidFill>
                <a:cs typeface="Segoe UI Light" panose="020B0502040204020203" pitchFamily="34" charset="0"/>
              </a:rPr>
              <a:t>Expand your knowledge and enhance your career</a:t>
            </a:r>
          </a:p>
        </p:txBody>
      </p:sp>
      <p:grpSp>
        <p:nvGrpSpPr>
          <p:cNvPr id="2" name="Group 1">
            <a:extLst>
              <a:ext uri="{FF2B5EF4-FFF2-40B4-BE49-F238E27FC236}">
                <a16:creationId xmlns:a16="http://schemas.microsoft.com/office/drawing/2014/main" id="{C3AB5E3B-FCBC-3AB6-0A88-83D37C3F2291}"/>
              </a:ext>
            </a:extLst>
          </p:cNvPr>
          <p:cNvGrpSpPr/>
          <p:nvPr/>
        </p:nvGrpSpPr>
        <p:grpSpPr>
          <a:xfrm>
            <a:off x="6973207" y="5397648"/>
            <a:ext cx="6080320" cy="844463"/>
            <a:chOff x="5607459" y="5376024"/>
            <a:chExt cx="5795892" cy="844463"/>
          </a:xfrm>
        </p:grpSpPr>
        <p:sp>
          <p:nvSpPr>
            <p:cNvPr id="3" name="Rectangle: Rounded Corners 11">
              <a:extLst>
                <a:ext uri="{FF2B5EF4-FFF2-40B4-BE49-F238E27FC236}">
                  <a16:creationId xmlns:a16="http://schemas.microsoft.com/office/drawing/2014/main" id="{E78C4E7F-9DD8-E6F1-FE84-5EFC623D3590}"/>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11">
              <a:extLst>
                <a:ext uri="{FF2B5EF4-FFF2-40B4-BE49-F238E27FC236}">
                  <a16:creationId xmlns:a16="http://schemas.microsoft.com/office/drawing/2014/main" id="{76CFF2BE-0A1F-7BED-5D3B-9C47887A08BB}"/>
                </a:ext>
              </a:extLst>
            </p:cNvPr>
            <p:cNvSpPr/>
            <p:nvPr/>
          </p:nvSpPr>
          <p:spPr>
            <a:xfrm>
              <a:off x="5711416" y="5460239"/>
              <a:ext cx="558797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 name="Picture 4">
            <a:extLst>
              <a:ext uri="{FF2B5EF4-FFF2-40B4-BE49-F238E27FC236}">
                <a16:creationId xmlns:a16="http://schemas.microsoft.com/office/drawing/2014/main" id="{E78E4B0B-6BFD-E406-725E-538C4E07F71E}"/>
              </a:ext>
              <a:ext uri="{C183D7F6-B498-43B3-948B-1728B52AA6E4}">
                <adec:decorative xmlns:adec="http://schemas.microsoft.com/office/drawing/2017/decorative" val="1"/>
              </a:ext>
            </a:extLst>
          </p:cNvPr>
          <p:cNvPicPr>
            <a:picLocks noChangeAspect="1"/>
          </p:cNvPicPr>
          <p:nvPr/>
        </p:nvPicPr>
        <p:blipFill rotWithShape="1">
          <a:blip r:embed="rId2"/>
          <a:srcRect l="370" t="1" r="531" b="29523"/>
          <a:stretch>
            <a:fillRect/>
          </a:stretch>
        </p:blipFill>
        <p:spPr>
          <a:xfrm rot="10800000" flipV="1">
            <a:off x="-9331" y="6675119"/>
            <a:ext cx="12201331" cy="182880"/>
          </a:xfrm>
          <a:prstGeom prst="rect">
            <a:avLst/>
          </a:prstGeom>
          <a:ln>
            <a:noFill/>
          </a:ln>
          <a:effectLst/>
        </p:spPr>
      </p:pic>
      <p:sp>
        <p:nvSpPr>
          <p:cNvPr id="6" name="TextBox 5">
            <a:extLst>
              <a:ext uri="{FF2B5EF4-FFF2-40B4-BE49-F238E27FC236}">
                <a16:creationId xmlns:a16="http://schemas.microsoft.com/office/drawing/2014/main" id="{735E65A0-22E6-878F-9F35-4ABDCF9F5FA4}"/>
              </a:ext>
            </a:extLst>
          </p:cNvPr>
          <p:cNvSpPr txBox="1"/>
          <p:nvPr/>
        </p:nvSpPr>
        <p:spPr>
          <a:xfrm>
            <a:off x="7359578" y="5656660"/>
            <a:ext cx="4103703" cy="30777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algn="ctr" defTabSz="932472" fontAlgn="base">
              <a:spcBef>
                <a:spcPct val="0"/>
              </a:spcBef>
              <a:spcAft>
                <a:spcPct val="0"/>
              </a:spcAft>
              <a:defRPr sz="2000">
                <a:solidFill>
                  <a:srgbClr val="FFFFFF"/>
                </a:solidFill>
                <a:latin typeface="Segoe UI Semibold"/>
              </a:defRPr>
            </a:lvl1pPr>
            <a:lvl2pPr marL="457200" defTabSz="914400">
              <a:defRPr sz="1800">
                <a:solidFill>
                  <a:schemeClr val="lt1"/>
                </a:solidFill>
              </a:defRPr>
            </a:lvl2pPr>
            <a:lvl3pPr marL="914400" defTabSz="914400">
              <a:defRPr sz="1800">
                <a:solidFill>
                  <a:schemeClr val="lt1"/>
                </a:solidFill>
              </a:defRPr>
            </a:lvl3pPr>
            <a:lvl4pPr marL="1371600" defTabSz="914400">
              <a:defRPr sz="1800">
                <a:solidFill>
                  <a:schemeClr val="lt1"/>
                </a:solidFill>
              </a:defRPr>
            </a:lvl4pPr>
            <a:lvl5pPr marL="1828800" defTabSz="914400">
              <a:defRPr sz="1800">
                <a:solidFill>
                  <a:schemeClr val="lt1"/>
                </a:solidFill>
              </a:defRPr>
            </a:lvl5pPr>
            <a:lvl6pPr marL="2286000" defTabSz="914400">
              <a:defRPr sz="1800">
                <a:solidFill>
                  <a:schemeClr val="lt1"/>
                </a:solidFill>
              </a:defRPr>
            </a:lvl6pPr>
            <a:lvl7pPr marL="2743200" defTabSz="914400">
              <a:defRPr sz="1800">
                <a:solidFill>
                  <a:schemeClr val="lt1"/>
                </a:solidFill>
              </a:defRPr>
            </a:lvl7pPr>
            <a:lvl8pPr marL="3200400" defTabSz="914400">
              <a:defRPr sz="1800">
                <a:solidFill>
                  <a:schemeClr val="lt1"/>
                </a:solidFill>
              </a:defRPr>
            </a:lvl8pPr>
            <a:lvl9pPr marL="3657600" defTabSz="914400">
              <a:defRPr sz="1800">
                <a:solidFill>
                  <a:schemeClr val="lt1"/>
                </a:solidFill>
              </a:defRPr>
            </a:lvl9pPr>
          </a:lstStyle>
          <a:p>
            <a:pPr algn="l"/>
            <a:r>
              <a:rPr lang="en-US" sz="1400">
                <a:solidFill>
                  <a:srgbClr val="454142"/>
                </a:solidFill>
                <a:latin typeface="+mn-lt"/>
                <a:cs typeface="Segoe UI Light" panose="020B0502040204020203" pitchFamily="34" charset="0"/>
              </a:rPr>
              <a:t>Join the free program at </a:t>
            </a:r>
            <a:r>
              <a:rPr lang="en-US" sz="1400">
                <a:solidFill>
                  <a:srgbClr val="454142"/>
                </a:solidFill>
                <a:latin typeface="+mn-lt"/>
                <a:cs typeface="Segoe UI Light" panose="020B0502040204020203" pitchFamily="34" charset="0"/>
                <a:hlinkClick r:id="rId3">
                  <a:extLst>
                    <a:ext uri="{A12FA001-AC4F-418D-AE19-62706E023703}">
                      <ahyp:hlinkClr xmlns:ahyp="http://schemas.microsoft.com/office/drawing/2018/hyperlinkcolor" val="tx"/>
                    </a:ext>
                  </a:extLst>
                </a:hlinkClick>
              </a:rPr>
              <a:t>aka.ms/M365Champions</a:t>
            </a:r>
            <a:endParaRPr lang="en-US" sz="1400">
              <a:solidFill>
                <a:srgbClr val="454142"/>
              </a:solidFill>
              <a:latin typeface="+mn-lt"/>
              <a:cs typeface="Segoe UI Light" panose="020B0502040204020203" pitchFamily="34" charset="0"/>
            </a:endParaRPr>
          </a:p>
        </p:txBody>
      </p:sp>
      <p:pic>
        <p:nvPicPr>
          <p:cNvPr id="7" name="Graphic 6">
            <a:extLst>
              <a:ext uri="{FF2B5EF4-FFF2-40B4-BE49-F238E27FC236}">
                <a16:creationId xmlns:a16="http://schemas.microsoft.com/office/drawing/2014/main" id="{787FC857-AD76-E5DB-7117-6E41F8168AC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567746" y="5669679"/>
            <a:ext cx="300404" cy="300400"/>
          </a:xfrm>
          <a:prstGeom prst="rect">
            <a:avLst/>
          </a:prstGeom>
        </p:spPr>
      </p:pic>
      <p:sp>
        <p:nvSpPr>
          <p:cNvPr id="11" name="Text Placeholder 11">
            <a:extLst>
              <a:ext uri="{FF2B5EF4-FFF2-40B4-BE49-F238E27FC236}">
                <a16:creationId xmlns:a16="http://schemas.microsoft.com/office/drawing/2014/main" id="{44C0E704-E7FD-3B7B-5543-6928E83C8734}"/>
              </a:ext>
            </a:extLst>
          </p:cNvPr>
          <p:cNvSpPr txBox="1">
            <a:spLocks/>
          </p:cNvSpPr>
          <p:nvPr/>
        </p:nvSpPr>
        <p:spPr>
          <a:xfrm>
            <a:off x="501162" y="4462312"/>
            <a:ext cx="4303067" cy="866904"/>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500"/>
              </a:spcAft>
              <a:buSzPct val="100000"/>
              <a:buNone/>
            </a:pPr>
            <a:r>
              <a:rPr lang="en-US" sz="1400">
                <a:solidFill>
                  <a:schemeClr val="bg1"/>
                </a:solidFill>
                <a:cs typeface="Segoe UI Light" panose="020B0502040204020203" pitchFamily="34" charset="0"/>
              </a:rPr>
              <a:t>Get more from Copilot and Microsoft 365</a:t>
            </a:r>
          </a:p>
          <a:p>
            <a:pPr marL="0" indent="0">
              <a:spcBef>
                <a:spcPts val="0"/>
              </a:spcBef>
              <a:spcAft>
                <a:spcPts val="500"/>
              </a:spcAft>
              <a:buSzPct val="100000"/>
              <a:buNone/>
            </a:pPr>
            <a:r>
              <a:rPr lang="en-US" sz="1400">
                <a:solidFill>
                  <a:schemeClr val="bg1"/>
                </a:solidFill>
                <a:cs typeface="Segoe UI Light" panose="020B0502040204020203" pitchFamily="34" charset="0"/>
              </a:rPr>
              <a:t>Help others do the same</a:t>
            </a:r>
          </a:p>
          <a:p>
            <a:pPr marL="0" indent="0">
              <a:spcBef>
                <a:spcPts val="0"/>
              </a:spcBef>
              <a:spcAft>
                <a:spcPts val="500"/>
              </a:spcAft>
              <a:buSzPct val="100000"/>
              <a:buNone/>
            </a:pPr>
            <a:r>
              <a:rPr lang="en-US" sz="1400">
                <a:solidFill>
                  <a:schemeClr val="bg1"/>
                </a:solidFill>
                <a:cs typeface="Segoe UI Light" panose="020B0502040204020203" pitchFamily="34" charset="0"/>
              </a:rPr>
              <a:t>Expand your knowledge and enhance your career</a:t>
            </a:r>
          </a:p>
        </p:txBody>
      </p:sp>
      <p:sp>
        <p:nvSpPr>
          <p:cNvPr id="15" name="TextBox 14">
            <a:extLst>
              <a:ext uri="{FF2B5EF4-FFF2-40B4-BE49-F238E27FC236}">
                <a16:creationId xmlns:a16="http://schemas.microsoft.com/office/drawing/2014/main" id="{69FF5A09-9F9A-5F67-1766-596598E165CF}"/>
              </a:ext>
            </a:extLst>
          </p:cNvPr>
          <p:cNvSpPr txBox="1"/>
          <p:nvPr/>
        </p:nvSpPr>
        <p:spPr>
          <a:xfrm>
            <a:off x="455769" y="1153569"/>
            <a:ext cx="6903809" cy="3157788"/>
          </a:xfrm>
          <a:prstGeom prst="rect">
            <a:avLst/>
          </a:prstGeom>
          <a:noFill/>
          <a:ln>
            <a:noFill/>
            <a:prstDash/>
          </a:ln>
          <a:effectLst/>
        </p:spPr>
        <p:txBody>
          <a:bodyPr wrap="square">
            <a:spAutoFit/>
          </a:bodyPr>
          <a:lstStyle/>
          <a:p>
            <a:pPr>
              <a:lnSpc>
                <a:spcPct val="80000"/>
              </a:lnSpc>
              <a:spcAft>
                <a:spcPts val="1800"/>
              </a:spcAft>
            </a:pPr>
            <a:r>
              <a:rPr lang="en-US" sz="36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Make a difference</a:t>
            </a:r>
          </a:p>
          <a:p>
            <a:pPr marL="800100">
              <a:lnSpc>
                <a:spcPct val="80000"/>
              </a:lnSpc>
              <a:spcAft>
                <a:spcPts val="600"/>
              </a:spcAft>
            </a:pPr>
            <a:r>
              <a:rPr lang="en-US" sz="94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Become a</a:t>
            </a:r>
          </a:p>
          <a:p>
            <a:pPr marL="800100">
              <a:lnSpc>
                <a:spcPct val="80000"/>
              </a:lnSpc>
              <a:spcAft>
                <a:spcPts val="600"/>
              </a:spcAft>
            </a:pPr>
            <a:r>
              <a:rPr lang="en-US" sz="94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Champion</a:t>
            </a:r>
          </a:p>
        </p:txBody>
      </p:sp>
    </p:spTree>
    <p:extLst>
      <p:ext uri="{BB962C8B-B14F-4D97-AF65-F5344CB8AC3E}">
        <p14:creationId xmlns:p14="http://schemas.microsoft.com/office/powerpoint/2010/main" val="418700525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EB574C26-438B-9E3E-82EC-D8F28756706E}"/>
              </a:ext>
            </a:extLst>
          </p:cNvPr>
          <p:cNvSpPr/>
          <p:nvPr/>
        </p:nvSpPr>
        <p:spPr bwMode="auto">
          <a:xfrm rot="16200000" flipH="1">
            <a:off x="7444947" y="2092709"/>
            <a:ext cx="4778309" cy="3072762"/>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4" name="Picture 2" descr="A QR code">
            <a:extLst>
              <a:ext uri="{FF2B5EF4-FFF2-40B4-BE49-F238E27FC236}">
                <a16:creationId xmlns:a16="http://schemas.microsoft.com/office/drawing/2014/main" id="{E0CEA7AE-2C4E-9AEE-E196-A14037070F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32636" y="1616582"/>
            <a:ext cx="2202932" cy="2202930"/>
          </a:xfrm>
          <a:prstGeom prst="roundRect">
            <a:avLst>
              <a:gd name="adj" fmla="val 2933"/>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FE95CE7F-4B9E-E2B6-19AF-B22BAEFF52D9}"/>
              </a:ext>
            </a:extLst>
          </p:cNvPr>
          <p:cNvGrpSpPr/>
          <p:nvPr/>
        </p:nvGrpSpPr>
        <p:grpSpPr>
          <a:xfrm>
            <a:off x="4491348" y="4140925"/>
            <a:ext cx="7503737" cy="844463"/>
            <a:chOff x="5607459" y="5376024"/>
            <a:chExt cx="5795892" cy="844463"/>
          </a:xfrm>
        </p:grpSpPr>
        <p:sp>
          <p:nvSpPr>
            <p:cNvPr id="6" name="Rectangle: Rounded Corners 11">
              <a:extLst>
                <a:ext uri="{FF2B5EF4-FFF2-40B4-BE49-F238E27FC236}">
                  <a16:creationId xmlns:a16="http://schemas.microsoft.com/office/drawing/2014/main" id="{B31A9F0F-D339-2CF1-AE14-AAA60BFD4372}"/>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11">
              <a:extLst>
                <a:ext uri="{FF2B5EF4-FFF2-40B4-BE49-F238E27FC236}">
                  <a16:creationId xmlns:a16="http://schemas.microsoft.com/office/drawing/2014/main" id="{C2895031-2100-907D-B0E1-B5CD30A4FB47}"/>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TextBox 7">
            <a:extLst>
              <a:ext uri="{FF2B5EF4-FFF2-40B4-BE49-F238E27FC236}">
                <a16:creationId xmlns:a16="http://schemas.microsoft.com/office/drawing/2014/main" id="{D97A4B4F-8A86-8C8C-C020-6F19A5DEFEAC}"/>
              </a:ext>
            </a:extLst>
          </p:cNvPr>
          <p:cNvSpPr txBox="1"/>
          <p:nvPr/>
        </p:nvSpPr>
        <p:spPr>
          <a:xfrm>
            <a:off x="5614517" y="4424657"/>
            <a:ext cx="2319930" cy="276999"/>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noProof="0">
                <a:ln>
                  <a:noFill/>
                </a:ln>
                <a:solidFill>
                  <a:schemeClr val="tx2"/>
                </a:solidFill>
                <a:effectLst/>
                <a:uLnTx/>
                <a:uFillTx/>
                <a:latin typeface="Segoe Sans Display Semibold"/>
                <a:ea typeface="+mn-ea"/>
                <a:cs typeface="+mn-cs"/>
                <a:hlinkClick r:id="rId3">
                  <a:extLst>
                    <a:ext uri="{A12FA001-AC4F-418D-AE19-62706E023703}">
                      <ahyp:hlinkClr xmlns:ahyp="http://schemas.microsoft.com/office/drawing/2018/hyperlinkcolor" val="tx"/>
                    </a:ext>
                  </a:extLst>
                </a:hlinkClick>
              </a:rPr>
              <a:t>Customer Hub Survey</a:t>
            </a:r>
            <a:endParaRPr kumimoji="0" lang="en-US" sz="1800" b="0" i="0" u="none" strike="noStrike" kern="1200" cap="none" spc="0" normalizeH="0" noProof="0">
              <a:ln>
                <a:noFill/>
              </a:ln>
              <a:solidFill>
                <a:schemeClr val="tx2"/>
              </a:solidFill>
              <a:effectLst/>
              <a:uLnTx/>
              <a:uFillTx/>
              <a:latin typeface="Segoe Sans Display Semibold"/>
              <a:ea typeface="+mn-ea"/>
              <a:cs typeface="+mn-cs"/>
            </a:endParaRPr>
          </a:p>
        </p:txBody>
      </p:sp>
      <p:sp>
        <p:nvSpPr>
          <p:cNvPr id="9" name="TextBox 8">
            <a:extLst>
              <a:ext uri="{FF2B5EF4-FFF2-40B4-BE49-F238E27FC236}">
                <a16:creationId xmlns:a16="http://schemas.microsoft.com/office/drawing/2014/main" id="{B423CCA0-76FD-A476-81B5-C277DC3A8A6B}"/>
              </a:ext>
            </a:extLst>
          </p:cNvPr>
          <p:cNvSpPr txBox="1"/>
          <p:nvPr/>
        </p:nvSpPr>
        <p:spPr>
          <a:xfrm>
            <a:off x="8688756" y="4455434"/>
            <a:ext cx="2290692" cy="215444"/>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noProof="0">
                <a:ln>
                  <a:noFill/>
                </a:ln>
                <a:solidFill>
                  <a:schemeClr val="tx2"/>
                </a:solidFill>
                <a:effectLst/>
                <a:uLnTx/>
                <a:uFillTx/>
                <a:latin typeface="Segoe Sans Text"/>
                <a:ea typeface="+mn-ea"/>
                <a:cs typeface="+mn-cs"/>
                <a:hlinkClick r:id="rId3">
                  <a:extLst>
                    <a:ext uri="{A12FA001-AC4F-418D-AE19-62706E023703}">
                      <ahyp:hlinkClr xmlns:ahyp="http://schemas.microsoft.com/office/drawing/2018/hyperlinkcolor" val="tx"/>
                    </a:ext>
                  </a:extLst>
                </a:hlinkClick>
              </a:rPr>
              <a:t>aka.ms/</a:t>
            </a:r>
            <a:r>
              <a:rPr kumimoji="0" lang="en-US" sz="1400" b="0" i="0" u="none" strike="noStrike" kern="1200" cap="none" spc="0" normalizeH="0" noProof="0" err="1">
                <a:ln>
                  <a:noFill/>
                </a:ln>
                <a:solidFill>
                  <a:schemeClr val="tx2"/>
                </a:solidFill>
                <a:effectLst/>
                <a:uLnTx/>
                <a:uFillTx/>
                <a:latin typeface="Segoe Sans Text"/>
                <a:ea typeface="+mn-ea"/>
                <a:cs typeface="+mn-cs"/>
                <a:hlinkClick r:id="rId3">
                  <a:extLst>
                    <a:ext uri="{A12FA001-AC4F-418D-AE19-62706E023703}">
                      <ahyp:hlinkClr xmlns:ahyp="http://schemas.microsoft.com/office/drawing/2018/hyperlinkcolor" val="tx"/>
                    </a:ext>
                  </a:extLst>
                </a:hlinkClick>
              </a:rPr>
              <a:t>CustomerHubSurvey</a:t>
            </a:r>
            <a:r>
              <a:rPr kumimoji="0" lang="en-US" sz="1400" b="0" i="0" u="none" strike="noStrike" kern="1200" cap="none" spc="0" normalizeH="0" noProof="0">
                <a:ln>
                  <a:noFill/>
                </a:ln>
                <a:solidFill>
                  <a:schemeClr val="tx2"/>
                </a:solidFill>
                <a:effectLst/>
                <a:uLnTx/>
                <a:uFillTx/>
                <a:latin typeface="Segoe Sans Text"/>
                <a:ea typeface="+mn-ea"/>
                <a:cs typeface="+mn-cs"/>
                <a:hlinkClick r:id="rId3">
                  <a:extLst>
                    <a:ext uri="{A12FA001-AC4F-418D-AE19-62706E023703}">
                      <ahyp:hlinkClr xmlns:ahyp="http://schemas.microsoft.com/office/drawing/2018/hyperlinkcolor" val="tx"/>
                    </a:ext>
                  </a:extLst>
                </a:hlinkClick>
              </a:rPr>
              <a:t> </a:t>
            </a:r>
            <a:endParaRPr kumimoji="0" lang="en-US" sz="1400" b="0" i="0" u="none" strike="noStrike" kern="1200" cap="none" spc="0" normalizeH="0" noProof="0">
              <a:ln>
                <a:noFill/>
              </a:ln>
              <a:solidFill>
                <a:schemeClr val="tx2"/>
              </a:solidFill>
              <a:effectLst/>
              <a:uLnTx/>
              <a:uFillTx/>
              <a:latin typeface="Segoe Sans Text"/>
              <a:ea typeface="+mn-ea"/>
              <a:cs typeface="+mn-cs"/>
            </a:endParaRPr>
          </a:p>
        </p:txBody>
      </p:sp>
      <p:cxnSp>
        <p:nvCxnSpPr>
          <p:cNvPr id="10" name="Straight Connector 9">
            <a:extLst>
              <a:ext uri="{FF2B5EF4-FFF2-40B4-BE49-F238E27FC236}">
                <a16:creationId xmlns:a16="http://schemas.microsoft.com/office/drawing/2014/main" id="{75AE50B5-E83E-D89F-14B2-82C4F27EC20A}"/>
              </a:ext>
              <a:ext uri="{C183D7F6-B498-43B3-948B-1728B52AA6E4}">
                <adec:decorative xmlns:adec="http://schemas.microsoft.com/office/drawing/2017/decorative" val="1"/>
              </a:ext>
            </a:extLst>
          </p:cNvPr>
          <p:cNvCxnSpPr>
            <a:cxnSpLocks/>
          </p:cNvCxnSpPr>
          <p:nvPr/>
        </p:nvCxnSpPr>
        <p:spPr>
          <a:xfrm>
            <a:off x="8297721" y="4393752"/>
            <a:ext cx="0" cy="338809"/>
          </a:xfrm>
          <a:prstGeom prst="line">
            <a:avLst/>
          </a:prstGeom>
          <a:ln w="12700">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2A3C751-AA86-5CCC-1606-E07694130D4A}"/>
              </a:ext>
              <a:ext uri="{C183D7F6-B498-43B3-948B-1728B52AA6E4}">
                <adec:decorative xmlns:adec="http://schemas.microsoft.com/office/drawing/2017/decorative" val="1"/>
              </a:ext>
            </a:extLst>
          </p:cNvPr>
          <p:cNvSpPr txBox="1"/>
          <p:nvPr/>
        </p:nvSpPr>
        <p:spPr>
          <a:xfrm>
            <a:off x="6170438" y="1838848"/>
            <a:ext cx="1764009" cy="430887"/>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noProof="0">
                <a:ln>
                  <a:noFill/>
                </a:ln>
                <a:solidFill>
                  <a:schemeClr val="bg1"/>
                </a:solidFill>
                <a:effectLst/>
                <a:uLnTx/>
                <a:uFillTx/>
                <a:latin typeface="+mj-lt"/>
                <a:ea typeface="+mn-ea"/>
                <a:cs typeface="+mn-cs"/>
              </a:rPr>
              <a:t>Scan with your mobile device camera</a:t>
            </a:r>
          </a:p>
        </p:txBody>
      </p:sp>
      <p:sp>
        <p:nvSpPr>
          <p:cNvPr id="13" name="TextBox 12">
            <a:extLst>
              <a:ext uri="{FF2B5EF4-FFF2-40B4-BE49-F238E27FC236}">
                <a16:creationId xmlns:a16="http://schemas.microsoft.com/office/drawing/2014/main" id="{B9DB2F65-825D-538A-E6EA-44804CBDBD3D}"/>
              </a:ext>
            </a:extLst>
          </p:cNvPr>
          <p:cNvSpPr txBox="1"/>
          <p:nvPr/>
        </p:nvSpPr>
        <p:spPr>
          <a:xfrm>
            <a:off x="7160196" y="2610326"/>
            <a:ext cx="774251" cy="430887"/>
          </a:xfrm>
          <a:prstGeom prst="rect">
            <a:avLst/>
          </a:prstGeom>
          <a:noFill/>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noProof="0">
                <a:ln>
                  <a:noFill/>
                </a:ln>
                <a:solidFill>
                  <a:schemeClr val="bg1"/>
                </a:solidFill>
                <a:effectLst/>
                <a:uLnTx/>
                <a:uFillTx/>
                <a:latin typeface="+mj-lt"/>
                <a:ea typeface="+mn-ea"/>
                <a:cs typeface="+mn-cs"/>
              </a:rPr>
              <a:t>-OR-</a:t>
            </a:r>
          </a:p>
        </p:txBody>
      </p:sp>
      <p:sp>
        <p:nvSpPr>
          <p:cNvPr id="14" name="TextBox 13">
            <a:extLst>
              <a:ext uri="{FF2B5EF4-FFF2-40B4-BE49-F238E27FC236}">
                <a16:creationId xmlns:a16="http://schemas.microsoft.com/office/drawing/2014/main" id="{6C92478C-9060-36A9-FFAF-A9F33635E5BF}"/>
              </a:ext>
            </a:extLst>
          </p:cNvPr>
          <p:cNvSpPr txBox="1"/>
          <p:nvPr/>
        </p:nvSpPr>
        <p:spPr>
          <a:xfrm>
            <a:off x="7387022" y="3381803"/>
            <a:ext cx="338233" cy="215444"/>
          </a:xfrm>
          <a:prstGeom prst="rect">
            <a:avLst/>
          </a:prstGeom>
          <a:noFill/>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noProof="0">
                <a:ln>
                  <a:noFill/>
                </a:ln>
                <a:solidFill>
                  <a:schemeClr val="bg1"/>
                </a:solidFill>
                <a:effectLst/>
                <a:uLnTx/>
                <a:uFillTx/>
                <a:latin typeface="+mj-lt"/>
                <a:ea typeface="+mn-ea"/>
                <a:cs typeface="+mn-cs"/>
              </a:rPr>
              <a:t>Visit</a:t>
            </a:r>
          </a:p>
        </p:txBody>
      </p:sp>
      <p:pic>
        <p:nvPicPr>
          <p:cNvPr id="15" name="Picture 14" descr="A blurry image of a blue and orange sky&#10;&#10;AI-generated content may be incorrect.">
            <a:extLst>
              <a:ext uri="{FF2B5EF4-FFF2-40B4-BE49-F238E27FC236}">
                <a16:creationId xmlns:a16="http://schemas.microsoft.com/office/drawing/2014/main" id="{0063B506-7055-28E0-DEF9-F8AAC471EEF3}"/>
              </a:ext>
            </a:extLst>
          </p:cNvPr>
          <p:cNvPicPr>
            <a:picLocks noChangeAspect="1"/>
          </p:cNvPicPr>
          <p:nvPr/>
        </p:nvPicPr>
        <p:blipFill>
          <a:blip r:embed="rId4">
            <a:alphaModFix/>
            <a:extLst>
              <a:ext uri="{BEBA8EAE-BF5A-486C-A8C5-ECC9F3942E4B}">
                <a14:imgProps xmlns:a14="http://schemas.microsoft.com/office/drawing/2010/main">
                  <a14:imgLayer r:embed="rId5">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0" y="0"/>
            <a:ext cx="5143502" cy="6675118"/>
          </a:xfrm>
          <a:prstGeom prst="rect">
            <a:avLst/>
          </a:prstGeom>
          <a:effectLst/>
        </p:spPr>
      </p:pic>
      <p:sp>
        <p:nvSpPr>
          <p:cNvPr id="18" name="Title 19">
            <a:extLst>
              <a:ext uri="{FF2B5EF4-FFF2-40B4-BE49-F238E27FC236}">
                <a16:creationId xmlns:a16="http://schemas.microsoft.com/office/drawing/2014/main" id="{23B379DE-A416-BAF3-D079-7F2CA492E061}"/>
              </a:ext>
            </a:extLst>
          </p:cNvPr>
          <p:cNvSpPr txBox="1">
            <a:spLocks/>
          </p:cNvSpPr>
          <p:nvPr/>
        </p:nvSpPr>
        <p:spPr>
          <a:xfrm>
            <a:off x="588263" y="457200"/>
            <a:ext cx="4393312" cy="1588127"/>
          </a:xfrm>
          <a:prstGeom prst="rect">
            <a:avLst/>
          </a:prstGeom>
        </p:spPr>
        <p:txBody>
          <a:bodyPr vert="horz" wrap="square" lIns="0" tIns="45720" rIns="0" bIns="45720" rtlCol="0" anchor="t">
            <a:spAutoFit/>
          </a:bodyPr>
          <a:lst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pPr defTabSz="914400">
              <a:lnSpc>
                <a:spcPct val="90000"/>
              </a:lnSpc>
            </a:pPr>
            <a:r>
              <a:rPr lang="en-US" spc="0"/>
              <a:t>THANK YOU –</a:t>
            </a:r>
            <a:br>
              <a:rPr lang="en-US" spc="0"/>
            </a:br>
            <a:r>
              <a:rPr lang="en-US" spc="0"/>
              <a:t>Your feedback is critical</a:t>
            </a:r>
          </a:p>
        </p:txBody>
      </p:sp>
      <p:sp>
        <p:nvSpPr>
          <p:cNvPr id="19" name="TextBox 18">
            <a:extLst>
              <a:ext uri="{FF2B5EF4-FFF2-40B4-BE49-F238E27FC236}">
                <a16:creationId xmlns:a16="http://schemas.microsoft.com/office/drawing/2014/main" id="{5B58808B-612F-B5E0-ED1C-2E295298D00F}"/>
              </a:ext>
            </a:extLst>
          </p:cNvPr>
          <p:cNvSpPr txBox="1"/>
          <p:nvPr/>
        </p:nvSpPr>
        <p:spPr>
          <a:xfrm>
            <a:off x="588263" y="3183661"/>
            <a:ext cx="3645956" cy="195489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1200"/>
              </a:spcAft>
              <a:buClrTx/>
              <a:buSzTx/>
              <a:buFontTx/>
              <a:buNone/>
              <a:tabLst/>
              <a:defRPr/>
            </a:pPr>
            <a:r>
              <a:rPr lang="en-US" sz="1800">
                <a:solidFill>
                  <a:schemeClr val="bg1"/>
                </a:solidFill>
                <a:cs typeface="Segoe UI Light"/>
              </a:rPr>
              <a:t>We’re committed to making your </a:t>
            </a:r>
            <a:r>
              <a:rPr lang="en-US" sz="1800" b="1">
                <a:solidFill>
                  <a:schemeClr val="bg1"/>
                </a:solidFill>
                <a:cs typeface="Segoe UI Light"/>
              </a:rPr>
              <a:t>Customer Hub </a:t>
            </a:r>
            <a:r>
              <a:rPr lang="en-US" sz="1800">
                <a:solidFill>
                  <a:schemeClr val="bg1"/>
                </a:solidFill>
                <a:cs typeface="Segoe UI Light"/>
              </a:rPr>
              <a:t>experience the best it can be – and your feedback is a critical component to that.</a:t>
            </a:r>
          </a:p>
          <a:p>
            <a:pPr marL="0" marR="0" lvl="0" indent="0" algn="l" defTabSz="914400" rtl="0" eaLnBrk="1" fontAlgn="auto" latinLnBrk="0" hangingPunct="1">
              <a:lnSpc>
                <a:spcPct val="110000"/>
              </a:lnSpc>
              <a:spcBef>
                <a:spcPts val="0"/>
              </a:spcBef>
              <a:spcAft>
                <a:spcPts val="1200"/>
              </a:spcAft>
              <a:buClrTx/>
              <a:buSzTx/>
              <a:buFontTx/>
              <a:buNone/>
              <a:tabLst/>
              <a:defRPr/>
            </a:pPr>
            <a:r>
              <a:rPr lang="en-US" sz="1800">
                <a:solidFill>
                  <a:schemeClr val="bg1"/>
                </a:solidFill>
                <a:cs typeface="Segoe UI Light" panose="020B0502040204020203" pitchFamily="34" charset="0"/>
              </a:rPr>
              <a:t>Before you scoot, please take a moment to provide some feedback.</a:t>
            </a:r>
          </a:p>
        </p:txBody>
      </p:sp>
      <p:sp>
        <p:nvSpPr>
          <p:cNvPr id="20" name="Graphic 3">
            <a:extLst>
              <a:ext uri="{FF2B5EF4-FFF2-40B4-BE49-F238E27FC236}">
                <a16:creationId xmlns:a16="http://schemas.microsoft.com/office/drawing/2014/main" id="{A64DB5FA-1813-0E1E-B6B4-7AD949EB203C}"/>
              </a:ext>
              <a:ext uri="{C183D7F6-B498-43B3-948B-1728B52AA6E4}">
                <adec:decorative xmlns:adec="http://schemas.microsoft.com/office/drawing/2017/decorative" val="1"/>
              </a:ext>
            </a:extLst>
          </p:cNvPr>
          <p:cNvSpPr/>
          <p:nvPr/>
        </p:nvSpPr>
        <p:spPr>
          <a:xfrm>
            <a:off x="588262" y="2556747"/>
            <a:ext cx="447435" cy="404469"/>
          </a:xfrm>
          <a:custGeom>
            <a:avLst/>
            <a:gdLst>
              <a:gd name="connsiteX0" fmla="*/ 97511 w 190073"/>
              <a:gd name="connsiteY0" fmla="*/ 0 h 171822"/>
              <a:gd name="connsiteX1" fmla="*/ 91986 w 190073"/>
              <a:gd name="connsiteY1" fmla="*/ 2629 h 171822"/>
              <a:gd name="connsiteX2" fmla="*/ 91434 w 190073"/>
              <a:gd name="connsiteY2" fmla="*/ 3039 h 171822"/>
              <a:gd name="connsiteX3" fmla="*/ 31750 w 190073"/>
              <a:gd name="connsiteY3" fmla="*/ 17831 h 171822"/>
              <a:gd name="connsiteX4" fmla="*/ 15215 w 190073"/>
              <a:gd name="connsiteY4" fmla="*/ 70314 h 171822"/>
              <a:gd name="connsiteX5" fmla="*/ 15072 w 190073"/>
              <a:gd name="connsiteY5" fmla="*/ 70457 h 171822"/>
              <a:gd name="connsiteX6" fmla="*/ 5947 w 190073"/>
              <a:gd name="connsiteY6" fmla="*/ 79515 h 171822"/>
              <a:gd name="connsiteX7" fmla="*/ 5815 w 190073"/>
              <a:gd name="connsiteY7" fmla="*/ 107910 h 171822"/>
              <a:gd name="connsiteX8" fmla="*/ 5947 w 190073"/>
              <a:gd name="connsiteY8" fmla="*/ 108043 h 171822"/>
              <a:gd name="connsiteX9" fmla="*/ 23025 w 190073"/>
              <a:gd name="connsiteY9" fmla="*/ 113767 h 171822"/>
              <a:gd name="connsiteX10" fmla="*/ 40961 w 190073"/>
              <a:gd name="connsiteY10" fmla="*/ 128607 h 171822"/>
              <a:gd name="connsiteX11" fmla="*/ 60173 w 190073"/>
              <a:gd name="connsiteY11" fmla="*/ 147105 h 171822"/>
              <a:gd name="connsiteX12" fmla="*/ 66098 w 190073"/>
              <a:gd name="connsiteY12" fmla="*/ 160354 h 171822"/>
              <a:gd name="connsiteX13" fmla="*/ 92644 w 190073"/>
              <a:gd name="connsiteY13" fmla="*/ 162230 h 171822"/>
              <a:gd name="connsiteX14" fmla="*/ 96330 w 190073"/>
              <a:gd name="connsiteY14" fmla="*/ 165888 h 171822"/>
              <a:gd name="connsiteX15" fmla="*/ 125172 w 190073"/>
              <a:gd name="connsiteY15" fmla="*/ 165888 h 171822"/>
              <a:gd name="connsiteX16" fmla="*/ 131077 w 190073"/>
              <a:gd name="connsiteY16" fmla="*/ 153334 h 171822"/>
              <a:gd name="connsiteX17" fmla="*/ 149556 w 190073"/>
              <a:gd name="connsiteY17" fmla="*/ 134932 h 171822"/>
              <a:gd name="connsiteX18" fmla="*/ 167367 w 190073"/>
              <a:gd name="connsiteY18" fmla="*/ 119654 h 171822"/>
              <a:gd name="connsiteX19" fmla="*/ 184131 w 190073"/>
              <a:gd name="connsiteY19" fmla="*/ 113881 h 171822"/>
              <a:gd name="connsiteX20" fmla="*/ 184254 w 190073"/>
              <a:gd name="connsiteY20" fmla="*/ 85486 h 171822"/>
              <a:gd name="connsiteX21" fmla="*/ 184131 w 190073"/>
              <a:gd name="connsiteY21" fmla="*/ 85364 h 171822"/>
              <a:gd name="connsiteX22" fmla="*/ 176197 w 190073"/>
              <a:gd name="connsiteY22" fmla="*/ 77467 h 171822"/>
              <a:gd name="connsiteX23" fmla="*/ 177835 w 190073"/>
              <a:gd name="connsiteY23" fmla="*/ 71124 h 171822"/>
              <a:gd name="connsiteX24" fmla="*/ 172835 w 190073"/>
              <a:gd name="connsiteY24" fmla="*/ 30138 h 171822"/>
              <a:gd name="connsiteX25" fmla="*/ 122324 w 190073"/>
              <a:gd name="connsiteY25" fmla="*/ 39 h 171822"/>
              <a:gd name="connsiteX26" fmla="*/ 107017 w 190073"/>
              <a:gd name="connsiteY26" fmla="*/ 39 h 171822"/>
              <a:gd name="connsiteX27" fmla="*/ 105055 w 190073"/>
              <a:gd name="connsiteY27" fmla="*/ 0 h 171822"/>
              <a:gd name="connsiteX28" fmla="*/ 97521 w 190073"/>
              <a:gd name="connsiteY28" fmla="*/ 0 h 171822"/>
              <a:gd name="connsiteX29" fmla="*/ 125372 w 190073"/>
              <a:gd name="connsiteY29" fmla="*/ 47102 h 171822"/>
              <a:gd name="connsiteX30" fmla="*/ 158366 w 190073"/>
              <a:gd name="connsiteY30" fmla="*/ 79887 h 171822"/>
              <a:gd name="connsiteX31" fmla="*/ 158395 w 190073"/>
              <a:gd name="connsiteY31" fmla="*/ 79925 h 171822"/>
              <a:gd name="connsiteX32" fmla="*/ 158528 w 190073"/>
              <a:gd name="connsiteY32" fmla="*/ 80049 h 171822"/>
              <a:gd name="connsiteX33" fmla="*/ 174006 w 190073"/>
              <a:gd name="connsiteY33" fmla="*/ 95431 h 171822"/>
              <a:gd name="connsiteX34" fmla="*/ 174037 w 190073"/>
              <a:gd name="connsiteY34" fmla="*/ 103783 h 171822"/>
              <a:gd name="connsiteX35" fmla="*/ 174006 w 190073"/>
              <a:gd name="connsiteY35" fmla="*/ 103813 h 171822"/>
              <a:gd name="connsiteX36" fmla="*/ 165567 w 190073"/>
              <a:gd name="connsiteY36" fmla="*/ 103813 h 171822"/>
              <a:gd name="connsiteX37" fmla="*/ 150089 w 190073"/>
              <a:gd name="connsiteY37" fmla="*/ 88431 h 171822"/>
              <a:gd name="connsiteX38" fmla="*/ 139954 w 190073"/>
              <a:gd name="connsiteY38" fmla="*/ 88431 h 171822"/>
              <a:gd name="connsiteX39" fmla="*/ 139802 w 190073"/>
              <a:gd name="connsiteY39" fmla="*/ 88593 h 171822"/>
              <a:gd name="connsiteX40" fmla="*/ 139756 w 190073"/>
              <a:gd name="connsiteY40" fmla="*/ 98615 h 171822"/>
              <a:gd name="connsiteX41" fmla="*/ 139802 w 190073"/>
              <a:gd name="connsiteY41" fmla="*/ 98660 h 171822"/>
              <a:gd name="connsiteX42" fmla="*/ 151861 w 190073"/>
              <a:gd name="connsiteY42" fmla="*/ 110652 h 171822"/>
              <a:gd name="connsiteX43" fmla="*/ 151891 w 190073"/>
              <a:gd name="connsiteY43" fmla="*/ 119004 h 171822"/>
              <a:gd name="connsiteX44" fmla="*/ 151861 w 190073"/>
              <a:gd name="connsiteY44" fmla="*/ 119034 h 171822"/>
              <a:gd name="connsiteX45" fmla="*/ 144060 w 190073"/>
              <a:gd name="connsiteY45" fmla="*/ 119606 h 171822"/>
              <a:gd name="connsiteX46" fmla="*/ 134658 w 190073"/>
              <a:gd name="connsiteY46" fmla="*/ 120273 h 171822"/>
              <a:gd name="connsiteX47" fmla="*/ 134068 w 190073"/>
              <a:gd name="connsiteY47" fmla="*/ 129626 h 171822"/>
              <a:gd name="connsiteX48" fmla="*/ 133544 w 190073"/>
              <a:gd name="connsiteY48" fmla="*/ 137427 h 171822"/>
              <a:gd name="connsiteX49" fmla="*/ 125638 w 190073"/>
              <a:gd name="connsiteY49" fmla="*/ 137903 h 171822"/>
              <a:gd name="connsiteX50" fmla="*/ 116161 w 190073"/>
              <a:gd name="connsiteY50" fmla="*/ 138446 h 171822"/>
              <a:gd name="connsiteX51" fmla="*/ 115551 w 190073"/>
              <a:gd name="connsiteY51" fmla="*/ 147867 h 171822"/>
              <a:gd name="connsiteX52" fmla="*/ 115037 w 190073"/>
              <a:gd name="connsiteY52" fmla="*/ 155810 h 171822"/>
              <a:gd name="connsiteX53" fmla="*/ 106464 w 190073"/>
              <a:gd name="connsiteY53" fmla="*/ 155810 h 171822"/>
              <a:gd name="connsiteX54" fmla="*/ 102921 w 190073"/>
              <a:gd name="connsiteY54" fmla="*/ 152296 h 171822"/>
              <a:gd name="connsiteX55" fmla="*/ 103921 w 190073"/>
              <a:gd name="connsiteY55" fmla="*/ 151296 h 171822"/>
              <a:gd name="connsiteX56" fmla="*/ 104044 w 190073"/>
              <a:gd name="connsiteY56" fmla="*/ 122901 h 171822"/>
              <a:gd name="connsiteX57" fmla="*/ 103921 w 190073"/>
              <a:gd name="connsiteY57" fmla="*/ 122778 h 171822"/>
              <a:gd name="connsiteX58" fmla="*/ 90586 w 190073"/>
              <a:gd name="connsiteY58" fmla="*/ 116891 h 171822"/>
              <a:gd name="connsiteX59" fmla="*/ 71974 w 190073"/>
              <a:gd name="connsiteY59" fmla="*/ 97803 h 171822"/>
              <a:gd name="connsiteX60" fmla="*/ 66098 w 190073"/>
              <a:gd name="connsiteY60" fmla="*/ 85192 h 171822"/>
              <a:gd name="connsiteX61" fmla="*/ 49019 w 190073"/>
              <a:gd name="connsiteY61" fmla="*/ 79468 h 171822"/>
              <a:gd name="connsiteX62" fmla="*/ 28845 w 190073"/>
              <a:gd name="connsiteY62" fmla="*/ 64561 h 171822"/>
              <a:gd name="connsiteX63" fmla="*/ 41885 w 190073"/>
              <a:gd name="connsiteY63" fmla="*/ 27890 h 171822"/>
              <a:gd name="connsiteX64" fmla="*/ 75994 w 190073"/>
              <a:gd name="connsiteY64" fmla="*/ 14745 h 171822"/>
              <a:gd name="connsiteX65" fmla="*/ 61735 w 190073"/>
              <a:gd name="connsiteY65" fmla="*/ 25537 h 171822"/>
              <a:gd name="connsiteX66" fmla="*/ 57461 w 190073"/>
              <a:gd name="connsiteY66" fmla="*/ 56413 h 171822"/>
              <a:gd name="connsiteX67" fmla="*/ 57544 w 190073"/>
              <a:gd name="connsiteY67" fmla="*/ 56522 h 171822"/>
              <a:gd name="connsiteX68" fmla="*/ 88577 w 190073"/>
              <a:gd name="connsiteY68" fmla="*/ 60722 h 171822"/>
              <a:gd name="connsiteX69" fmla="*/ 106569 w 190073"/>
              <a:gd name="connsiteY69" fmla="*/ 47092 h 171822"/>
              <a:gd name="connsiteX70" fmla="*/ 125372 w 190073"/>
              <a:gd name="connsiteY70" fmla="*/ 47092 h 171822"/>
              <a:gd name="connsiteX71" fmla="*/ 70355 w 190073"/>
              <a:gd name="connsiteY71" fmla="*/ 36938 h 171822"/>
              <a:gd name="connsiteX72" fmla="*/ 100254 w 190073"/>
              <a:gd name="connsiteY72" fmla="*/ 14288 h 171822"/>
              <a:gd name="connsiteX73" fmla="*/ 105055 w 190073"/>
              <a:gd name="connsiteY73" fmla="*/ 14288 h 171822"/>
              <a:gd name="connsiteX74" fmla="*/ 106836 w 190073"/>
              <a:gd name="connsiteY74" fmla="*/ 14336 h 171822"/>
              <a:gd name="connsiteX75" fmla="*/ 122324 w 190073"/>
              <a:gd name="connsiteY75" fmla="*/ 14336 h 171822"/>
              <a:gd name="connsiteX76" fmla="*/ 160252 w 190073"/>
              <a:gd name="connsiteY76" fmla="*/ 36910 h 171822"/>
              <a:gd name="connsiteX77" fmla="*/ 164481 w 190073"/>
              <a:gd name="connsiteY77" fmla="*/ 65437 h 171822"/>
              <a:gd name="connsiteX78" fmla="*/ 133896 w 190073"/>
              <a:gd name="connsiteY78" fmla="*/ 34995 h 171822"/>
              <a:gd name="connsiteX79" fmla="*/ 128763 w 190073"/>
              <a:gd name="connsiteY79" fmla="*/ 32814 h 171822"/>
              <a:gd name="connsiteX80" fmla="*/ 104178 w 190073"/>
              <a:gd name="connsiteY80" fmla="*/ 32814 h 171822"/>
              <a:gd name="connsiteX81" fmla="*/ 99864 w 190073"/>
              <a:gd name="connsiteY81" fmla="*/ 34262 h 171822"/>
              <a:gd name="connsiteX82" fmla="*/ 79956 w 190073"/>
              <a:gd name="connsiteY82" fmla="*/ 49340 h 171822"/>
              <a:gd name="connsiteX83" fmla="*/ 68888 w 190073"/>
              <a:gd name="connsiteY83" fmla="*/ 47845 h 171822"/>
              <a:gd name="connsiteX84" fmla="*/ 70319 w 190073"/>
              <a:gd name="connsiteY84" fmla="*/ 36973 h 171822"/>
              <a:gd name="connsiteX85" fmla="*/ 70365 w 190073"/>
              <a:gd name="connsiteY85" fmla="*/ 36938 h 171822"/>
              <a:gd name="connsiteX86" fmla="*/ 38408 w 190073"/>
              <a:gd name="connsiteY86" fmla="*/ 112710 h 171822"/>
              <a:gd name="connsiteX87" fmla="*/ 38378 w 190073"/>
              <a:gd name="connsiteY87" fmla="*/ 104358 h 171822"/>
              <a:gd name="connsiteX88" fmla="*/ 38408 w 190073"/>
              <a:gd name="connsiteY88" fmla="*/ 104328 h 171822"/>
              <a:gd name="connsiteX89" fmla="*/ 47524 w 190073"/>
              <a:gd name="connsiteY89" fmla="*/ 95260 h 171822"/>
              <a:gd name="connsiteX90" fmla="*/ 55963 w 190073"/>
              <a:gd name="connsiteY90" fmla="*/ 95260 h 171822"/>
              <a:gd name="connsiteX91" fmla="*/ 56039 w 190073"/>
              <a:gd name="connsiteY91" fmla="*/ 103566 h 171822"/>
              <a:gd name="connsiteX92" fmla="*/ 55963 w 190073"/>
              <a:gd name="connsiteY92" fmla="*/ 103642 h 171822"/>
              <a:gd name="connsiteX93" fmla="*/ 46848 w 190073"/>
              <a:gd name="connsiteY93" fmla="*/ 112700 h 171822"/>
              <a:gd name="connsiteX94" fmla="*/ 46762 w 190073"/>
              <a:gd name="connsiteY94" fmla="*/ 112786 h 171822"/>
              <a:gd name="connsiteX95" fmla="*/ 38408 w 190073"/>
              <a:gd name="connsiteY95" fmla="*/ 112710 h 171822"/>
              <a:gd name="connsiteX96" fmla="*/ 33732 w 190073"/>
              <a:gd name="connsiteY96" fmla="*/ 80620 h 171822"/>
              <a:gd name="connsiteX97" fmla="*/ 33636 w 190073"/>
              <a:gd name="connsiteY97" fmla="*/ 88907 h 171822"/>
              <a:gd name="connsiteX98" fmla="*/ 24521 w 190073"/>
              <a:gd name="connsiteY98" fmla="*/ 97975 h 171822"/>
              <a:gd name="connsiteX99" fmla="*/ 16082 w 190073"/>
              <a:gd name="connsiteY99" fmla="*/ 97975 h 171822"/>
              <a:gd name="connsiteX100" fmla="*/ 16051 w 190073"/>
              <a:gd name="connsiteY100" fmla="*/ 89623 h 171822"/>
              <a:gd name="connsiteX101" fmla="*/ 16082 w 190073"/>
              <a:gd name="connsiteY101" fmla="*/ 89593 h 171822"/>
              <a:gd name="connsiteX102" fmla="*/ 25207 w 190073"/>
              <a:gd name="connsiteY102" fmla="*/ 80534 h 171822"/>
              <a:gd name="connsiteX103" fmla="*/ 33646 w 190073"/>
              <a:gd name="connsiteY103" fmla="*/ 80534 h 171822"/>
              <a:gd name="connsiteX104" fmla="*/ 33732 w 190073"/>
              <a:gd name="connsiteY104" fmla="*/ 80620 h 171822"/>
              <a:gd name="connsiteX105" fmla="*/ 84671 w 190073"/>
              <a:gd name="connsiteY105" fmla="*/ 150286 h 171822"/>
              <a:gd name="connsiteX106" fmla="*/ 76232 w 190073"/>
              <a:gd name="connsiteY106" fmla="*/ 150286 h 171822"/>
              <a:gd name="connsiteX107" fmla="*/ 76202 w 190073"/>
              <a:gd name="connsiteY107" fmla="*/ 141934 h 171822"/>
              <a:gd name="connsiteX108" fmla="*/ 76232 w 190073"/>
              <a:gd name="connsiteY108" fmla="*/ 141904 h 171822"/>
              <a:gd name="connsiteX109" fmla="*/ 85348 w 190073"/>
              <a:gd name="connsiteY109" fmla="*/ 132846 h 171822"/>
              <a:gd name="connsiteX110" fmla="*/ 93787 w 190073"/>
              <a:gd name="connsiteY110" fmla="*/ 132846 h 171822"/>
              <a:gd name="connsiteX111" fmla="*/ 93817 w 190073"/>
              <a:gd name="connsiteY111" fmla="*/ 141197 h 171822"/>
              <a:gd name="connsiteX112" fmla="*/ 93787 w 190073"/>
              <a:gd name="connsiteY112" fmla="*/ 141228 h 171822"/>
              <a:gd name="connsiteX113" fmla="*/ 84671 w 190073"/>
              <a:gd name="connsiteY113" fmla="*/ 150286 h 171822"/>
              <a:gd name="connsiteX114" fmla="*/ 65421 w 190073"/>
              <a:gd name="connsiteY114" fmla="*/ 131160 h 171822"/>
              <a:gd name="connsiteX115" fmla="*/ 56982 w 190073"/>
              <a:gd name="connsiteY115" fmla="*/ 131160 h 171822"/>
              <a:gd name="connsiteX116" fmla="*/ 56896 w 190073"/>
              <a:gd name="connsiteY116" fmla="*/ 122854 h 171822"/>
              <a:gd name="connsiteX117" fmla="*/ 56982 w 190073"/>
              <a:gd name="connsiteY117" fmla="*/ 122778 h 171822"/>
              <a:gd name="connsiteX118" fmla="*/ 66098 w 190073"/>
              <a:gd name="connsiteY118" fmla="*/ 113719 h 171822"/>
              <a:gd name="connsiteX119" fmla="*/ 66174 w 190073"/>
              <a:gd name="connsiteY119" fmla="*/ 113634 h 171822"/>
              <a:gd name="connsiteX120" fmla="*/ 74537 w 190073"/>
              <a:gd name="connsiteY120" fmla="*/ 113719 h 171822"/>
              <a:gd name="connsiteX121" fmla="*/ 74567 w 190073"/>
              <a:gd name="connsiteY121" fmla="*/ 122071 h 171822"/>
              <a:gd name="connsiteX122" fmla="*/ 74537 w 190073"/>
              <a:gd name="connsiteY122" fmla="*/ 122101 h 171822"/>
              <a:gd name="connsiteX123" fmla="*/ 65421 w 190073"/>
              <a:gd name="connsiteY123" fmla="*/ 131160 h 17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190073" h="171822">
                <a:moveTo>
                  <a:pt x="97511" y="0"/>
                </a:moveTo>
                <a:cubicBezTo>
                  <a:pt x="95368" y="1"/>
                  <a:pt x="93339" y="967"/>
                  <a:pt x="91986" y="2629"/>
                </a:cubicBezTo>
                <a:lnTo>
                  <a:pt x="91434" y="3039"/>
                </a:lnTo>
                <a:cubicBezTo>
                  <a:pt x="70333" y="-3383"/>
                  <a:pt x="47410" y="2298"/>
                  <a:pt x="31750" y="17831"/>
                </a:cubicBezTo>
                <a:cubicBezTo>
                  <a:pt x="17920" y="31527"/>
                  <a:pt x="11733" y="51163"/>
                  <a:pt x="15215" y="70314"/>
                </a:cubicBezTo>
                <a:lnTo>
                  <a:pt x="15072" y="70457"/>
                </a:lnTo>
                <a:lnTo>
                  <a:pt x="5947" y="79515"/>
                </a:lnTo>
                <a:cubicBezTo>
                  <a:pt x="-1930" y="87320"/>
                  <a:pt x="-1990" y="100033"/>
                  <a:pt x="5815" y="107910"/>
                </a:cubicBezTo>
                <a:cubicBezTo>
                  <a:pt x="5859" y="107955"/>
                  <a:pt x="5903" y="107999"/>
                  <a:pt x="5947" y="108043"/>
                </a:cubicBezTo>
                <a:cubicBezTo>
                  <a:pt x="10439" y="112504"/>
                  <a:pt x="16752" y="114621"/>
                  <a:pt x="23025" y="113767"/>
                </a:cubicBezTo>
                <a:cubicBezTo>
                  <a:pt x="25287" y="121995"/>
                  <a:pt x="32456" y="127926"/>
                  <a:pt x="40961" y="128607"/>
                </a:cubicBezTo>
                <a:cubicBezTo>
                  <a:pt x="41844" y="138707"/>
                  <a:pt x="50047" y="146605"/>
                  <a:pt x="60173" y="147105"/>
                </a:cubicBezTo>
                <a:cubicBezTo>
                  <a:pt x="60421" y="151934"/>
                  <a:pt x="62392" y="156677"/>
                  <a:pt x="66098" y="160354"/>
                </a:cubicBezTo>
                <a:cubicBezTo>
                  <a:pt x="73337" y="167555"/>
                  <a:pt x="84690" y="168174"/>
                  <a:pt x="92644" y="162230"/>
                </a:cubicBezTo>
                <a:lnTo>
                  <a:pt x="96330" y="165888"/>
                </a:lnTo>
                <a:cubicBezTo>
                  <a:pt x="104316" y="173800"/>
                  <a:pt x="117186" y="173800"/>
                  <a:pt x="125172" y="165888"/>
                </a:cubicBezTo>
                <a:cubicBezTo>
                  <a:pt x="128696" y="162383"/>
                  <a:pt x="130668" y="157906"/>
                  <a:pt x="131077" y="153334"/>
                </a:cubicBezTo>
                <a:cubicBezTo>
                  <a:pt x="140889" y="152502"/>
                  <a:pt x="148684" y="144740"/>
                  <a:pt x="149556" y="134932"/>
                </a:cubicBezTo>
                <a:cubicBezTo>
                  <a:pt x="158137" y="134143"/>
                  <a:pt x="165281" y="128015"/>
                  <a:pt x="167367" y="119654"/>
                </a:cubicBezTo>
                <a:cubicBezTo>
                  <a:pt x="173544" y="120394"/>
                  <a:pt x="179719" y="118267"/>
                  <a:pt x="184131" y="113881"/>
                </a:cubicBezTo>
                <a:cubicBezTo>
                  <a:pt x="192007" y="106074"/>
                  <a:pt x="192061" y="93361"/>
                  <a:pt x="184254" y="85486"/>
                </a:cubicBezTo>
                <a:cubicBezTo>
                  <a:pt x="184213" y="85445"/>
                  <a:pt x="184172" y="85404"/>
                  <a:pt x="184131" y="85364"/>
                </a:cubicBezTo>
                <a:lnTo>
                  <a:pt x="176197" y="77467"/>
                </a:lnTo>
                <a:lnTo>
                  <a:pt x="177835" y="71124"/>
                </a:lnTo>
                <a:cubicBezTo>
                  <a:pt x="181380" y="57319"/>
                  <a:pt x="179595" y="42685"/>
                  <a:pt x="172835" y="30138"/>
                </a:cubicBezTo>
                <a:cubicBezTo>
                  <a:pt x="162814" y="11578"/>
                  <a:pt x="143415" y="18"/>
                  <a:pt x="122324" y="39"/>
                </a:cubicBezTo>
                <a:lnTo>
                  <a:pt x="107017" y="39"/>
                </a:lnTo>
                <a:cubicBezTo>
                  <a:pt x="106364" y="10"/>
                  <a:pt x="105709" y="-3"/>
                  <a:pt x="105055" y="0"/>
                </a:cubicBezTo>
                <a:lnTo>
                  <a:pt x="97521" y="0"/>
                </a:lnTo>
                <a:close/>
                <a:moveTo>
                  <a:pt x="125372" y="47102"/>
                </a:moveTo>
                <a:lnTo>
                  <a:pt x="158366" y="79887"/>
                </a:lnTo>
                <a:lnTo>
                  <a:pt x="158395" y="79925"/>
                </a:lnTo>
                <a:lnTo>
                  <a:pt x="158528" y="80049"/>
                </a:lnTo>
                <a:lnTo>
                  <a:pt x="174006" y="95431"/>
                </a:lnTo>
                <a:cubicBezTo>
                  <a:pt x="176321" y="97729"/>
                  <a:pt x="176334" y="101468"/>
                  <a:pt x="174037" y="103783"/>
                </a:cubicBezTo>
                <a:cubicBezTo>
                  <a:pt x="174026" y="103793"/>
                  <a:pt x="174017" y="103803"/>
                  <a:pt x="174006" y="103813"/>
                </a:cubicBezTo>
                <a:cubicBezTo>
                  <a:pt x="171668" y="106125"/>
                  <a:pt x="167906" y="106125"/>
                  <a:pt x="165567" y="103813"/>
                </a:cubicBezTo>
                <a:lnTo>
                  <a:pt x="150089" y="88431"/>
                </a:lnTo>
                <a:cubicBezTo>
                  <a:pt x="147283" y="85651"/>
                  <a:pt x="142760" y="85651"/>
                  <a:pt x="139954" y="88431"/>
                </a:cubicBezTo>
                <a:lnTo>
                  <a:pt x="139802" y="88593"/>
                </a:lnTo>
                <a:cubicBezTo>
                  <a:pt x="137022" y="91347"/>
                  <a:pt x="137002" y="95834"/>
                  <a:pt x="139756" y="98615"/>
                </a:cubicBezTo>
                <a:cubicBezTo>
                  <a:pt x="139772" y="98630"/>
                  <a:pt x="139787" y="98645"/>
                  <a:pt x="139802" y="98660"/>
                </a:cubicBezTo>
                <a:lnTo>
                  <a:pt x="151861" y="110652"/>
                </a:lnTo>
                <a:cubicBezTo>
                  <a:pt x="154175" y="112950"/>
                  <a:pt x="154189" y="116689"/>
                  <a:pt x="151891" y="119004"/>
                </a:cubicBezTo>
                <a:cubicBezTo>
                  <a:pt x="151881" y="119014"/>
                  <a:pt x="151871" y="119024"/>
                  <a:pt x="151861" y="119034"/>
                </a:cubicBezTo>
                <a:cubicBezTo>
                  <a:pt x="149758" y="121126"/>
                  <a:pt x="146444" y="121369"/>
                  <a:pt x="144060" y="119606"/>
                </a:cubicBezTo>
                <a:cubicBezTo>
                  <a:pt x="141195" y="117462"/>
                  <a:pt x="137191" y="117746"/>
                  <a:pt x="134658" y="120273"/>
                </a:cubicBezTo>
                <a:cubicBezTo>
                  <a:pt x="132133" y="122797"/>
                  <a:pt x="131881" y="126805"/>
                  <a:pt x="134068" y="129626"/>
                </a:cubicBezTo>
                <a:cubicBezTo>
                  <a:pt x="135886" y="131987"/>
                  <a:pt x="135661" y="135332"/>
                  <a:pt x="133544" y="137427"/>
                </a:cubicBezTo>
                <a:cubicBezTo>
                  <a:pt x="131403" y="139549"/>
                  <a:pt x="128019" y="139753"/>
                  <a:pt x="125638" y="137903"/>
                </a:cubicBezTo>
                <a:cubicBezTo>
                  <a:pt x="122790" y="135681"/>
                  <a:pt x="118736" y="135914"/>
                  <a:pt x="116161" y="138446"/>
                </a:cubicBezTo>
                <a:cubicBezTo>
                  <a:pt x="113591" y="140974"/>
                  <a:pt x="113329" y="145028"/>
                  <a:pt x="115551" y="147867"/>
                </a:cubicBezTo>
                <a:cubicBezTo>
                  <a:pt x="117413" y="150263"/>
                  <a:pt x="117192" y="153674"/>
                  <a:pt x="115037" y="155810"/>
                </a:cubicBezTo>
                <a:cubicBezTo>
                  <a:pt x="112662" y="158159"/>
                  <a:pt x="108839" y="158159"/>
                  <a:pt x="106464" y="155810"/>
                </a:cubicBezTo>
                <a:lnTo>
                  <a:pt x="102921" y="152296"/>
                </a:lnTo>
                <a:lnTo>
                  <a:pt x="103921" y="151296"/>
                </a:lnTo>
                <a:cubicBezTo>
                  <a:pt x="111797" y="143488"/>
                  <a:pt x="111851" y="130775"/>
                  <a:pt x="104044" y="122901"/>
                </a:cubicBezTo>
                <a:cubicBezTo>
                  <a:pt x="104003" y="122860"/>
                  <a:pt x="103962" y="122819"/>
                  <a:pt x="103921" y="122778"/>
                </a:cubicBezTo>
                <a:cubicBezTo>
                  <a:pt x="100359" y="119232"/>
                  <a:pt x="95607" y="117134"/>
                  <a:pt x="90586" y="116891"/>
                </a:cubicBezTo>
                <a:cubicBezTo>
                  <a:pt x="90024" y="106772"/>
                  <a:pt x="82077" y="98620"/>
                  <a:pt x="71974" y="97803"/>
                </a:cubicBezTo>
                <a:cubicBezTo>
                  <a:pt x="71584" y="93032"/>
                  <a:pt x="69500" y="88559"/>
                  <a:pt x="66098" y="85192"/>
                </a:cubicBezTo>
                <a:cubicBezTo>
                  <a:pt x="61606" y="80731"/>
                  <a:pt x="55293" y="78614"/>
                  <a:pt x="49019" y="79468"/>
                </a:cubicBezTo>
                <a:cubicBezTo>
                  <a:pt x="46531" y="70445"/>
                  <a:pt x="38201" y="64290"/>
                  <a:pt x="28845" y="64561"/>
                </a:cubicBezTo>
                <a:cubicBezTo>
                  <a:pt x="27380" y="50989"/>
                  <a:pt x="32180" y="37490"/>
                  <a:pt x="41885" y="27890"/>
                </a:cubicBezTo>
                <a:cubicBezTo>
                  <a:pt x="50911" y="18923"/>
                  <a:pt x="63285" y="14154"/>
                  <a:pt x="75994" y="14745"/>
                </a:cubicBezTo>
                <a:lnTo>
                  <a:pt x="61735" y="25537"/>
                </a:lnTo>
                <a:cubicBezTo>
                  <a:pt x="52029" y="32883"/>
                  <a:pt x="50115" y="46707"/>
                  <a:pt x="57461" y="56413"/>
                </a:cubicBezTo>
                <a:cubicBezTo>
                  <a:pt x="57489" y="56449"/>
                  <a:pt x="57516" y="56486"/>
                  <a:pt x="57544" y="56522"/>
                </a:cubicBezTo>
                <a:cubicBezTo>
                  <a:pt x="64977" y="66211"/>
                  <a:pt x="78835" y="68087"/>
                  <a:pt x="88577" y="60722"/>
                </a:cubicBezTo>
                <a:lnTo>
                  <a:pt x="106569" y="47092"/>
                </a:lnTo>
                <a:lnTo>
                  <a:pt x="125372" y="47092"/>
                </a:lnTo>
                <a:close/>
                <a:moveTo>
                  <a:pt x="70355" y="36938"/>
                </a:moveTo>
                <a:lnTo>
                  <a:pt x="100254" y="14288"/>
                </a:lnTo>
                <a:lnTo>
                  <a:pt x="105055" y="14288"/>
                </a:lnTo>
                <a:cubicBezTo>
                  <a:pt x="105649" y="14284"/>
                  <a:pt x="106243" y="14299"/>
                  <a:pt x="106836" y="14336"/>
                </a:cubicBezTo>
                <a:lnTo>
                  <a:pt x="122324" y="14336"/>
                </a:lnTo>
                <a:cubicBezTo>
                  <a:pt x="138155" y="14314"/>
                  <a:pt x="152722" y="22984"/>
                  <a:pt x="160252" y="36910"/>
                </a:cubicBezTo>
                <a:cubicBezTo>
                  <a:pt x="164967" y="45673"/>
                  <a:pt x="166443" y="55750"/>
                  <a:pt x="164481" y="65437"/>
                </a:cubicBezTo>
                <a:lnTo>
                  <a:pt x="133896" y="34995"/>
                </a:lnTo>
                <a:cubicBezTo>
                  <a:pt x="132552" y="33603"/>
                  <a:pt x="130699" y="32815"/>
                  <a:pt x="128763" y="32814"/>
                </a:cubicBezTo>
                <a:lnTo>
                  <a:pt x="104178" y="32814"/>
                </a:lnTo>
                <a:cubicBezTo>
                  <a:pt x="102621" y="32813"/>
                  <a:pt x="101106" y="33322"/>
                  <a:pt x="99864" y="34262"/>
                </a:cubicBezTo>
                <a:lnTo>
                  <a:pt x="79956" y="49340"/>
                </a:lnTo>
                <a:cubicBezTo>
                  <a:pt x="76482" y="51962"/>
                  <a:pt x="71543" y="51295"/>
                  <a:pt x="68888" y="47845"/>
                </a:cubicBezTo>
                <a:cubicBezTo>
                  <a:pt x="66281" y="44448"/>
                  <a:pt x="66922" y="39580"/>
                  <a:pt x="70319" y="36973"/>
                </a:cubicBezTo>
                <a:cubicBezTo>
                  <a:pt x="70334" y="36962"/>
                  <a:pt x="70349" y="36950"/>
                  <a:pt x="70365" y="36938"/>
                </a:cubicBezTo>
                <a:close/>
                <a:moveTo>
                  <a:pt x="38408" y="112710"/>
                </a:moveTo>
                <a:cubicBezTo>
                  <a:pt x="36094" y="110412"/>
                  <a:pt x="36080" y="106673"/>
                  <a:pt x="38378" y="104358"/>
                </a:cubicBezTo>
                <a:cubicBezTo>
                  <a:pt x="38388" y="104348"/>
                  <a:pt x="38398" y="104338"/>
                  <a:pt x="38408" y="104328"/>
                </a:cubicBezTo>
                <a:lnTo>
                  <a:pt x="47524" y="95260"/>
                </a:lnTo>
                <a:cubicBezTo>
                  <a:pt x="49862" y="92948"/>
                  <a:pt x="53625" y="92948"/>
                  <a:pt x="55963" y="95260"/>
                </a:cubicBezTo>
                <a:cubicBezTo>
                  <a:pt x="58260" y="97540"/>
                  <a:pt x="58294" y="101244"/>
                  <a:pt x="56039" y="103566"/>
                </a:cubicBezTo>
                <a:lnTo>
                  <a:pt x="55963" y="103642"/>
                </a:lnTo>
                <a:lnTo>
                  <a:pt x="46848" y="112700"/>
                </a:lnTo>
                <a:lnTo>
                  <a:pt x="46762" y="112786"/>
                </a:lnTo>
                <a:cubicBezTo>
                  <a:pt x="44414" y="115022"/>
                  <a:pt x="40715" y="114987"/>
                  <a:pt x="38408" y="112710"/>
                </a:cubicBezTo>
                <a:close/>
                <a:moveTo>
                  <a:pt x="33732" y="80620"/>
                </a:moveTo>
                <a:cubicBezTo>
                  <a:pt x="35979" y="82940"/>
                  <a:pt x="35937" y="86639"/>
                  <a:pt x="33636" y="88907"/>
                </a:cubicBezTo>
                <a:lnTo>
                  <a:pt x="24521" y="97975"/>
                </a:lnTo>
                <a:cubicBezTo>
                  <a:pt x="22183" y="100286"/>
                  <a:pt x="18420" y="100286"/>
                  <a:pt x="16082" y="97975"/>
                </a:cubicBezTo>
                <a:cubicBezTo>
                  <a:pt x="13767" y="95677"/>
                  <a:pt x="13754" y="91938"/>
                  <a:pt x="16051" y="89623"/>
                </a:cubicBezTo>
                <a:cubicBezTo>
                  <a:pt x="16061" y="89613"/>
                  <a:pt x="16072" y="89603"/>
                  <a:pt x="16082" y="89593"/>
                </a:cubicBezTo>
                <a:lnTo>
                  <a:pt x="25207" y="80534"/>
                </a:lnTo>
                <a:cubicBezTo>
                  <a:pt x="27545" y="78223"/>
                  <a:pt x="31308" y="78223"/>
                  <a:pt x="33646" y="80534"/>
                </a:cubicBezTo>
                <a:lnTo>
                  <a:pt x="33732" y="80620"/>
                </a:lnTo>
                <a:close/>
                <a:moveTo>
                  <a:pt x="84671" y="150286"/>
                </a:moveTo>
                <a:cubicBezTo>
                  <a:pt x="82333" y="152598"/>
                  <a:pt x="78571" y="152598"/>
                  <a:pt x="76232" y="150286"/>
                </a:cubicBezTo>
                <a:cubicBezTo>
                  <a:pt x="73917" y="147988"/>
                  <a:pt x="73904" y="144249"/>
                  <a:pt x="76202" y="141934"/>
                </a:cubicBezTo>
                <a:cubicBezTo>
                  <a:pt x="76212" y="141924"/>
                  <a:pt x="76222" y="141914"/>
                  <a:pt x="76232" y="141904"/>
                </a:cubicBezTo>
                <a:lnTo>
                  <a:pt x="85348" y="132846"/>
                </a:lnTo>
                <a:cubicBezTo>
                  <a:pt x="87686" y="130534"/>
                  <a:pt x="91448" y="130534"/>
                  <a:pt x="93787" y="132846"/>
                </a:cubicBezTo>
                <a:cubicBezTo>
                  <a:pt x="96101" y="135143"/>
                  <a:pt x="96115" y="138883"/>
                  <a:pt x="93817" y="141197"/>
                </a:cubicBezTo>
                <a:cubicBezTo>
                  <a:pt x="93807" y="141208"/>
                  <a:pt x="93797" y="141217"/>
                  <a:pt x="93787" y="141228"/>
                </a:cubicBezTo>
                <a:lnTo>
                  <a:pt x="84671" y="150286"/>
                </a:lnTo>
                <a:close/>
                <a:moveTo>
                  <a:pt x="65421" y="131160"/>
                </a:moveTo>
                <a:cubicBezTo>
                  <a:pt x="63085" y="133477"/>
                  <a:pt x="59318" y="133477"/>
                  <a:pt x="56982" y="131160"/>
                </a:cubicBezTo>
                <a:cubicBezTo>
                  <a:pt x="54682" y="128882"/>
                  <a:pt x="54644" y="125178"/>
                  <a:pt x="56896" y="122854"/>
                </a:cubicBezTo>
                <a:lnTo>
                  <a:pt x="56982" y="122778"/>
                </a:lnTo>
                <a:lnTo>
                  <a:pt x="66098" y="113719"/>
                </a:lnTo>
                <a:lnTo>
                  <a:pt x="66174" y="113634"/>
                </a:lnTo>
                <a:cubicBezTo>
                  <a:pt x="68525" y="111395"/>
                  <a:pt x="72231" y="111433"/>
                  <a:pt x="74537" y="113719"/>
                </a:cubicBezTo>
                <a:cubicBezTo>
                  <a:pt x="76851" y="116017"/>
                  <a:pt x="76865" y="119756"/>
                  <a:pt x="74567" y="122071"/>
                </a:cubicBezTo>
                <a:cubicBezTo>
                  <a:pt x="74557" y="122081"/>
                  <a:pt x="74547" y="122091"/>
                  <a:pt x="74537" y="122101"/>
                </a:cubicBezTo>
                <a:lnTo>
                  <a:pt x="65421" y="131160"/>
                </a:lnTo>
                <a:close/>
              </a:path>
            </a:pathLst>
          </a:custGeom>
          <a:solidFill>
            <a:schemeClr val="bg1"/>
          </a:solidFill>
          <a:ln w="15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Tree>
    <p:extLst>
      <p:ext uri="{BB962C8B-B14F-4D97-AF65-F5344CB8AC3E}">
        <p14:creationId xmlns:p14="http://schemas.microsoft.com/office/powerpoint/2010/main" val="191907978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F253785-7DCD-212A-A12B-62EF604F673E}"/>
              </a:ext>
            </a:extLst>
          </p:cNvPr>
          <p:cNvSpPr txBox="1"/>
          <p:nvPr/>
        </p:nvSpPr>
        <p:spPr>
          <a:xfrm>
            <a:off x="583952" y="1624415"/>
            <a:ext cx="3797548" cy="1754326"/>
          </a:xfrm>
          <a:prstGeom prst="rect">
            <a:avLst/>
          </a:prstGeom>
          <a:noFill/>
          <a:ln>
            <a:noFill/>
            <a:prstDash/>
          </a:ln>
          <a:effectLst/>
        </p:spPr>
        <p:txBody>
          <a:bodyPr wrap="square" lIns="0" rIns="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21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Q</a:t>
            </a:r>
            <a:r>
              <a:rPr kumimoji="0" lang="en-US" sz="72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amp;</a:t>
            </a:r>
            <a:r>
              <a:rPr kumimoji="0" lang="en-US" sz="121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A</a:t>
            </a:r>
          </a:p>
        </p:txBody>
      </p:sp>
      <p:sp>
        <p:nvSpPr>
          <p:cNvPr id="4" name="Text Placeholder 4">
            <a:extLst>
              <a:ext uri="{FF2B5EF4-FFF2-40B4-BE49-F238E27FC236}">
                <a16:creationId xmlns:a16="http://schemas.microsoft.com/office/drawing/2014/main" id="{4C5BCC02-F254-165A-B419-7E09F13385A9}"/>
              </a:ext>
            </a:extLst>
          </p:cNvPr>
          <p:cNvSpPr txBox="1">
            <a:spLocks/>
          </p:cNvSpPr>
          <p:nvPr/>
        </p:nvSpPr>
        <p:spPr>
          <a:xfrm>
            <a:off x="1876335" y="3336405"/>
            <a:ext cx="4003766" cy="738664"/>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0" i="0" kern="1200" spc="0" baseline="0">
                <a:solidFill>
                  <a:schemeClr val="tx1"/>
                </a:solidFill>
                <a:latin typeface="Segoe UI" panose="020B0502040204020203" pitchFamily="34" charset="0"/>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UI" panose="020B0502040204020203" pitchFamily="34" charset="0"/>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UI" panose="020B0502040204020203" pitchFamily="34" charset="0"/>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Please raise your hand and unmute when called on</a:t>
            </a:r>
          </a:p>
        </p:txBody>
      </p:sp>
      <p:sp>
        <p:nvSpPr>
          <p:cNvPr id="5" name="Rectangle: Rounded Corners 4">
            <a:extLst>
              <a:ext uri="{FF2B5EF4-FFF2-40B4-BE49-F238E27FC236}">
                <a16:creationId xmlns:a16="http://schemas.microsoft.com/office/drawing/2014/main" id="{790C1B4C-D324-4FDC-5CED-9EDCC9C2BD37}"/>
              </a:ext>
            </a:extLst>
          </p:cNvPr>
          <p:cNvSpPr/>
          <p:nvPr/>
        </p:nvSpPr>
        <p:spPr bwMode="auto">
          <a:xfrm rot="5400000">
            <a:off x="7699054" y="439533"/>
            <a:ext cx="3452506" cy="6565900"/>
          </a:xfrm>
          <a:prstGeom prst="roundRect">
            <a:avLst>
              <a:gd name="adj" fmla="val 14295"/>
            </a:avLst>
          </a:prstGeom>
          <a:solidFill>
            <a:schemeClr val="bg1">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6" name="Picture 5">
            <a:extLst>
              <a:ext uri="{FF2B5EF4-FFF2-40B4-BE49-F238E27FC236}">
                <a16:creationId xmlns:a16="http://schemas.microsoft.com/office/drawing/2014/main" id="{E8755E77-6AF4-FE9D-57AB-73980E358AB4}"/>
              </a:ext>
            </a:extLst>
          </p:cNvPr>
          <p:cNvPicPr>
            <a:picLocks noChangeAspect="1"/>
          </p:cNvPicPr>
          <p:nvPr/>
        </p:nvPicPr>
        <p:blipFill>
          <a:blip r:embed="rId3"/>
          <a:stretch>
            <a:fillRect/>
          </a:stretch>
        </p:blipFill>
        <p:spPr>
          <a:xfrm>
            <a:off x="6762842" y="3067289"/>
            <a:ext cx="5048158" cy="1286114"/>
          </a:xfrm>
          <a:prstGeom prst="roundRect">
            <a:avLst>
              <a:gd name="adj" fmla="val 12717"/>
            </a:avLst>
          </a:prstGeom>
          <a:effectLst/>
        </p:spPr>
      </p:pic>
      <p:sp>
        <p:nvSpPr>
          <p:cNvPr id="7" name="Freeform: Shape 6">
            <a:extLst>
              <a:ext uri="{FF2B5EF4-FFF2-40B4-BE49-F238E27FC236}">
                <a16:creationId xmlns:a16="http://schemas.microsoft.com/office/drawing/2014/main" id="{6760E164-D3B4-D288-E0C7-CBED5F9FEAD4}"/>
              </a:ext>
            </a:extLst>
          </p:cNvPr>
          <p:cNvSpPr/>
          <p:nvPr/>
        </p:nvSpPr>
        <p:spPr bwMode="auto">
          <a:xfrm>
            <a:off x="9020969" y="2542893"/>
            <a:ext cx="364331" cy="876300"/>
          </a:xfrm>
          <a:custGeom>
            <a:avLst/>
            <a:gdLst>
              <a:gd name="connsiteX0" fmla="*/ 0 w 731520"/>
              <a:gd name="connsiteY0" fmla="*/ 1158240 h 1158240"/>
              <a:gd name="connsiteX1" fmla="*/ 0 w 731520"/>
              <a:gd name="connsiteY1" fmla="*/ 0 h 1158240"/>
              <a:gd name="connsiteX2" fmla="*/ 731520 w 731520"/>
              <a:gd name="connsiteY2" fmla="*/ 0 h 1158240"/>
            </a:gdLst>
            <a:ahLst/>
            <a:cxnLst>
              <a:cxn ang="0">
                <a:pos x="connsiteX0" y="connsiteY0"/>
              </a:cxn>
              <a:cxn ang="0">
                <a:pos x="connsiteX1" y="connsiteY1"/>
              </a:cxn>
              <a:cxn ang="0">
                <a:pos x="connsiteX2" y="connsiteY2"/>
              </a:cxn>
            </a:cxnLst>
            <a:rect l="l" t="t" r="r" b="b"/>
            <a:pathLst>
              <a:path w="731520" h="1158240">
                <a:moveTo>
                  <a:pt x="0" y="1158240"/>
                </a:moveTo>
                <a:lnTo>
                  <a:pt x="0" y="0"/>
                </a:lnTo>
                <a:lnTo>
                  <a:pt x="731520" y="0"/>
                </a:lnTo>
              </a:path>
            </a:pathLst>
          </a:custGeom>
          <a:noFill/>
          <a:ln>
            <a:solidFill>
              <a:schemeClr val="bg1">
                <a:lumMod val="9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8" name="Oval 7">
            <a:extLst>
              <a:ext uri="{FF2B5EF4-FFF2-40B4-BE49-F238E27FC236}">
                <a16:creationId xmlns:a16="http://schemas.microsoft.com/office/drawing/2014/main" id="{535A04CC-0F12-6126-ABD6-D3414DC1D1EF}"/>
              </a:ext>
              <a:ext uri="{C183D7F6-B498-43B3-948B-1728B52AA6E4}">
                <adec:decorative xmlns:adec="http://schemas.microsoft.com/office/drawing/2017/decorative" val="1"/>
              </a:ext>
            </a:extLst>
          </p:cNvPr>
          <p:cNvSpPr/>
          <p:nvPr/>
        </p:nvSpPr>
        <p:spPr bwMode="auto">
          <a:xfrm>
            <a:off x="9385557" y="2327210"/>
            <a:ext cx="425540" cy="425540"/>
          </a:xfrm>
          <a:prstGeom prst="ellipse">
            <a:avLst/>
          </a:prstGeom>
          <a:gradFill>
            <a:gsLst>
              <a:gs pos="27000">
                <a:schemeClr val="bg1">
                  <a:alpha val="80000"/>
                </a:schemeClr>
              </a:gs>
              <a:gs pos="100000">
                <a:schemeClr val="bg1">
                  <a:alpha val="50000"/>
                </a:schemeClr>
              </a:gs>
            </a:gsLst>
            <a:lin ang="2400000" scaled="0"/>
          </a:gradFill>
          <a:ln>
            <a:gradFill>
              <a:gsLst>
                <a:gs pos="0">
                  <a:schemeClr val="accent1">
                    <a:alpha val="80000"/>
                    <a:lumMod val="7000"/>
                    <a:lumOff val="93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a:ln>
                  <a:noFill/>
                </a:ln>
                <a:solidFill>
                  <a:srgbClr val="000000"/>
                </a:solidFill>
                <a:effectLst/>
                <a:uLnTx/>
                <a:uFillTx/>
                <a:latin typeface="Segoe Sans Display Semibold"/>
                <a:ea typeface="+mn-ea"/>
                <a:cs typeface="+mn-cs"/>
              </a:rPr>
              <a:t>1</a:t>
            </a:r>
          </a:p>
        </p:txBody>
      </p:sp>
      <p:sp>
        <p:nvSpPr>
          <p:cNvPr id="9" name="Freeform: Shape 8">
            <a:extLst>
              <a:ext uri="{FF2B5EF4-FFF2-40B4-BE49-F238E27FC236}">
                <a16:creationId xmlns:a16="http://schemas.microsoft.com/office/drawing/2014/main" id="{7D15C4CB-F9D7-B775-BD2B-36FA94563851}"/>
              </a:ext>
            </a:extLst>
          </p:cNvPr>
          <p:cNvSpPr/>
          <p:nvPr/>
        </p:nvSpPr>
        <p:spPr bwMode="auto">
          <a:xfrm rot="10800000">
            <a:off x="8398926" y="4166791"/>
            <a:ext cx="364331" cy="757352"/>
          </a:xfrm>
          <a:custGeom>
            <a:avLst/>
            <a:gdLst>
              <a:gd name="connsiteX0" fmla="*/ 0 w 731520"/>
              <a:gd name="connsiteY0" fmla="*/ 1158240 h 1158240"/>
              <a:gd name="connsiteX1" fmla="*/ 0 w 731520"/>
              <a:gd name="connsiteY1" fmla="*/ 0 h 1158240"/>
              <a:gd name="connsiteX2" fmla="*/ 731520 w 731520"/>
              <a:gd name="connsiteY2" fmla="*/ 0 h 1158240"/>
            </a:gdLst>
            <a:ahLst/>
            <a:cxnLst>
              <a:cxn ang="0">
                <a:pos x="connsiteX0" y="connsiteY0"/>
              </a:cxn>
              <a:cxn ang="0">
                <a:pos x="connsiteX1" y="connsiteY1"/>
              </a:cxn>
              <a:cxn ang="0">
                <a:pos x="connsiteX2" y="connsiteY2"/>
              </a:cxn>
            </a:cxnLst>
            <a:rect l="l" t="t" r="r" b="b"/>
            <a:pathLst>
              <a:path w="731520" h="1158240">
                <a:moveTo>
                  <a:pt x="0" y="1158240"/>
                </a:moveTo>
                <a:lnTo>
                  <a:pt x="0" y="0"/>
                </a:lnTo>
                <a:lnTo>
                  <a:pt x="731520" y="0"/>
                </a:lnTo>
              </a:path>
            </a:pathLst>
          </a:custGeom>
          <a:noFill/>
          <a:ln>
            <a:solidFill>
              <a:schemeClr val="bg1">
                <a:lumMod val="9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10" name="Oval 9">
            <a:extLst>
              <a:ext uri="{FF2B5EF4-FFF2-40B4-BE49-F238E27FC236}">
                <a16:creationId xmlns:a16="http://schemas.microsoft.com/office/drawing/2014/main" id="{2746385E-65F4-A2A7-2271-8D47D24FFE0A}"/>
              </a:ext>
              <a:ext uri="{C183D7F6-B498-43B3-948B-1728B52AA6E4}">
                <adec:decorative xmlns:adec="http://schemas.microsoft.com/office/drawing/2017/decorative" val="1"/>
              </a:ext>
            </a:extLst>
          </p:cNvPr>
          <p:cNvSpPr/>
          <p:nvPr/>
        </p:nvSpPr>
        <p:spPr bwMode="auto">
          <a:xfrm>
            <a:off x="7970750" y="4711269"/>
            <a:ext cx="425540" cy="425540"/>
          </a:xfrm>
          <a:prstGeom prst="ellipse">
            <a:avLst/>
          </a:prstGeom>
          <a:gradFill>
            <a:gsLst>
              <a:gs pos="27000">
                <a:schemeClr val="bg1">
                  <a:alpha val="80000"/>
                </a:schemeClr>
              </a:gs>
              <a:gs pos="100000">
                <a:schemeClr val="bg1">
                  <a:alpha val="50000"/>
                </a:schemeClr>
              </a:gs>
            </a:gsLst>
            <a:lin ang="2400000" scaled="0"/>
          </a:gradFill>
          <a:ln>
            <a:gradFill>
              <a:gsLst>
                <a:gs pos="0">
                  <a:schemeClr val="accent1">
                    <a:alpha val="80000"/>
                    <a:lumMod val="7000"/>
                    <a:lumOff val="93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a:ln>
                  <a:noFill/>
                </a:ln>
                <a:solidFill>
                  <a:srgbClr val="000000"/>
                </a:solidFill>
                <a:effectLst/>
                <a:uLnTx/>
                <a:uFillTx/>
                <a:latin typeface="Segoe Sans Display Semibold"/>
                <a:ea typeface="+mn-ea"/>
                <a:cs typeface="+mn-cs"/>
              </a:rPr>
              <a:t>2</a:t>
            </a:r>
          </a:p>
        </p:txBody>
      </p:sp>
    </p:spTree>
    <p:extLst>
      <p:ext uri="{BB962C8B-B14F-4D97-AF65-F5344CB8AC3E}">
        <p14:creationId xmlns:p14="http://schemas.microsoft.com/office/powerpoint/2010/main" val="87568759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88874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B17013-6C5E-F7E2-6A16-C740F4ACF7B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FE35FF-25C1-08C7-8304-848607BCEE4A}"/>
              </a:ext>
            </a:extLst>
          </p:cNvPr>
          <p:cNvSpPr>
            <a:spLocks noGrp="1"/>
          </p:cNvSpPr>
          <p:nvPr>
            <p:ph type="title"/>
          </p:nvPr>
        </p:nvSpPr>
        <p:spPr>
          <a:xfrm>
            <a:off x="571500" y="2792795"/>
            <a:ext cx="4179404" cy="1754326"/>
          </a:xfrm>
          <a:prstGeom prst="rect">
            <a:avLst/>
          </a:prstGeom>
        </p:spPr>
        <p:txBody>
          <a:bodyPr/>
          <a:lstStyle/>
          <a:p>
            <a:r>
              <a:rPr lang="en-US" spc="0"/>
              <a:t>Introduction to Microsoft 365 Copilot </a:t>
            </a:r>
          </a:p>
        </p:txBody>
      </p:sp>
    </p:spTree>
    <p:extLst>
      <p:ext uri="{BB962C8B-B14F-4D97-AF65-F5344CB8AC3E}">
        <p14:creationId xmlns:p14="http://schemas.microsoft.com/office/powerpoint/2010/main" val="27025981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233325-F57E-A9B0-14CD-DE4E43AF4EBB}"/>
            </a:ext>
          </a:extLst>
        </p:cNvPr>
        <p:cNvGrpSpPr/>
        <p:nvPr/>
      </p:nvGrpSpPr>
      <p:grpSpPr>
        <a:xfrm>
          <a:off x="0" y="0"/>
          <a:ext cx="0" cy="0"/>
          <a:chOff x="0" y="0"/>
          <a:chExt cx="0" cy="0"/>
        </a:xfrm>
      </p:grpSpPr>
      <p:grpSp>
        <p:nvGrpSpPr>
          <p:cNvPr id="3" name="Group 2" descr="A diagram with the title &quot;Copilot is the UI for AI.&quot; On the left side, there is an image of a person in a circular frame with two arrows pointing back and forth between them and a set of layered cards in the center. One card features Copilot and the other displays Copilot Studio.&#10;&#10;On the right, there is a network of interconnected nodes, each represented by small circular icons with a structure resembling a flowchart or hierarchy. The nodes are connected by solid and dashed blue lines, suggesting a complex network or system.&#10;&#10;At the bottom, there is a label &quot;Copilot Control Plane&quot; inside a bar with a shield icon, symbolizing a secure control plane. This layout appears to represent an AI-assisted user interface for managing or navigating a networked system through a central control mechanism.">
            <a:extLst>
              <a:ext uri="{FF2B5EF4-FFF2-40B4-BE49-F238E27FC236}">
                <a16:creationId xmlns:a16="http://schemas.microsoft.com/office/drawing/2014/main" id="{9A8A6247-C0A0-B8DB-4171-CE757FB7B407}"/>
              </a:ext>
            </a:extLst>
          </p:cNvPr>
          <p:cNvGrpSpPr/>
          <p:nvPr/>
        </p:nvGrpSpPr>
        <p:grpSpPr>
          <a:xfrm>
            <a:off x="294339" y="616858"/>
            <a:ext cx="11604625" cy="5620884"/>
            <a:chOff x="294339" y="616858"/>
            <a:chExt cx="11604625" cy="5620884"/>
          </a:xfrm>
        </p:grpSpPr>
        <p:sp>
          <p:nvSpPr>
            <p:cNvPr id="213" name="Oval 212">
              <a:extLst>
                <a:ext uri="{FF2B5EF4-FFF2-40B4-BE49-F238E27FC236}">
                  <a16:creationId xmlns:a16="http://schemas.microsoft.com/office/drawing/2014/main" id="{C47A586B-E387-CC5C-8D47-1D30C17EB0AE}"/>
                </a:ext>
                <a:ext uri="{C183D7F6-B498-43B3-948B-1728B52AA6E4}">
                  <adec:decorative xmlns:adec="http://schemas.microsoft.com/office/drawing/2017/decorative" val="1"/>
                </a:ext>
              </a:extLst>
            </p:cNvPr>
            <p:cNvSpPr/>
            <p:nvPr/>
          </p:nvSpPr>
          <p:spPr bwMode="auto">
            <a:xfrm>
              <a:off x="626438" y="2743618"/>
              <a:ext cx="1818039" cy="1818039"/>
            </a:xfrm>
            <a:prstGeom prst="ellipse">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0" cap="none" spc="0" normalizeH="0" baseline="0" noProof="0">
                <a:ln>
                  <a:noFill/>
                </a:ln>
                <a:solidFill>
                  <a:srgbClr val="FFFFFF"/>
                </a:solidFill>
                <a:effectLst/>
                <a:uLnTx/>
                <a:uFillTx/>
                <a:latin typeface="Segoe UI Semibold"/>
                <a:ea typeface="+mn-ea"/>
                <a:cs typeface="+mn-cs"/>
              </a:endParaRPr>
            </a:p>
          </p:txBody>
        </p:sp>
        <p:grpSp>
          <p:nvGrpSpPr>
            <p:cNvPr id="214" name="!!NetworkLines">
              <a:extLst>
                <a:ext uri="{FF2B5EF4-FFF2-40B4-BE49-F238E27FC236}">
                  <a16:creationId xmlns:a16="http://schemas.microsoft.com/office/drawing/2014/main" id="{F4FC35FB-2AAD-2B19-DF6E-F897F19A6089}"/>
                </a:ext>
              </a:extLst>
            </p:cNvPr>
            <p:cNvGrpSpPr/>
            <p:nvPr/>
          </p:nvGrpSpPr>
          <p:grpSpPr>
            <a:xfrm>
              <a:off x="6343035" y="2309706"/>
              <a:ext cx="4856025" cy="2833404"/>
              <a:chOff x="26278919" y="7127751"/>
              <a:chExt cx="11858730" cy="6919351"/>
            </a:xfrm>
          </p:grpSpPr>
          <p:sp>
            <p:nvSpPr>
              <p:cNvPr id="259" name="Freeform: Shape 258">
                <a:extLst>
                  <a:ext uri="{FF2B5EF4-FFF2-40B4-BE49-F238E27FC236}">
                    <a16:creationId xmlns:a16="http://schemas.microsoft.com/office/drawing/2014/main" id="{3D403572-465E-25D1-1D96-2111EE68B558}"/>
                  </a:ext>
                </a:extLst>
              </p:cNvPr>
              <p:cNvSpPr/>
              <p:nvPr/>
            </p:nvSpPr>
            <p:spPr>
              <a:xfrm>
                <a:off x="26278919" y="7130936"/>
                <a:ext cx="4299641" cy="3471138"/>
              </a:xfrm>
              <a:custGeom>
                <a:avLst/>
                <a:gdLst>
                  <a:gd name="connsiteX0" fmla="*/ 0 w 4010353"/>
                  <a:gd name="connsiteY0" fmla="*/ 2428280 h 2428280"/>
                  <a:gd name="connsiteX1" fmla="*/ 4010354 w 4010353"/>
                  <a:gd name="connsiteY1" fmla="*/ 0 h 2428280"/>
                </a:gdLst>
                <a:ahLst/>
                <a:cxnLst>
                  <a:cxn ang="0">
                    <a:pos x="connsiteX0" y="connsiteY0"/>
                  </a:cxn>
                  <a:cxn ang="0">
                    <a:pos x="connsiteX1" y="connsiteY1"/>
                  </a:cxn>
                </a:cxnLst>
                <a:rect l="l" t="t" r="r" b="b"/>
                <a:pathLst>
                  <a:path w="4010353" h="2428280">
                    <a:moveTo>
                      <a:pt x="0" y="2428280"/>
                    </a:moveTo>
                    <a:lnTo>
                      <a:pt x="4010354"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0" name="Freeform: Shape 259">
                <a:extLst>
                  <a:ext uri="{FF2B5EF4-FFF2-40B4-BE49-F238E27FC236}">
                    <a16:creationId xmlns:a16="http://schemas.microsoft.com/office/drawing/2014/main" id="{F8C09892-B3BB-A647-DFCD-58D10ED5EFAC}"/>
                  </a:ext>
                </a:extLst>
              </p:cNvPr>
              <p:cNvSpPr/>
              <p:nvPr/>
            </p:nvSpPr>
            <p:spPr>
              <a:xfrm>
                <a:off x="26278919" y="8893798"/>
                <a:ext cx="6723610" cy="1708275"/>
              </a:xfrm>
              <a:custGeom>
                <a:avLst/>
                <a:gdLst>
                  <a:gd name="connsiteX0" fmla="*/ 0 w 6271233"/>
                  <a:gd name="connsiteY0" fmla="*/ 1397819 h 1397819"/>
                  <a:gd name="connsiteX1" fmla="*/ 6271234 w 6271233"/>
                  <a:gd name="connsiteY1" fmla="*/ 0 h 1397819"/>
                </a:gdLst>
                <a:ahLst/>
                <a:cxnLst>
                  <a:cxn ang="0">
                    <a:pos x="connsiteX0" y="connsiteY0"/>
                  </a:cxn>
                  <a:cxn ang="0">
                    <a:pos x="connsiteX1" y="connsiteY1"/>
                  </a:cxn>
                </a:cxnLst>
                <a:rect l="l" t="t" r="r" b="b"/>
                <a:pathLst>
                  <a:path w="6271233" h="1397819">
                    <a:moveTo>
                      <a:pt x="0" y="1397819"/>
                    </a:moveTo>
                    <a:lnTo>
                      <a:pt x="6271234"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1" name="Freeform: Shape 260">
                <a:extLst>
                  <a:ext uri="{FF2B5EF4-FFF2-40B4-BE49-F238E27FC236}">
                    <a16:creationId xmlns:a16="http://schemas.microsoft.com/office/drawing/2014/main" id="{6D4D1983-2E06-6DD4-E6D8-AC8B847F544C}"/>
                  </a:ext>
                </a:extLst>
              </p:cNvPr>
              <p:cNvSpPr/>
              <p:nvPr/>
            </p:nvSpPr>
            <p:spPr>
              <a:xfrm>
                <a:off x="26278919" y="10602074"/>
                <a:ext cx="4090583" cy="352768"/>
              </a:xfrm>
              <a:custGeom>
                <a:avLst/>
                <a:gdLst>
                  <a:gd name="connsiteX0" fmla="*/ 0 w 5237844"/>
                  <a:gd name="connsiteY0" fmla="*/ 0 h 601528"/>
                  <a:gd name="connsiteX1" fmla="*/ 5237845 w 5237844"/>
                  <a:gd name="connsiteY1" fmla="*/ 601528 h 601528"/>
                </a:gdLst>
                <a:ahLst/>
                <a:cxnLst>
                  <a:cxn ang="0">
                    <a:pos x="connsiteX0" y="connsiteY0"/>
                  </a:cxn>
                  <a:cxn ang="0">
                    <a:pos x="connsiteX1" y="connsiteY1"/>
                  </a:cxn>
                </a:cxnLst>
                <a:rect l="l" t="t" r="r" b="b"/>
                <a:pathLst>
                  <a:path w="5237844" h="601528">
                    <a:moveTo>
                      <a:pt x="0" y="0"/>
                    </a:moveTo>
                    <a:lnTo>
                      <a:pt x="5237845" y="601528"/>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B352CFAF-DAD8-8CBB-694B-D8AB4B23EAA2}"/>
                  </a:ext>
                </a:extLst>
              </p:cNvPr>
              <p:cNvSpPr/>
              <p:nvPr/>
            </p:nvSpPr>
            <p:spPr>
              <a:xfrm>
                <a:off x="26278919" y="10602073"/>
                <a:ext cx="3725726" cy="3405436"/>
              </a:xfrm>
              <a:custGeom>
                <a:avLst/>
                <a:gdLst>
                  <a:gd name="connsiteX0" fmla="*/ 0 w 3475052"/>
                  <a:gd name="connsiteY0" fmla="*/ 0 h 2786544"/>
                  <a:gd name="connsiteX1" fmla="*/ 3475052 w 3475052"/>
                  <a:gd name="connsiteY1" fmla="*/ 2786545 h 2786544"/>
                </a:gdLst>
                <a:ahLst/>
                <a:cxnLst>
                  <a:cxn ang="0">
                    <a:pos x="connsiteX0" y="connsiteY0"/>
                  </a:cxn>
                  <a:cxn ang="0">
                    <a:pos x="connsiteX1" y="connsiteY1"/>
                  </a:cxn>
                </a:cxnLst>
                <a:rect l="l" t="t" r="r" b="b"/>
                <a:pathLst>
                  <a:path w="3475052" h="2786544">
                    <a:moveTo>
                      <a:pt x="0" y="0"/>
                    </a:moveTo>
                    <a:lnTo>
                      <a:pt x="3475052" y="2786545"/>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3" name="Freeform: Shape 262">
                <a:extLst>
                  <a:ext uri="{FF2B5EF4-FFF2-40B4-BE49-F238E27FC236}">
                    <a16:creationId xmlns:a16="http://schemas.microsoft.com/office/drawing/2014/main" id="{891A3E3B-74B2-6816-B7F4-1C4680BA545F}"/>
                  </a:ext>
                </a:extLst>
              </p:cNvPr>
              <p:cNvSpPr/>
              <p:nvPr/>
            </p:nvSpPr>
            <p:spPr>
              <a:xfrm>
                <a:off x="26278919" y="10602073"/>
                <a:ext cx="6894546" cy="3445028"/>
              </a:xfrm>
              <a:custGeom>
                <a:avLst/>
                <a:gdLst>
                  <a:gd name="connsiteX0" fmla="*/ 0 w 6430668"/>
                  <a:gd name="connsiteY0" fmla="*/ 0 h 2818941"/>
                  <a:gd name="connsiteX1" fmla="*/ 6430669 w 6430668"/>
                  <a:gd name="connsiteY1" fmla="*/ 2818942 h 2818941"/>
                </a:gdLst>
                <a:ahLst/>
                <a:cxnLst>
                  <a:cxn ang="0">
                    <a:pos x="connsiteX0" y="connsiteY0"/>
                  </a:cxn>
                  <a:cxn ang="0">
                    <a:pos x="connsiteX1" y="connsiteY1"/>
                  </a:cxn>
                </a:cxnLst>
                <a:rect l="l" t="t" r="r" b="b"/>
                <a:pathLst>
                  <a:path w="6430668" h="2818941">
                    <a:moveTo>
                      <a:pt x="0" y="0"/>
                    </a:moveTo>
                    <a:lnTo>
                      <a:pt x="6430669" y="2818942"/>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4" name="Freeform: Shape 263">
                <a:extLst>
                  <a:ext uri="{FF2B5EF4-FFF2-40B4-BE49-F238E27FC236}">
                    <a16:creationId xmlns:a16="http://schemas.microsoft.com/office/drawing/2014/main" id="{4CECEBBF-7EE7-06D6-6FA9-7863A599067A}"/>
                  </a:ext>
                </a:extLst>
              </p:cNvPr>
              <p:cNvSpPr/>
              <p:nvPr/>
            </p:nvSpPr>
            <p:spPr>
              <a:xfrm>
                <a:off x="30391111" y="10961209"/>
                <a:ext cx="2782355" cy="3085893"/>
              </a:xfrm>
              <a:custGeom>
                <a:avLst/>
                <a:gdLst>
                  <a:gd name="connsiteX0" fmla="*/ 0 w 1192823"/>
                  <a:gd name="connsiteY0" fmla="*/ 0 h 2217413"/>
                  <a:gd name="connsiteX1" fmla="*/ 1192823 w 1192823"/>
                  <a:gd name="connsiteY1" fmla="*/ 2217414 h 2217413"/>
                </a:gdLst>
                <a:ahLst/>
                <a:cxnLst>
                  <a:cxn ang="0">
                    <a:pos x="connsiteX0" y="connsiteY0"/>
                  </a:cxn>
                  <a:cxn ang="0">
                    <a:pos x="connsiteX1" y="connsiteY1"/>
                  </a:cxn>
                </a:cxnLst>
                <a:rect l="l" t="t" r="r" b="b"/>
                <a:pathLst>
                  <a:path w="1192823" h="2217413">
                    <a:moveTo>
                      <a:pt x="0" y="0"/>
                    </a:moveTo>
                    <a:lnTo>
                      <a:pt x="1192823" y="2217414"/>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FC2A43D8-E9CE-F6E5-EA29-86BD7F9EAE04}"/>
                  </a:ext>
                </a:extLst>
              </p:cNvPr>
              <p:cNvSpPr/>
              <p:nvPr/>
            </p:nvSpPr>
            <p:spPr>
              <a:xfrm>
                <a:off x="30004646" y="10961209"/>
                <a:ext cx="374168" cy="3046300"/>
              </a:xfrm>
              <a:custGeom>
                <a:avLst/>
                <a:gdLst>
                  <a:gd name="connsiteX0" fmla="*/ 0 w 1762792"/>
                  <a:gd name="connsiteY0" fmla="*/ 2185017 h 2185016"/>
                  <a:gd name="connsiteX1" fmla="*/ 1762793 w 1762792"/>
                  <a:gd name="connsiteY1" fmla="*/ 0 h 2185016"/>
                </a:gdLst>
                <a:ahLst/>
                <a:cxnLst>
                  <a:cxn ang="0">
                    <a:pos x="connsiteX0" y="connsiteY0"/>
                  </a:cxn>
                  <a:cxn ang="0">
                    <a:pos x="connsiteX1" y="connsiteY1"/>
                  </a:cxn>
                </a:cxnLst>
                <a:rect l="l" t="t" r="r" b="b"/>
                <a:pathLst>
                  <a:path w="1762792" h="2185016">
                    <a:moveTo>
                      <a:pt x="0" y="2185017"/>
                    </a:moveTo>
                    <a:lnTo>
                      <a:pt x="1762793"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619D9210-E42E-4232-6C9B-3DA5C98B4CEA}"/>
                  </a:ext>
                </a:extLst>
              </p:cNvPr>
              <p:cNvSpPr/>
              <p:nvPr/>
            </p:nvSpPr>
            <p:spPr>
              <a:xfrm>
                <a:off x="30004645" y="14007510"/>
                <a:ext cx="3168819" cy="39592"/>
              </a:xfrm>
              <a:custGeom>
                <a:avLst/>
                <a:gdLst>
                  <a:gd name="connsiteX0" fmla="*/ 0 w 2955615"/>
                  <a:gd name="connsiteY0" fmla="*/ 0 h 32397"/>
                  <a:gd name="connsiteX1" fmla="*/ 2955616 w 2955615"/>
                  <a:gd name="connsiteY1" fmla="*/ 32397 h 32397"/>
                </a:gdLst>
                <a:ahLst/>
                <a:cxnLst>
                  <a:cxn ang="0">
                    <a:pos x="connsiteX0" y="connsiteY0"/>
                  </a:cxn>
                  <a:cxn ang="0">
                    <a:pos x="connsiteX1" y="connsiteY1"/>
                  </a:cxn>
                </a:cxnLst>
                <a:rect l="l" t="t" r="r" b="b"/>
                <a:pathLst>
                  <a:path w="2955615" h="32397">
                    <a:moveTo>
                      <a:pt x="0" y="0"/>
                    </a:moveTo>
                    <a:lnTo>
                      <a:pt x="2955616" y="32397"/>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7" name="Freeform: Shape 266">
                <a:extLst>
                  <a:ext uri="{FF2B5EF4-FFF2-40B4-BE49-F238E27FC236}">
                    <a16:creationId xmlns:a16="http://schemas.microsoft.com/office/drawing/2014/main" id="{8EB56209-2756-AE82-D67D-8154039FC073}"/>
                  </a:ext>
                </a:extLst>
              </p:cNvPr>
              <p:cNvSpPr/>
              <p:nvPr/>
            </p:nvSpPr>
            <p:spPr>
              <a:xfrm flipH="1">
                <a:off x="30391111" y="7134121"/>
                <a:ext cx="197436" cy="3820720"/>
              </a:xfrm>
              <a:custGeom>
                <a:avLst/>
                <a:gdLst>
                  <a:gd name="connsiteX0" fmla="*/ 1227491 w 1227491"/>
                  <a:gd name="connsiteY0" fmla="*/ 3029809 h 3029808"/>
                  <a:gd name="connsiteX1" fmla="*/ 0 w 1227491"/>
                  <a:gd name="connsiteY1" fmla="*/ 0 h 3029808"/>
                </a:gdLst>
                <a:ahLst/>
                <a:cxnLst>
                  <a:cxn ang="0">
                    <a:pos x="connsiteX0" y="connsiteY0"/>
                  </a:cxn>
                  <a:cxn ang="0">
                    <a:pos x="connsiteX1" y="connsiteY1"/>
                  </a:cxn>
                </a:cxnLst>
                <a:rect l="l" t="t" r="r" b="b"/>
                <a:pathLst>
                  <a:path w="1227491" h="3029808">
                    <a:moveTo>
                      <a:pt x="1227491" y="3029809"/>
                    </a:moveTo>
                    <a:lnTo>
                      <a:pt x="0" y="0"/>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8" name="Freeform: Shape 267">
                <a:extLst>
                  <a:ext uri="{FF2B5EF4-FFF2-40B4-BE49-F238E27FC236}">
                    <a16:creationId xmlns:a16="http://schemas.microsoft.com/office/drawing/2014/main" id="{CFBE064B-383C-CDE7-581C-C078A662C9AB}"/>
                  </a:ext>
                </a:extLst>
              </p:cNvPr>
              <p:cNvSpPr/>
              <p:nvPr/>
            </p:nvSpPr>
            <p:spPr>
              <a:xfrm flipV="1">
                <a:off x="30600169" y="7127752"/>
                <a:ext cx="5043463" cy="174465"/>
              </a:xfrm>
              <a:custGeom>
                <a:avLst/>
                <a:gdLst>
                  <a:gd name="connsiteX0" fmla="*/ 0 w 4724284"/>
                  <a:gd name="connsiteY0" fmla="*/ 271872 h 271871"/>
                  <a:gd name="connsiteX1" fmla="*/ 4724285 w 4724284"/>
                  <a:gd name="connsiteY1" fmla="*/ 0 h 271871"/>
                </a:gdLst>
                <a:ahLst/>
                <a:cxnLst>
                  <a:cxn ang="0">
                    <a:pos x="connsiteX0" y="connsiteY0"/>
                  </a:cxn>
                  <a:cxn ang="0">
                    <a:pos x="connsiteX1" y="connsiteY1"/>
                  </a:cxn>
                </a:cxnLst>
                <a:rect l="l" t="t" r="r" b="b"/>
                <a:pathLst>
                  <a:path w="4724284" h="271871">
                    <a:moveTo>
                      <a:pt x="0" y="271872"/>
                    </a:moveTo>
                    <a:lnTo>
                      <a:pt x="4724285"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80A0C4D9-C19D-49C9-8619-966C81E48FE8}"/>
                  </a:ext>
                </a:extLst>
              </p:cNvPr>
              <p:cNvSpPr/>
              <p:nvPr/>
            </p:nvSpPr>
            <p:spPr>
              <a:xfrm>
                <a:off x="33002529" y="7302217"/>
                <a:ext cx="2641102" cy="1591580"/>
              </a:xfrm>
              <a:custGeom>
                <a:avLst/>
                <a:gdLst>
                  <a:gd name="connsiteX0" fmla="*/ 2463405 w 2463404"/>
                  <a:gd name="connsiteY0" fmla="*/ 0 h 1302332"/>
                  <a:gd name="connsiteX1" fmla="*/ 0 w 2463404"/>
                  <a:gd name="connsiteY1" fmla="*/ 1302333 h 1302332"/>
                </a:gdLst>
                <a:ahLst/>
                <a:cxnLst>
                  <a:cxn ang="0">
                    <a:pos x="connsiteX0" y="connsiteY0"/>
                  </a:cxn>
                  <a:cxn ang="0">
                    <a:pos x="connsiteX1" y="connsiteY1"/>
                  </a:cxn>
                </a:cxnLst>
                <a:rect l="l" t="t" r="r" b="b"/>
                <a:pathLst>
                  <a:path w="2463404" h="1302332">
                    <a:moveTo>
                      <a:pt x="2463405" y="0"/>
                    </a:moveTo>
                    <a:lnTo>
                      <a:pt x="0" y="1302333"/>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6A81DF3B-BFFB-8910-0D32-3B54CFF385CE}"/>
                  </a:ext>
                </a:extLst>
              </p:cNvPr>
              <p:cNvSpPr/>
              <p:nvPr/>
            </p:nvSpPr>
            <p:spPr>
              <a:xfrm>
                <a:off x="30578560" y="7127751"/>
                <a:ext cx="2423969" cy="1766046"/>
              </a:xfrm>
              <a:custGeom>
                <a:avLst/>
                <a:gdLst>
                  <a:gd name="connsiteX0" fmla="*/ 0 w 2260879"/>
                  <a:gd name="connsiteY0" fmla="*/ 0 h 1030460"/>
                  <a:gd name="connsiteX1" fmla="*/ 2260880 w 2260879"/>
                  <a:gd name="connsiteY1" fmla="*/ 1030461 h 1030460"/>
                </a:gdLst>
                <a:ahLst/>
                <a:cxnLst>
                  <a:cxn ang="0">
                    <a:pos x="connsiteX0" y="connsiteY0"/>
                  </a:cxn>
                  <a:cxn ang="0">
                    <a:pos x="connsiteX1" y="connsiteY1"/>
                  </a:cxn>
                </a:cxnLst>
                <a:rect l="l" t="t" r="r" b="b"/>
                <a:pathLst>
                  <a:path w="2260879" h="1030460">
                    <a:moveTo>
                      <a:pt x="0" y="0"/>
                    </a:moveTo>
                    <a:lnTo>
                      <a:pt x="2260880" y="1030461"/>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1" name="Freeform: Shape 270">
                <a:extLst>
                  <a:ext uri="{FF2B5EF4-FFF2-40B4-BE49-F238E27FC236}">
                    <a16:creationId xmlns:a16="http://schemas.microsoft.com/office/drawing/2014/main" id="{E51AC5DC-DCF6-789A-FA19-27A16ACEE610}"/>
                  </a:ext>
                </a:extLst>
              </p:cNvPr>
              <p:cNvSpPr/>
              <p:nvPr/>
            </p:nvSpPr>
            <p:spPr>
              <a:xfrm>
                <a:off x="33002529" y="8893798"/>
                <a:ext cx="1992850" cy="2493414"/>
              </a:xfrm>
              <a:custGeom>
                <a:avLst/>
                <a:gdLst>
                  <a:gd name="connsiteX0" fmla="*/ 0 w 1858767"/>
                  <a:gd name="connsiteY0" fmla="*/ 0 h 2040270"/>
                  <a:gd name="connsiteX1" fmla="*/ 1858767 w 1858767"/>
                  <a:gd name="connsiteY1" fmla="*/ 2040271 h 2040270"/>
                </a:gdLst>
                <a:ahLst/>
                <a:cxnLst>
                  <a:cxn ang="0">
                    <a:pos x="connsiteX0" y="connsiteY0"/>
                  </a:cxn>
                  <a:cxn ang="0">
                    <a:pos x="connsiteX1" y="connsiteY1"/>
                  </a:cxn>
                </a:cxnLst>
                <a:rect l="l" t="t" r="r" b="b"/>
                <a:pathLst>
                  <a:path w="1858767" h="2040270">
                    <a:moveTo>
                      <a:pt x="0" y="0"/>
                    </a:moveTo>
                    <a:lnTo>
                      <a:pt x="1858767" y="2040271"/>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2" name="Freeform: Shape 271">
                <a:extLst>
                  <a:ext uri="{FF2B5EF4-FFF2-40B4-BE49-F238E27FC236}">
                    <a16:creationId xmlns:a16="http://schemas.microsoft.com/office/drawing/2014/main" id="{EDC4DA26-8BCD-5A54-9E5C-1DF427F285D1}"/>
                  </a:ext>
                </a:extLst>
              </p:cNvPr>
              <p:cNvSpPr/>
              <p:nvPr/>
            </p:nvSpPr>
            <p:spPr>
              <a:xfrm>
                <a:off x="30388728" y="8893798"/>
                <a:ext cx="2613802" cy="2067413"/>
              </a:xfrm>
              <a:custGeom>
                <a:avLst/>
                <a:gdLst>
                  <a:gd name="connsiteX0" fmla="*/ 1033388 w 1033388"/>
                  <a:gd name="connsiteY0" fmla="*/ 0 h 1999347"/>
                  <a:gd name="connsiteX1" fmla="*/ 0 w 1033388"/>
                  <a:gd name="connsiteY1" fmla="*/ 1999348 h 1999347"/>
                </a:gdLst>
                <a:ahLst/>
                <a:cxnLst>
                  <a:cxn ang="0">
                    <a:pos x="connsiteX0" y="connsiteY0"/>
                  </a:cxn>
                  <a:cxn ang="0">
                    <a:pos x="connsiteX1" y="connsiteY1"/>
                  </a:cxn>
                </a:cxnLst>
                <a:rect l="l" t="t" r="r" b="b"/>
                <a:pathLst>
                  <a:path w="1033388" h="1999347">
                    <a:moveTo>
                      <a:pt x="1033388" y="0"/>
                    </a:moveTo>
                    <a:lnTo>
                      <a:pt x="0" y="1999348"/>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3" name="Freeform: Shape 272">
                <a:extLst>
                  <a:ext uri="{FF2B5EF4-FFF2-40B4-BE49-F238E27FC236}">
                    <a16:creationId xmlns:a16="http://schemas.microsoft.com/office/drawing/2014/main" id="{8437BA58-691D-633B-69AD-BB6A1347618D}"/>
                  </a:ext>
                </a:extLst>
              </p:cNvPr>
              <p:cNvSpPr/>
              <p:nvPr/>
            </p:nvSpPr>
            <p:spPr>
              <a:xfrm>
                <a:off x="33173465" y="11387213"/>
                <a:ext cx="1821914" cy="2659889"/>
              </a:xfrm>
              <a:custGeom>
                <a:avLst/>
                <a:gdLst>
                  <a:gd name="connsiteX0" fmla="*/ 1699332 w 1699332"/>
                  <a:gd name="connsiteY0" fmla="*/ 0 h 2176490"/>
                  <a:gd name="connsiteX1" fmla="*/ 0 w 1699332"/>
                  <a:gd name="connsiteY1" fmla="*/ 2176491 h 2176490"/>
                </a:gdLst>
                <a:ahLst/>
                <a:cxnLst>
                  <a:cxn ang="0">
                    <a:pos x="connsiteX0" y="connsiteY0"/>
                  </a:cxn>
                  <a:cxn ang="0">
                    <a:pos x="connsiteX1" y="connsiteY1"/>
                  </a:cxn>
                </a:cxnLst>
                <a:rect l="l" t="t" r="r" b="b"/>
                <a:pathLst>
                  <a:path w="1699332" h="2176490">
                    <a:moveTo>
                      <a:pt x="1699332" y="0"/>
                    </a:moveTo>
                    <a:lnTo>
                      <a:pt x="0" y="2176491"/>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4" name="Freeform: Shape 273">
                <a:extLst>
                  <a:ext uri="{FF2B5EF4-FFF2-40B4-BE49-F238E27FC236}">
                    <a16:creationId xmlns:a16="http://schemas.microsoft.com/office/drawing/2014/main" id="{CFA66090-4B2A-BD52-EC2A-10400FB8ABD6}"/>
                  </a:ext>
                </a:extLst>
              </p:cNvPr>
              <p:cNvSpPr/>
              <p:nvPr/>
            </p:nvSpPr>
            <p:spPr>
              <a:xfrm>
                <a:off x="34995379" y="11387213"/>
                <a:ext cx="1456811" cy="2235399"/>
              </a:xfrm>
              <a:custGeom>
                <a:avLst/>
                <a:gdLst>
                  <a:gd name="connsiteX0" fmla="*/ 0 w 943485"/>
                  <a:gd name="connsiteY0" fmla="*/ 0 h 2305132"/>
                  <a:gd name="connsiteX1" fmla="*/ 943486 w 943485"/>
                  <a:gd name="connsiteY1" fmla="*/ 2305133 h 2305132"/>
                </a:gdLst>
                <a:ahLst/>
                <a:cxnLst>
                  <a:cxn ang="0">
                    <a:pos x="connsiteX0" y="connsiteY0"/>
                  </a:cxn>
                  <a:cxn ang="0">
                    <a:pos x="connsiteX1" y="connsiteY1"/>
                  </a:cxn>
                </a:cxnLst>
                <a:rect l="l" t="t" r="r" b="b"/>
                <a:pathLst>
                  <a:path w="943485" h="2305132">
                    <a:moveTo>
                      <a:pt x="0" y="0"/>
                    </a:moveTo>
                    <a:lnTo>
                      <a:pt x="943486" y="2305133"/>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5" name="Freeform: Shape 274">
                <a:extLst>
                  <a:ext uri="{FF2B5EF4-FFF2-40B4-BE49-F238E27FC236}">
                    <a16:creationId xmlns:a16="http://schemas.microsoft.com/office/drawing/2014/main" id="{8D140C0E-F6A0-19F0-9BB9-AE2560D17326}"/>
                  </a:ext>
                </a:extLst>
              </p:cNvPr>
              <p:cNvSpPr/>
              <p:nvPr/>
            </p:nvSpPr>
            <p:spPr>
              <a:xfrm>
                <a:off x="34995380" y="10450945"/>
                <a:ext cx="3142263" cy="936268"/>
              </a:xfrm>
              <a:custGeom>
                <a:avLst/>
                <a:gdLst>
                  <a:gd name="connsiteX0" fmla="*/ 0 w 2841426"/>
                  <a:gd name="connsiteY0" fmla="*/ 171080 h 171080"/>
                  <a:gd name="connsiteX1" fmla="*/ 2841426 w 2841426"/>
                  <a:gd name="connsiteY1" fmla="*/ 0 h 171080"/>
                </a:gdLst>
                <a:ahLst/>
                <a:cxnLst>
                  <a:cxn ang="0">
                    <a:pos x="connsiteX0" y="connsiteY0"/>
                  </a:cxn>
                  <a:cxn ang="0">
                    <a:pos x="connsiteX1" y="connsiteY1"/>
                  </a:cxn>
                </a:cxnLst>
                <a:rect l="l" t="t" r="r" b="b"/>
                <a:pathLst>
                  <a:path w="2841426" h="171080">
                    <a:moveTo>
                      <a:pt x="0" y="171080"/>
                    </a:moveTo>
                    <a:lnTo>
                      <a:pt x="2841426"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6" name="Freeform: Shape 275">
                <a:extLst>
                  <a:ext uri="{FF2B5EF4-FFF2-40B4-BE49-F238E27FC236}">
                    <a16:creationId xmlns:a16="http://schemas.microsoft.com/office/drawing/2014/main" id="{F4782C60-601C-D1E4-D6C2-4BD3F42350D8}"/>
                  </a:ext>
                </a:extLst>
              </p:cNvPr>
              <p:cNvSpPr/>
              <p:nvPr/>
            </p:nvSpPr>
            <p:spPr>
              <a:xfrm>
                <a:off x="35643634" y="7302218"/>
                <a:ext cx="2494008" cy="3135278"/>
              </a:xfrm>
              <a:custGeom>
                <a:avLst/>
                <a:gdLst>
                  <a:gd name="connsiteX0" fmla="*/ 0 w 2236788"/>
                  <a:gd name="connsiteY0" fmla="*/ 0 h 3171522"/>
                  <a:gd name="connsiteX1" fmla="*/ 2236788 w 2236788"/>
                  <a:gd name="connsiteY1" fmla="*/ 3171523 h 3171522"/>
                </a:gdLst>
                <a:ahLst/>
                <a:cxnLst>
                  <a:cxn ang="0">
                    <a:pos x="connsiteX0" y="connsiteY0"/>
                  </a:cxn>
                  <a:cxn ang="0">
                    <a:pos x="connsiteX1" y="connsiteY1"/>
                  </a:cxn>
                </a:cxnLst>
                <a:rect l="l" t="t" r="r" b="b"/>
                <a:pathLst>
                  <a:path w="2236788" h="3171522">
                    <a:moveTo>
                      <a:pt x="0" y="0"/>
                    </a:moveTo>
                    <a:lnTo>
                      <a:pt x="2236788" y="3171523"/>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7" name="Freeform: Shape 276">
                <a:extLst>
                  <a:ext uri="{FF2B5EF4-FFF2-40B4-BE49-F238E27FC236}">
                    <a16:creationId xmlns:a16="http://schemas.microsoft.com/office/drawing/2014/main" id="{7E9F8B03-227D-2603-00AE-38E423B35B9D}"/>
                  </a:ext>
                </a:extLst>
              </p:cNvPr>
              <p:cNvSpPr/>
              <p:nvPr/>
            </p:nvSpPr>
            <p:spPr>
              <a:xfrm>
                <a:off x="34995380" y="7302217"/>
                <a:ext cx="648253" cy="4084995"/>
              </a:xfrm>
              <a:custGeom>
                <a:avLst/>
                <a:gdLst>
                  <a:gd name="connsiteX0" fmla="*/ 604638 w 604637"/>
                  <a:gd name="connsiteY0" fmla="*/ 0 h 3342603"/>
                  <a:gd name="connsiteX1" fmla="*/ 0 w 604637"/>
                  <a:gd name="connsiteY1" fmla="*/ 3342603 h 3342603"/>
                </a:gdLst>
                <a:ahLst/>
                <a:cxnLst>
                  <a:cxn ang="0">
                    <a:pos x="connsiteX0" y="connsiteY0"/>
                  </a:cxn>
                  <a:cxn ang="0">
                    <a:pos x="connsiteX1" y="connsiteY1"/>
                  </a:cxn>
                </a:cxnLst>
                <a:rect l="l" t="t" r="r" b="b"/>
                <a:pathLst>
                  <a:path w="604637" h="3342603">
                    <a:moveTo>
                      <a:pt x="604638" y="0"/>
                    </a:moveTo>
                    <a:lnTo>
                      <a:pt x="0" y="3342603"/>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8" name="Freeform: Shape 277">
                <a:extLst>
                  <a:ext uri="{FF2B5EF4-FFF2-40B4-BE49-F238E27FC236}">
                    <a16:creationId xmlns:a16="http://schemas.microsoft.com/office/drawing/2014/main" id="{3714337D-5009-031E-D184-C49783E10ED7}"/>
                  </a:ext>
                </a:extLst>
              </p:cNvPr>
              <p:cNvSpPr/>
              <p:nvPr/>
            </p:nvSpPr>
            <p:spPr>
              <a:xfrm>
                <a:off x="33002529" y="8893799"/>
                <a:ext cx="5135120" cy="1557146"/>
              </a:xfrm>
              <a:custGeom>
                <a:avLst/>
                <a:gdLst>
                  <a:gd name="connsiteX0" fmla="*/ 0 w 4700193"/>
                  <a:gd name="connsiteY0" fmla="*/ 0 h 1869190"/>
                  <a:gd name="connsiteX1" fmla="*/ 4700193 w 4700193"/>
                  <a:gd name="connsiteY1" fmla="*/ 1869190 h 1869190"/>
                </a:gdLst>
                <a:ahLst/>
                <a:cxnLst>
                  <a:cxn ang="0">
                    <a:pos x="connsiteX0" y="connsiteY0"/>
                  </a:cxn>
                  <a:cxn ang="0">
                    <a:pos x="connsiteX1" y="connsiteY1"/>
                  </a:cxn>
                </a:cxnLst>
                <a:rect l="l" t="t" r="r" b="b"/>
                <a:pathLst>
                  <a:path w="4700193" h="1869190">
                    <a:moveTo>
                      <a:pt x="0" y="0"/>
                    </a:moveTo>
                    <a:lnTo>
                      <a:pt x="4700193" y="186919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9" name="Freeform: Shape 278">
                <a:extLst>
                  <a:ext uri="{FF2B5EF4-FFF2-40B4-BE49-F238E27FC236}">
                    <a16:creationId xmlns:a16="http://schemas.microsoft.com/office/drawing/2014/main" id="{92D9F644-D0BD-0B5B-05EE-548EF8E1DB04}"/>
                  </a:ext>
                </a:extLst>
              </p:cNvPr>
              <p:cNvSpPr/>
              <p:nvPr/>
            </p:nvSpPr>
            <p:spPr>
              <a:xfrm>
                <a:off x="30376853" y="10961211"/>
                <a:ext cx="4618527" cy="482093"/>
              </a:xfrm>
              <a:custGeom>
                <a:avLst/>
                <a:gdLst>
                  <a:gd name="connsiteX0" fmla="*/ 0 w 2892155"/>
                  <a:gd name="connsiteY0" fmla="*/ 0 h 40922"/>
                  <a:gd name="connsiteX1" fmla="*/ 2892155 w 2892155"/>
                  <a:gd name="connsiteY1" fmla="*/ 40923 h 40922"/>
                </a:gdLst>
                <a:ahLst/>
                <a:cxnLst>
                  <a:cxn ang="0">
                    <a:pos x="connsiteX0" y="connsiteY0"/>
                  </a:cxn>
                  <a:cxn ang="0">
                    <a:pos x="connsiteX1" y="connsiteY1"/>
                  </a:cxn>
                </a:cxnLst>
                <a:rect l="l" t="t" r="r" b="b"/>
                <a:pathLst>
                  <a:path w="2892155" h="40922">
                    <a:moveTo>
                      <a:pt x="0" y="0"/>
                    </a:moveTo>
                    <a:lnTo>
                      <a:pt x="2892155" y="40923"/>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0" name="Freeform: Shape 279">
                <a:extLst>
                  <a:ext uri="{FF2B5EF4-FFF2-40B4-BE49-F238E27FC236}">
                    <a16:creationId xmlns:a16="http://schemas.microsoft.com/office/drawing/2014/main" id="{912FF4B7-1DE1-A505-1C92-D2DA4B3847AD}"/>
                  </a:ext>
                </a:extLst>
              </p:cNvPr>
              <p:cNvSpPr/>
              <p:nvPr/>
            </p:nvSpPr>
            <p:spPr>
              <a:xfrm>
                <a:off x="33002529" y="8893798"/>
                <a:ext cx="170935" cy="5153304"/>
              </a:xfrm>
              <a:custGeom>
                <a:avLst/>
                <a:gdLst>
                  <a:gd name="connsiteX0" fmla="*/ 0 w 159434"/>
                  <a:gd name="connsiteY0" fmla="*/ 0 h 4216761"/>
                  <a:gd name="connsiteX1" fmla="*/ 159435 w 159434"/>
                  <a:gd name="connsiteY1" fmla="*/ 4216762 h 4216761"/>
                </a:gdLst>
                <a:ahLst/>
                <a:cxnLst>
                  <a:cxn ang="0">
                    <a:pos x="connsiteX0" y="connsiteY0"/>
                  </a:cxn>
                  <a:cxn ang="0">
                    <a:pos x="connsiteX1" y="connsiteY1"/>
                  </a:cxn>
                </a:cxnLst>
                <a:rect l="l" t="t" r="r" b="b"/>
                <a:pathLst>
                  <a:path w="159434" h="4216761">
                    <a:moveTo>
                      <a:pt x="0" y="0"/>
                    </a:moveTo>
                    <a:lnTo>
                      <a:pt x="159435" y="4216762"/>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1" name="Freeform: Shape 280">
                <a:extLst>
                  <a:ext uri="{FF2B5EF4-FFF2-40B4-BE49-F238E27FC236}">
                    <a16:creationId xmlns:a16="http://schemas.microsoft.com/office/drawing/2014/main" id="{2EDB2D86-9828-7758-2312-6936ABFDA054}"/>
                  </a:ext>
                </a:extLst>
              </p:cNvPr>
              <p:cNvSpPr/>
              <p:nvPr/>
            </p:nvSpPr>
            <p:spPr>
              <a:xfrm>
                <a:off x="36452194" y="10450945"/>
                <a:ext cx="1685447" cy="3165222"/>
              </a:xfrm>
              <a:custGeom>
                <a:avLst/>
                <a:gdLst>
                  <a:gd name="connsiteX0" fmla="*/ 1897940 w 1897940"/>
                  <a:gd name="connsiteY0" fmla="*/ 0 h 2476212"/>
                  <a:gd name="connsiteX1" fmla="*/ 0 w 1897940"/>
                  <a:gd name="connsiteY1" fmla="*/ 2476213 h 2476212"/>
                </a:gdLst>
                <a:ahLst/>
                <a:cxnLst>
                  <a:cxn ang="0">
                    <a:pos x="connsiteX0" y="connsiteY0"/>
                  </a:cxn>
                  <a:cxn ang="0">
                    <a:pos x="connsiteX1" y="connsiteY1"/>
                  </a:cxn>
                </a:cxnLst>
                <a:rect l="l" t="t" r="r" b="b"/>
                <a:pathLst>
                  <a:path w="1897940" h="2476212">
                    <a:moveTo>
                      <a:pt x="1897940" y="0"/>
                    </a:moveTo>
                    <a:lnTo>
                      <a:pt x="0" y="2476213"/>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2" name="Freeform: Shape 281">
                <a:extLst>
                  <a:ext uri="{FF2B5EF4-FFF2-40B4-BE49-F238E27FC236}">
                    <a16:creationId xmlns:a16="http://schemas.microsoft.com/office/drawing/2014/main" id="{217ECB14-46E0-7F99-24EF-7D9B5FB9BFA0}"/>
                  </a:ext>
                </a:extLst>
              </p:cNvPr>
              <p:cNvSpPr/>
              <p:nvPr/>
            </p:nvSpPr>
            <p:spPr>
              <a:xfrm flipV="1">
                <a:off x="33173464" y="13622612"/>
                <a:ext cx="3278721" cy="424490"/>
              </a:xfrm>
              <a:custGeom>
                <a:avLst/>
                <a:gdLst>
                  <a:gd name="connsiteX0" fmla="*/ 0 w 2642818"/>
                  <a:gd name="connsiteY0" fmla="*/ 0 h 128641"/>
                  <a:gd name="connsiteX1" fmla="*/ 2642818 w 2642818"/>
                  <a:gd name="connsiteY1" fmla="*/ 128642 h 128641"/>
                </a:gdLst>
                <a:ahLst/>
                <a:cxnLst>
                  <a:cxn ang="0">
                    <a:pos x="connsiteX0" y="connsiteY0"/>
                  </a:cxn>
                  <a:cxn ang="0">
                    <a:pos x="connsiteX1" y="connsiteY1"/>
                  </a:cxn>
                </a:cxnLst>
                <a:rect l="l" t="t" r="r" b="b"/>
                <a:pathLst>
                  <a:path w="2642818" h="128641">
                    <a:moveTo>
                      <a:pt x="0" y="0"/>
                    </a:moveTo>
                    <a:lnTo>
                      <a:pt x="2642818" y="128642"/>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3" name="Freeform: Shape 282">
                <a:extLst>
                  <a:ext uri="{FF2B5EF4-FFF2-40B4-BE49-F238E27FC236}">
                    <a16:creationId xmlns:a16="http://schemas.microsoft.com/office/drawing/2014/main" id="{CAC6880E-6F4D-28D1-C168-9D308AC519E5}"/>
                  </a:ext>
                </a:extLst>
              </p:cNvPr>
              <p:cNvSpPr/>
              <p:nvPr/>
            </p:nvSpPr>
            <p:spPr>
              <a:xfrm>
                <a:off x="35643633" y="7302218"/>
                <a:ext cx="808560" cy="6313945"/>
              </a:xfrm>
              <a:custGeom>
                <a:avLst/>
                <a:gdLst>
                  <a:gd name="connsiteX0" fmla="*/ 0 w 338847"/>
                  <a:gd name="connsiteY0" fmla="*/ 0 h 5647735"/>
                  <a:gd name="connsiteX1" fmla="*/ 338848 w 338847"/>
                  <a:gd name="connsiteY1" fmla="*/ 5647736 h 5647735"/>
                </a:gdLst>
                <a:ahLst/>
                <a:cxnLst>
                  <a:cxn ang="0">
                    <a:pos x="connsiteX0" y="connsiteY0"/>
                  </a:cxn>
                  <a:cxn ang="0">
                    <a:pos x="connsiteX1" y="connsiteY1"/>
                  </a:cxn>
                </a:cxnLst>
                <a:rect l="l" t="t" r="r" b="b"/>
                <a:pathLst>
                  <a:path w="338847" h="5647735">
                    <a:moveTo>
                      <a:pt x="0" y="0"/>
                    </a:moveTo>
                    <a:lnTo>
                      <a:pt x="338848" y="5647736"/>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4" name="Freeform: Shape 283">
                <a:extLst>
                  <a:ext uri="{FF2B5EF4-FFF2-40B4-BE49-F238E27FC236}">
                    <a16:creationId xmlns:a16="http://schemas.microsoft.com/office/drawing/2014/main" id="{FE0C4EBB-E0AA-B2A6-CF40-6C0C5027FC3F}"/>
                  </a:ext>
                </a:extLst>
              </p:cNvPr>
              <p:cNvSpPr/>
              <p:nvPr/>
            </p:nvSpPr>
            <p:spPr>
              <a:xfrm>
                <a:off x="33173465" y="10437494"/>
                <a:ext cx="4964177" cy="3609607"/>
              </a:xfrm>
              <a:custGeom>
                <a:avLst/>
                <a:gdLst>
                  <a:gd name="connsiteX0" fmla="*/ 4540758 w 4540758"/>
                  <a:gd name="connsiteY0" fmla="*/ 0 h 2347571"/>
                  <a:gd name="connsiteX1" fmla="*/ 0 w 4540758"/>
                  <a:gd name="connsiteY1" fmla="*/ 2347571 h 2347571"/>
                </a:gdLst>
                <a:ahLst/>
                <a:cxnLst>
                  <a:cxn ang="0">
                    <a:pos x="connsiteX0" y="connsiteY0"/>
                  </a:cxn>
                  <a:cxn ang="0">
                    <a:pos x="connsiteX1" y="connsiteY1"/>
                  </a:cxn>
                </a:cxnLst>
                <a:rect l="l" t="t" r="r" b="b"/>
                <a:pathLst>
                  <a:path w="4540758" h="2347571">
                    <a:moveTo>
                      <a:pt x="4540758" y="0"/>
                    </a:moveTo>
                    <a:lnTo>
                      <a:pt x="0" y="2347571"/>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215" name="Group 214">
              <a:extLst>
                <a:ext uri="{FF2B5EF4-FFF2-40B4-BE49-F238E27FC236}">
                  <a16:creationId xmlns:a16="http://schemas.microsoft.com/office/drawing/2014/main" id="{E56918EB-E0F1-DF16-DCAA-BAA21035ED07}"/>
                </a:ext>
              </a:extLst>
            </p:cNvPr>
            <p:cNvGrpSpPr/>
            <p:nvPr/>
          </p:nvGrpSpPr>
          <p:grpSpPr>
            <a:xfrm>
              <a:off x="10831278" y="3297220"/>
              <a:ext cx="735586" cy="735586"/>
              <a:chOff x="36782287" y="9539321"/>
              <a:chExt cx="1796350" cy="1796350"/>
            </a:xfrm>
          </p:grpSpPr>
          <p:sp>
            <p:nvSpPr>
              <p:cNvPr id="257" name="Box">
                <a:extLst>
                  <a:ext uri="{FF2B5EF4-FFF2-40B4-BE49-F238E27FC236}">
                    <a16:creationId xmlns:a16="http://schemas.microsoft.com/office/drawing/2014/main" id="{89AFC9E2-49C1-1804-6109-FF22D5BAC231}"/>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8" name="Graphic 82">
                <a:extLst>
                  <a:ext uri="{FF2B5EF4-FFF2-40B4-BE49-F238E27FC236}">
                    <a16:creationId xmlns:a16="http://schemas.microsoft.com/office/drawing/2014/main" id="{A550B340-9BBB-DE7E-DDFD-FFBDD3B1F5ED}"/>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6" name="Group 215">
              <a:extLst>
                <a:ext uri="{FF2B5EF4-FFF2-40B4-BE49-F238E27FC236}">
                  <a16:creationId xmlns:a16="http://schemas.microsoft.com/office/drawing/2014/main" id="{CA1323BF-DE59-4C2B-A62C-41CA014629DC}"/>
                </a:ext>
              </a:extLst>
            </p:cNvPr>
            <p:cNvGrpSpPr/>
            <p:nvPr/>
          </p:nvGrpSpPr>
          <p:grpSpPr>
            <a:xfrm>
              <a:off x="7655740" y="3509065"/>
              <a:ext cx="735586" cy="735586"/>
              <a:chOff x="36782287" y="9539321"/>
              <a:chExt cx="1796350" cy="1796350"/>
            </a:xfrm>
          </p:grpSpPr>
          <p:sp>
            <p:nvSpPr>
              <p:cNvPr id="255" name="Box">
                <a:extLst>
                  <a:ext uri="{FF2B5EF4-FFF2-40B4-BE49-F238E27FC236}">
                    <a16:creationId xmlns:a16="http://schemas.microsoft.com/office/drawing/2014/main" id="{93B2F540-D340-CC1B-6D4E-36103616D817}"/>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6" name="Graphic 82">
                <a:extLst>
                  <a:ext uri="{FF2B5EF4-FFF2-40B4-BE49-F238E27FC236}">
                    <a16:creationId xmlns:a16="http://schemas.microsoft.com/office/drawing/2014/main" id="{C5838C59-09DC-4E3E-43EA-177BCF47590C}"/>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7" name="Group 216">
              <a:extLst>
                <a:ext uri="{FF2B5EF4-FFF2-40B4-BE49-F238E27FC236}">
                  <a16:creationId xmlns:a16="http://schemas.microsoft.com/office/drawing/2014/main" id="{D0508DB9-8B25-285C-C474-56CC9887E0C2}"/>
                </a:ext>
              </a:extLst>
            </p:cNvPr>
            <p:cNvGrpSpPr/>
            <p:nvPr/>
          </p:nvGrpSpPr>
          <p:grpSpPr>
            <a:xfrm>
              <a:off x="9916430" y="2203106"/>
              <a:ext cx="516724" cy="516724"/>
              <a:chOff x="36782287" y="9539321"/>
              <a:chExt cx="1796350" cy="1796350"/>
            </a:xfrm>
          </p:grpSpPr>
          <p:sp>
            <p:nvSpPr>
              <p:cNvPr id="253" name="Box">
                <a:extLst>
                  <a:ext uri="{FF2B5EF4-FFF2-40B4-BE49-F238E27FC236}">
                    <a16:creationId xmlns:a16="http://schemas.microsoft.com/office/drawing/2014/main" id="{217881B3-EBC9-968F-1721-C9A60F2E4775}"/>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4" name="Graphic 82">
                <a:extLst>
                  <a:ext uri="{FF2B5EF4-FFF2-40B4-BE49-F238E27FC236}">
                    <a16:creationId xmlns:a16="http://schemas.microsoft.com/office/drawing/2014/main" id="{E5B02C3C-510F-B0F4-048A-6D7AF58380F6}"/>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8" name="Group 217">
              <a:extLst>
                <a:ext uri="{FF2B5EF4-FFF2-40B4-BE49-F238E27FC236}">
                  <a16:creationId xmlns:a16="http://schemas.microsoft.com/office/drawing/2014/main" id="{F8ACAFD5-5129-3146-7EB3-1FB549D22C7F}"/>
                </a:ext>
              </a:extLst>
            </p:cNvPr>
            <p:cNvGrpSpPr/>
            <p:nvPr/>
          </p:nvGrpSpPr>
          <p:grpSpPr>
            <a:xfrm>
              <a:off x="7850607" y="2053158"/>
              <a:ext cx="516724" cy="516724"/>
              <a:chOff x="36782287" y="9539321"/>
              <a:chExt cx="1796350" cy="1796350"/>
            </a:xfrm>
          </p:grpSpPr>
          <p:sp>
            <p:nvSpPr>
              <p:cNvPr id="251" name="Box">
                <a:extLst>
                  <a:ext uri="{FF2B5EF4-FFF2-40B4-BE49-F238E27FC236}">
                    <a16:creationId xmlns:a16="http://schemas.microsoft.com/office/drawing/2014/main" id="{34530F18-35A2-17AF-4612-FAEA10A36547}"/>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2" name="Graphic 82">
                <a:extLst>
                  <a:ext uri="{FF2B5EF4-FFF2-40B4-BE49-F238E27FC236}">
                    <a16:creationId xmlns:a16="http://schemas.microsoft.com/office/drawing/2014/main" id="{04155460-66A3-A9F5-887C-090DF882759F}"/>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9" name="Group 218">
              <a:extLst>
                <a:ext uri="{FF2B5EF4-FFF2-40B4-BE49-F238E27FC236}">
                  <a16:creationId xmlns:a16="http://schemas.microsoft.com/office/drawing/2014/main" id="{1119CC84-A173-A508-9BF6-46C320C8178A}"/>
                </a:ext>
              </a:extLst>
            </p:cNvPr>
            <p:cNvGrpSpPr/>
            <p:nvPr/>
          </p:nvGrpSpPr>
          <p:grpSpPr>
            <a:xfrm>
              <a:off x="8906873" y="4866174"/>
              <a:ext cx="516724" cy="516724"/>
              <a:chOff x="36782287" y="9539321"/>
              <a:chExt cx="1796350" cy="1796350"/>
            </a:xfrm>
          </p:grpSpPr>
          <p:sp>
            <p:nvSpPr>
              <p:cNvPr id="249" name="Box">
                <a:extLst>
                  <a:ext uri="{FF2B5EF4-FFF2-40B4-BE49-F238E27FC236}">
                    <a16:creationId xmlns:a16="http://schemas.microsoft.com/office/drawing/2014/main" id="{FF52B427-CBD6-3B34-6D05-D00E1AD62316}"/>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0" name="Graphic 82">
                <a:extLst>
                  <a:ext uri="{FF2B5EF4-FFF2-40B4-BE49-F238E27FC236}">
                    <a16:creationId xmlns:a16="http://schemas.microsoft.com/office/drawing/2014/main" id="{E08FE051-482F-F6D8-AB9E-EADA30F819F4}"/>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20" name="Group 219">
              <a:extLst>
                <a:ext uri="{FF2B5EF4-FFF2-40B4-BE49-F238E27FC236}">
                  <a16:creationId xmlns:a16="http://schemas.microsoft.com/office/drawing/2014/main" id="{52DE8113-7D0B-568C-7090-3DC63D71D173}"/>
                </a:ext>
              </a:extLst>
            </p:cNvPr>
            <p:cNvGrpSpPr/>
            <p:nvPr/>
          </p:nvGrpSpPr>
          <p:grpSpPr>
            <a:xfrm>
              <a:off x="9752437" y="3901841"/>
              <a:ext cx="310783" cy="310783"/>
              <a:chOff x="36782287" y="9539321"/>
              <a:chExt cx="1796350" cy="1796350"/>
            </a:xfrm>
          </p:grpSpPr>
          <p:sp>
            <p:nvSpPr>
              <p:cNvPr id="247" name="Box">
                <a:extLst>
                  <a:ext uri="{FF2B5EF4-FFF2-40B4-BE49-F238E27FC236}">
                    <a16:creationId xmlns:a16="http://schemas.microsoft.com/office/drawing/2014/main" id="{1D20F63B-C955-7C92-5F17-43903DB720BE}"/>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48" name="Graphic 82">
                <a:extLst>
                  <a:ext uri="{FF2B5EF4-FFF2-40B4-BE49-F238E27FC236}">
                    <a16:creationId xmlns:a16="http://schemas.microsoft.com/office/drawing/2014/main" id="{BD045A44-CFDD-C955-C995-E2260E859CE4}"/>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21" name="Group 220">
              <a:extLst>
                <a:ext uri="{FF2B5EF4-FFF2-40B4-BE49-F238E27FC236}">
                  <a16:creationId xmlns:a16="http://schemas.microsoft.com/office/drawing/2014/main" id="{5401A923-F379-A876-53B2-FA77FFB454D7}"/>
                </a:ext>
              </a:extLst>
            </p:cNvPr>
            <p:cNvGrpSpPr/>
            <p:nvPr/>
          </p:nvGrpSpPr>
          <p:grpSpPr>
            <a:xfrm>
              <a:off x="8936024" y="2879113"/>
              <a:ext cx="310783" cy="310783"/>
              <a:chOff x="36782287" y="9539321"/>
              <a:chExt cx="1796350" cy="1796350"/>
            </a:xfrm>
          </p:grpSpPr>
          <p:sp>
            <p:nvSpPr>
              <p:cNvPr id="245" name="Box">
                <a:extLst>
                  <a:ext uri="{FF2B5EF4-FFF2-40B4-BE49-F238E27FC236}">
                    <a16:creationId xmlns:a16="http://schemas.microsoft.com/office/drawing/2014/main" id="{5636ECD1-7FBB-CB7F-4251-ADE592BC2D59}"/>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46" name="Graphic 82">
                <a:extLst>
                  <a:ext uri="{FF2B5EF4-FFF2-40B4-BE49-F238E27FC236}">
                    <a16:creationId xmlns:a16="http://schemas.microsoft.com/office/drawing/2014/main" id="{DB783FFA-9F06-B960-5C92-1354B00FDABE}"/>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22" name="Group 221">
              <a:extLst>
                <a:ext uri="{FF2B5EF4-FFF2-40B4-BE49-F238E27FC236}">
                  <a16:creationId xmlns:a16="http://schemas.microsoft.com/office/drawing/2014/main" id="{744F421E-3A21-F054-5106-197A37CC7751}"/>
                </a:ext>
              </a:extLst>
            </p:cNvPr>
            <p:cNvGrpSpPr/>
            <p:nvPr/>
          </p:nvGrpSpPr>
          <p:grpSpPr>
            <a:xfrm>
              <a:off x="7712484" y="4957141"/>
              <a:ext cx="310783" cy="310783"/>
              <a:chOff x="36782287" y="9539321"/>
              <a:chExt cx="1796350" cy="1796350"/>
            </a:xfrm>
          </p:grpSpPr>
          <p:sp>
            <p:nvSpPr>
              <p:cNvPr id="243" name="Box">
                <a:extLst>
                  <a:ext uri="{FF2B5EF4-FFF2-40B4-BE49-F238E27FC236}">
                    <a16:creationId xmlns:a16="http://schemas.microsoft.com/office/drawing/2014/main" id="{8A0D466A-EC9B-D008-FD8D-FCB023F8D48F}"/>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44" name="Graphic 82">
                <a:extLst>
                  <a:ext uri="{FF2B5EF4-FFF2-40B4-BE49-F238E27FC236}">
                    <a16:creationId xmlns:a16="http://schemas.microsoft.com/office/drawing/2014/main" id="{014EF9BB-59CD-C045-29D5-B273E7709D9C}"/>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23" name="Group 222">
              <a:extLst>
                <a:ext uri="{FF2B5EF4-FFF2-40B4-BE49-F238E27FC236}">
                  <a16:creationId xmlns:a16="http://schemas.microsoft.com/office/drawing/2014/main" id="{674563D1-9851-0BB0-7055-3A30A0534175}"/>
                </a:ext>
              </a:extLst>
            </p:cNvPr>
            <p:cNvGrpSpPr/>
            <p:nvPr/>
          </p:nvGrpSpPr>
          <p:grpSpPr>
            <a:xfrm>
              <a:off x="10354181" y="4810572"/>
              <a:ext cx="310783" cy="310783"/>
              <a:chOff x="36782287" y="9539321"/>
              <a:chExt cx="1796350" cy="1796350"/>
            </a:xfrm>
          </p:grpSpPr>
          <p:sp>
            <p:nvSpPr>
              <p:cNvPr id="241" name="Box">
                <a:extLst>
                  <a:ext uri="{FF2B5EF4-FFF2-40B4-BE49-F238E27FC236}">
                    <a16:creationId xmlns:a16="http://schemas.microsoft.com/office/drawing/2014/main" id="{8FD48531-4941-DD8A-8AE8-E9F364E27CED}"/>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42" name="Graphic 82">
                <a:extLst>
                  <a:ext uri="{FF2B5EF4-FFF2-40B4-BE49-F238E27FC236}">
                    <a16:creationId xmlns:a16="http://schemas.microsoft.com/office/drawing/2014/main" id="{9399DFD0-771D-42BF-D4C9-61714AB7A934}"/>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sp>
          <p:nvSpPr>
            <p:cNvPr id="224" name="CS box - replacement">
              <a:extLst>
                <a:ext uri="{FF2B5EF4-FFF2-40B4-BE49-F238E27FC236}">
                  <a16:creationId xmlns:a16="http://schemas.microsoft.com/office/drawing/2014/main" id="{D452B0C9-C858-A066-44B7-679FE0BB4791}"/>
                </a:ext>
              </a:extLst>
            </p:cNvPr>
            <p:cNvSpPr>
              <a:spLocks noChangeAspect="1"/>
            </p:cNvSpPr>
            <p:nvPr/>
          </p:nvSpPr>
          <p:spPr bwMode="auto">
            <a:xfrm>
              <a:off x="4665279" y="2242941"/>
              <a:ext cx="2821325" cy="2821325"/>
            </a:xfrm>
            <a:prstGeom prst="roundRect">
              <a:avLst>
                <a:gd name="adj" fmla="val 6704"/>
              </a:avLst>
            </a:prstGeom>
            <a:solidFill>
              <a:srgbClr val="0078D4">
                <a:lumMod val="20000"/>
                <a:lumOff val="80000"/>
              </a:srgbClr>
            </a:solidFill>
            <a:ln w="19050" cap="flat" cmpd="sng" algn="ctr">
              <a:noFill/>
              <a:prstDash val="solid"/>
              <a:headEnd type="none" w="med" len="med"/>
              <a:tailEnd type="none" w="med" len="med"/>
            </a:ln>
            <a:effectLst/>
            <a:scene3d>
              <a:camera prst="isometricOffAxis1Left">
                <a:rot lat="1080000" lon="3000000" rev="0"/>
              </a:camera>
              <a:lightRig rig="threePt" dir="t"/>
            </a:scene3d>
          </p:spPr>
          <p:txBody>
            <a:bodyPr rot="0" spcFirstLastPara="0" vertOverflow="overflow" horzOverflow="overflow" vert="horz" wrap="square" lIns="154819" tIns="123855" rIns="154819" bIns="123855" numCol="1" spcCol="0" rtlCol="0" fromWordArt="0" anchor="t" anchorCtr="0" forceAA="0" compatLnSpc="1">
              <a:prstTxWarp prst="textNoShape">
                <a:avLst/>
              </a:prstTxWarp>
              <a:noAutofit/>
            </a:bodyPr>
            <a:lstStyle/>
            <a:p>
              <a:pPr marL="0" marR="0" lvl="0" indent="0" algn="l" defTabSz="789400" rtl="0" eaLnBrk="1" fontAlgn="base" latinLnBrk="0" hangingPunct="1">
                <a:lnSpc>
                  <a:spcPct val="100000"/>
                </a:lnSpc>
                <a:spcBef>
                  <a:spcPct val="0"/>
                </a:spcBef>
                <a:spcAft>
                  <a:spcPct val="0"/>
                </a:spcAft>
                <a:buClrTx/>
                <a:buSzTx/>
                <a:buFontTx/>
                <a:buNone/>
                <a:tabLst/>
                <a:defRPr/>
              </a:pPr>
              <a:endParaRPr kumimoji="0" lang="en-US" sz="1693"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26" name="Copilot Box - replacement">
              <a:extLst>
                <a:ext uri="{FF2B5EF4-FFF2-40B4-BE49-F238E27FC236}">
                  <a16:creationId xmlns:a16="http://schemas.microsoft.com/office/drawing/2014/main" id="{B1DBE6D4-5AE9-01D3-110D-1AFA924FCA18}"/>
                </a:ext>
              </a:extLst>
            </p:cNvPr>
            <p:cNvSpPr>
              <a:spLocks noChangeAspect="1"/>
            </p:cNvSpPr>
            <p:nvPr/>
          </p:nvSpPr>
          <p:spPr bwMode="auto">
            <a:xfrm>
              <a:off x="3355539" y="2241008"/>
              <a:ext cx="2823258" cy="2823258"/>
            </a:xfrm>
            <a:prstGeom prst="roundRect">
              <a:avLst>
                <a:gd name="adj" fmla="val 6703"/>
              </a:avLst>
            </a:prstGeom>
            <a:gradFill flip="none" rotWithShape="1">
              <a:gsLst>
                <a:gs pos="0">
                  <a:srgbClr val="C03BC4"/>
                </a:gs>
                <a:gs pos="80000">
                  <a:srgbClr val="0078D4"/>
                </a:gs>
              </a:gsLst>
              <a:path path="circle">
                <a:fillToRect l="100000" t="100000"/>
              </a:path>
              <a:tileRect r="-100000" b="-100000"/>
            </a:gradFill>
            <a:ln w="19050" cap="flat" cmpd="sng" algn="ctr">
              <a:noFill/>
              <a:prstDash val="solid"/>
              <a:headEnd type="none" w="med" len="med"/>
              <a:tailEnd type="none" w="med" len="med"/>
            </a:ln>
            <a:effectLst/>
            <a:scene3d>
              <a:camera prst="orthographicFront">
                <a:rot lat="1080000" lon="3000000" rev="0"/>
              </a:camera>
              <a:lightRig rig="threePt" dir="t"/>
            </a:scene3d>
          </p:spPr>
          <p:txBody>
            <a:bodyPr rot="0" spcFirstLastPara="0" vertOverflow="overflow" horzOverflow="overflow" vert="horz" wrap="square" lIns="154819" tIns="123855" rIns="154819" bIns="123855" numCol="1" spcCol="0" rtlCol="0" fromWordArt="0" anchor="t" anchorCtr="0" forceAA="0" compatLnSpc="1">
              <a:prstTxWarp prst="textNoShape">
                <a:avLst/>
              </a:prstTxWarp>
              <a:noAutofit/>
            </a:bodyPr>
            <a:lstStyle/>
            <a:p>
              <a:pPr marL="0" marR="0" lvl="0" indent="0" algn="l" defTabSz="789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27" name="Copilot logo - replacement">
              <a:extLst>
                <a:ext uri="{FF2B5EF4-FFF2-40B4-BE49-F238E27FC236}">
                  <a16:creationId xmlns:a16="http://schemas.microsoft.com/office/drawing/2014/main" id="{D6D607D8-EB59-EC23-6362-5E490562533E}"/>
                </a:ext>
              </a:extLst>
            </p:cNvPr>
            <p:cNvSpPr>
              <a:spLocks noChangeAspect="1"/>
            </p:cNvSpPr>
            <p:nvPr/>
          </p:nvSpPr>
          <p:spPr>
            <a:xfrm>
              <a:off x="4268330" y="3215170"/>
              <a:ext cx="997676" cy="874934"/>
            </a:xfrm>
            <a:custGeom>
              <a:avLst/>
              <a:gdLst>
                <a:gd name="connsiteX0" fmla="*/ 1532660 w 1573156"/>
                <a:gd name="connsiteY0" fmla="*/ 437600 h 1379613"/>
                <a:gd name="connsiteX1" fmla="*/ 1344698 w 1573156"/>
                <a:gd name="connsiteY1" fmla="*/ 358303 h 1379613"/>
                <a:gd name="connsiteX2" fmla="*/ 1312392 w 1573156"/>
                <a:gd name="connsiteY2" fmla="*/ 358303 h 1379613"/>
                <a:gd name="connsiteX3" fmla="*/ 1299910 w 1573156"/>
                <a:gd name="connsiteY3" fmla="*/ 356100 h 1379613"/>
                <a:gd name="connsiteX4" fmla="*/ 1170686 w 1573156"/>
                <a:gd name="connsiteY4" fmla="*/ 213660 h 1379613"/>
                <a:gd name="connsiteX5" fmla="*/ 940139 w 1573156"/>
                <a:gd name="connsiteY5" fmla="*/ 0 h 1379613"/>
                <a:gd name="connsiteX6" fmla="*/ 438662 w 1573156"/>
                <a:gd name="connsiteY6" fmla="*/ 0 h 1379613"/>
                <a:gd name="connsiteX7" fmla="*/ 82562 w 1573156"/>
                <a:gd name="connsiteY7" fmla="*/ 422915 h 1379613"/>
                <a:gd name="connsiteX8" fmla="*/ 40711 w 1573156"/>
                <a:gd name="connsiteY8" fmla="*/ 942014 h 1379613"/>
                <a:gd name="connsiteX9" fmla="*/ 228673 w 1573156"/>
                <a:gd name="connsiteY9" fmla="*/ 1021310 h 1379613"/>
                <a:gd name="connsiteX10" fmla="*/ 260979 w 1573156"/>
                <a:gd name="connsiteY10" fmla="*/ 1021310 h 1379613"/>
                <a:gd name="connsiteX11" fmla="*/ 273461 w 1573156"/>
                <a:gd name="connsiteY11" fmla="*/ 1023513 h 1379613"/>
                <a:gd name="connsiteX12" fmla="*/ 402685 w 1573156"/>
                <a:gd name="connsiteY12" fmla="*/ 1165953 h 1379613"/>
                <a:gd name="connsiteX13" fmla="*/ 633232 w 1573156"/>
                <a:gd name="connsiteY13" fmla="*/ 1379613 h 1379613"/>
                <a:gd name="connsiteX14" fmla="*/ 1134709 w 1573156"/>
                <a:gd name="connsiteY14" fmla="*/ 1379613 h 1379613"/>
                <a:gd name="connsiteX15" fmla="*/ 1490809 w 1573156"/>
                <a:gd name="connsiteY15" fmla="*/ 956698 h 1379613"/>
                <a:gd name="connsiteX16" fmla="*/ 1531926 w 1573156"/>
                <a:gd name="connsiteY16" fmla="*/ 437600 h 1379613"/>
                <a:gd name="connsiteX17" fmla="*/ 940139 w 1573156"/>
                <a:gd name="connsiteY17" fmla="*/ 71954 h 1379613"/>
                <a:gd name="connsiteX18" fmla="*/ 1101669 w 1573156"/>
                <a:gd name="connsiteY18" fmla="*/ 233484 h 1379613"/>
                <a:gd name="connsiteX19" fmla="*/ 1151596 w 1573156"/>
                <a:gd name="connsiteY19" fmla="*/ 356100 h 1379613"/>
                <a:gd name="connsiteX20" fmla="*/ 882869 w 1573156"/>
                <a:gd name="connsiteY20" fmla="*/ 356100 h 1379613"/>
                <a:gd name="connsiteX21" fmla="*/ 754379 w 1573156"/>
                <a:gd name="connsiteY21" fmla="*/ 389141 h 1379613"/>
                <a:gd name="connsiteX22" fmla="*/ 775672 w 1573156"/>
                <a:gd name="connsiteY22" fmla="*/ 322326 h 1379613"/>
                <a:gd name="connsiteX23" fmla="*/ 778609 w 1573156"/>
                <a:gd name="connsiteY23" fmla="*/ 312781 h 1379613"/>
                <a:gd name="connsiteX24" fmla="*/ 861577 w 1573156"/>
                <a:gd name="connsiteY24" fmla="*/ 110134 h 1379613"/>
                <a:gd name="connsiteX25" fmla="*/ 939405 w 1573156"/>
                <a:gd name="connsiteY25" fmla="*/ 72689 h 1379613"/>
                <a:gd name="connsiteX26" fmla="*/ 1030449 w 1573156"/>
                <a:gd name="connsiteY26" fmla="*/ 428055 h 1379613"/>
                <a:gd name="connsiteX27" fmla="*/ 957760 w 1573156"/>
                <a:gd name="connsiteY27" fmla="*/ 541860 h 1379613"/>
                <a:gd name="connsiteX28" fmla="*/ 890211 w 1573156"/>
                <a:gd name="connsiteY28" fmla="*/ 762128 h 1379613"/>
                <a:gd name="connsiteX29" fmla="*/ 871856 w 1573156"/>
                <a:gd name="connsiteY29" fmla="*/ 820132 h 1379613"/>
                <a:gd name="connsiteX30" fmla="*/ 690502 w 1573156"/>
                <a:gd name="connsiteY30" fmla="*/ 951559 h 1379613"/>
                <a:gd name="connsiteX31" fmla="*/ 542922 w 1573156"/>
                <a:gd name="connsiteY31" fmla="*/ 951559 h 1379613"/>
                <a:gd name="connsiteX32" fmla="*/ 615610 w 1573156"/>
                <a:gd name="connsiteY32" fmla="*/ 837753 h 1379613"/>
                <a:gd name="connsiteX33" fmla="*/ 683159 w 1573156"/>
                <a:gd name="connsiteY33" fmla="*/ 617485 h 1379613"/>
                <a:gd name="connsiteX34" fmla="*/ 701515 w 1573156"/>
                <a:gd name="connsiteY34" fmla="*/ 559481 h 1379613"/>
                <a:gd name="connsiteX35" fmla="*/ 882869 w 1573156"/>
                <a:gd name="connsiteY35" fmla="*/ 428055 h 1379613"/>
                <a:gd name="connsiteX36" fmla="*/ 1030449 w 1573156"/>
                <a:gd name="connsiteY36" fmla="*/ 428055 h 1379613"/>
                <a:gd name="connsiteX37" fmla="*/ 99449 w 1573156"/>
                <a:gd name="connsiteY37" fmla="*/ 899429 h 1379613"/>
                <a:gd name="connsiteX38" fmla="*/ 150845 w 1573156"/>
                <a:gd name="connsiteY38" fmla="*/ 444942 h 1379613"/>
                <a:gd name="connsiteX39" fmla="*/ 438662 w 1573156"/>
                <a:gd name="connsiteY39" fmla="*/ 71954 h 1379613"/>
                <a:gd name="connsiteX40" fmla="*/ 800636 w 1573156"/>
                <a:gd name="connsiteY40" fmla="*/ 71954 h 1379613"/>
                <a:gd name="connsiteX41" fmla="*/ 710326 w 1573156"/>
                <a:gd name="connsiteY41" fmla="*/ 290754 h 1379613"/>
                <a:gd name="connsiteX42" fmla="*/ 707389 w 1573156"/>
                <a:gd name="connsiteY42" fmla="*/ 300299 h 1379613"/>
                <a:gd name="connsiteX43" fmla="*/ 614876 w 1573156"/>
                <a:gd name="connsiteY43" fmla="*/ 596193 h 1379613"/>
                <a:gd name="connsiteX44" fmla="*/ 611205 w 1573156"/>
                <a:gd name="connsiteY44" fmla="*/ 608675 h 1379613"/>
                <a:gd name="connsiteX45" fmla="*/ 611205 w 1573156"/>
                <a:gd name="connsiteY45" fmla="*/ 610143 h 1379613"/>
                <a:gd name="connsiteX46" fmla="*/ 548062 w 1573156"/>
                <a:gd name="connsiteY46" fmla="*/ 816461 h 1379613"/>
                <a:gd name="connsiteX47" fmla="*/ 365973 w 1573156"/>
                <a:gd name="connsiteY47" fmla="*/ 948622 h 1379613"/>
                <a:gd name="connsiteX48" fmla="*/ 229407 w 1573156"/>
                <a:gd name="connsiteY48" fmla="*/ 948622 h 1379613"/>
                <a:gd name="connsiteX49" fmla="*/ 99449 w 1573156"/>
                <a:gd name="connsiteY49" fmla="*/ 899429 h 1379613"/>
                <a:gd name="connsiteX50" fmla="*/ 633966 w 1573156"/>
                <a:gd name="connsiteY50" fmla="*/ 1307659 h 1379613"/>
                <a:gd name="connsiteX51" fmla="*/ 472436 w 1573156"/>
                <a:gd name="connsiteY51" fmla="*/ 1146129 h 1379613"/>
                <a:gd name="connsiteX52" fmla="*/ 422509 w 1573156"/>
                <a:gd name="connsiteY52" fmla="*/ 1023513 h 1379613"/>
                <a:gd name="connsiteX53" fmla="*/ 691236 w 1573156"/>
                <a:gd name="connsiteY53" fmla="*/ 1023513 h 1379613"/>
                <a:gd name="connsiteX54" fmla="*/ 819726 w 1573156"/>
                <a:gd name="connsiteY54" fmla="*/ 990473 h 1379613"/>
                <a:gd name="connsiteX55" fmla="*/ 798433 w 1573156"/>
                <a:gd name="connsiteY55" fmla="*/ 1057287 h 1379613"/>
                <a:gd name="connsiteX56" fmla="*/ 795496 w 1573156"/>
                <a:gd name="connsiteY56" fmla="*/ 1066098 h 1379613"/>
                <a:gd name="connsiteX57" fmla="*/ 711794 w 1573156"/>
                <a:gd name="connsiteY57" fmla="*/ 1269479 h 1379613"/>
                <a:gd name="connsiteX58" fmla="*/ 633966 w 1573156"/>
                <a:gd name="connsiteY58" fmla="*/ 1306925 h 1379613"/>
                <a:gd name="connsiteX59" fmla="*/ 1423260 w 1573156"/>
                <a:gd name="connsiteY59" fmla="*/ 934671 h 1379613"/>
                <a:gd name="connsiteX60" fmla="*/ 1135443 w 1573156"/>
                <a:gd name="connsiteY60" fmla="*/ 1307659 h 1379613"/>
                <a:gd name="connsiteX61" fmla="*/ 773469 w 1573156"/>
                <a:gd name="connsiteY61" fmla="*/ 1307659 h 1379613"/>
                <a:gd name="connsiteX62" fmla="*/ 863779 w 1573156"/>
                <a:gd name="connsiteY62" fmla="*/ 1088859 h 1379613"/>
                <a:gd name="connsiteX63" fmla="*/ 866716 w 1573156"/>
                <a:gd name="connsiteY63" fmla="*/ 1080049 h 1379613"/>
                <a:gd name="connsiteX64" fmla="*/ 959229 w 1573156"/>
                <a:gd name="connsiteY64" fmla="*/ 784155 h 1379613"/>
                <a:gd name="connsiteX65" fmla="*/ 962900 w 1573156"/>
                <a:gd name="connsiteY65" fmla="*/ 771673 h 1379613"/>
                <a:gd name="connsiteX66" fmla="*/ 962900 w 1573156"/>
                <a:gd name="connsiteY66" fmla="*/ 770205 h 1379613"/>
                <a:gd name="connsiteX67" fmla="*/ 1026778 w 1573156"/>
                <a:gd name="connsiteY67" fmla="*/ 563887 h 1379613"/>
                <a:gd name="connsiteX68" fmla="*/ 1208132 w 1573156"/>
                <a:gd name="connsiteY68" fmla="*/ 431726 h 1379613"/>
                <a:gd name="connsiteX69" fmla="*/ 1344698 w 1573156"/>
                <a:gd name="connsiteY69" fmla="*/ 431726 h 1379613"/>
                <a:gd name="connsiteX70" fmla="*/ 1474656 w 1573156"/>
                <a:gd name="connsiteY70" fmla="*/ 480919 h 1379613"/>
                <a:gd name="connsiteX71" fmla="*/ 1423260 w 1573156"/>
                <a:gd name="connsiteY71" fmla="*/ 935406 h 137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573156" h="1379613">
                  <a:moveTo>
                    <a:pt x="1532660" y="437600"/>
                  </a:moveTo>
                  <a:cubicBezTo>
                    <a:pt x="1494480" y="385469"/>
                    <a:pt x="1431337" y="358303"/>
                    <a:pt x="1344698" y="358303"/>
                  </a:cubicBezTo>
                  <a:lnTo>
                    <a:pt x="1312392" y="358303"/>
                  </a:lnTo>
                  <a:cubicBezTo>
                    <a:pt x="1308721" y="356835"/>
                    <a:pt x="1304316" y="356100"/>
                    <a:pt x="1299910" y="356100"/>
                  </a:cubicBezTo>
                  <a:cubicBezTo>
                    <a:pt x="1215474" y="356100"/>
                    <a:pt x="1197853" y="306907"/>
                    <a:pt x="1170686" y="213660"/>
                  </a:cubicBezTo>
                  <a:cubicBezTo>
                    <a:pt x="1144988" y="123350"/>
                    <a:pt x="1109745" y="0"/>
                    <a:pt x="940139" y="0"/>
                  </a:cubicBezTo>
                  <a:lnTo>
                    <a:pt x="438662" y="0"/>
                  </a:lnTo>
                  <a:cubicBezTo>
                    <a:pt x="242623" y="0"/>
                    <a:pt x="141300" y="241561"/>
                    <a:pt x="82562" y="422915"/>
                  </a:cubicBezTo>
                  <a:cubicBezTo>
                    <a:pt x="25292" y="600598"/>
                    <a:pt x="-46662" y="821600"/>
                    <a:pt x="40711" y="942014"/>
                  </a:cubicBezTo>
                  <a:cubicBezTo>
                    <a:pt x="78890" y="994144"/>
                    <a:pt x="142034" y="1021310"/>
                    <a:pt x="228673" y="1021310"/>
                  </a:cubicBezTo>
                  <a:lnTo>
                    <a:pt x="260979" y="1021310"/>
                  </a:lnTo>
                  <a:cubicBezTo>
                    <a:pt x="264650" y="1022779"/>
                    <a:pt x="269055" y="1023513"/>
                    <a:pt x="273461" y="1023513"/>
                  </a:cubicBezTo>
                  <a:cubicBezTo>
                    <a:pt x="357897" y="1023513"/>
                    <a:pt x="375518" y="1072706"/>
                    <a:pt x="402685" y="1165953"/>
                  </a:cubicBezTo>
                  <a:cubicBezTo>
                    <a:pt x="428383" y="1256263"/>
                    <a:pt x="463625" y="1379613"/>
                    <a:pt x="633232" y="1379613"/>
                  </a:cubicBezTo>
                  <a:lnTo>
                    <a:pt x="1134709" y="1379613"/>
                  </a:lnTo>
                  <a:cubicBezTo>
                    <a:pt x="1331482" y="1379613"/>
                    <a:pt x="1432071" y="1138052"/>
                    <a:pt x="1490809" y="956698"/>
                  </a:cubicBezTo>
                  <a:cubicBezTo>
                    <a:pt x="1548079" y="779015"/>
                    <a:pt x="1620033" y="558013"/>
                    <a:pt x="1531926" y="437600"/>
                  </a:cubicBezTo>
                  <a:close/>
                  <a:moveTo>
                    <a:pt x="940139" y="71954"/>
                  </a:moveTo>
                  <a:cubicBezTo>
                    <a:pt x="1050273" y="71954"/>
                    <a:pt x="1073034" y="132895"/>
                    <a:pt x="1101669" y="233484"/>
                  </a:cubicBezTo>
                  <a:cubicBezTo>
                    <a:pt x="1113416" y="273867"/>
                    <a:pt x="1126633" y="319389"/>
                    <a:pt x="1151596" y="356100"/>
                  </a:cubicBezTo>
                  <a:lnTo>
                    <a:pt x="882869" y="356100"/>
                  </a:lnTo>
                  <a:cubicBezTo>
                    <a:pt x="836613" y="356100"/>
                    <a:pt x="792559" y="367848"/>
                    <a:pt x="754379" y="389141"/>
                  </a:cubicBezTo>
                  <a:cubicBezTo>
                    <a:pt x="761722" y="366379"/>
                    <a:pt x="768330" y="343618"/>
                    <a:pt x="775672" y="322326"/>
                  </a:cubicBezTo>
                  <a:lnTo>
                    <a:pt x="778609" y="312781"/>
                  </a:lnTo>
                  <a:cubicBezTo>
                    <a:pt x="805775" y="226876"/>
                    <a:pt x="829271" y="153454"/>
                    <a:pt x="861577" y="110134"/>
                  </a:cubicBezTo>
                  <a:cubicBezTo>
                    <a:pt x="874793" y="93247"/>
                    <a:pt x="898288" y="72689"/>
                    <a:pt x="939405" y="72689"/>
                  </a:cubicBezTo>
                  <a:close/>
                  <a:moveTo>
                    <a:pt x="1030449" y="428055"/>
                  </a:moveTo>
                  <a:cubicBezTo>
                    <a:pt x="997409" y="458158"/>
                    <a:pt x="971711" y="497072"/>
                    <a:pt x="957760" y="541860"/>
                  </a:cubicBezTo>
                  <a:cubicBezTo>
                    <a:pt x="938670" y="605003"/>
                    <a:pt x="915175" y="681363"/>
                    <a:pt x="890211" y="762128"/>
                  </a:cubicBezTo>
                  <a:lnTo>
                    <a:pt x="871856" y="820132"/>
                  </a:lnTo>
                  <a:cubicBezTo>
                    <a:pt x="847626" y="898694"/>
                    <a:pt x="774204" y="951559"/>
                    <a:pt x="690502" y="951559"/>
                  </a:cubicBezTo>
                  <a:lnTo>
                    <a:pt x="542922" y="951559"/>
                  </a:lnTo>
                  <a:cubicBezTo>
                    <a:pt x="575962" y="921455"/>
                    <a:pt x="601660" y="882541"/>
                    <a:pt x="615610" y="837753"/>
                  </a:cubicBezTo>
                  <a:cubicBezTo>
                    <a:pt x="634700" y="774610"/>
                    <a:pt x="658196" y="697516"/>
                    <a:pt x="683159" y="617485"/>
                  </a:cubicBezTo>
                  <a:lnTo>
                    <a:pt x="701515" y="559481"/>
                  </a:lnTo>
                  <a:cubicBezTo>
                    <a:pt x="725745" y="480919"/>
                    <a:pt x="799167" y="428055"/>
                    <a:pt x="882869" y="428055"/>
                  </a:cubicBezTo>
                  <a:lnTo>
                    <a:pt x="1030449" y="428055"/>
                  </a:lnTo>
                  <a:close/>
                  <a:moveTo>
                    <a:pt x="99449" y="899429"/>
                  </a:moveTo>
                  <a:cubicBezTo>
                    <a:pt x="33368" y="808384"/>
                    <a:pt x="101651" y="598395"/>
                    <a:pt x="150845" y="444942"/>
                  </a:cubicBezTo>
                  <a:cubicBezTo>
                    <a:pt x="232344" y="193836"/>
                    <a:pt x="326325" y="71954"/>
                    <a:pt x="438662" y="71954"/>
                  </a:cubicBezTo>
                  <a:lnTo>
                    <a:pt x="800636" y="71954"/>
                  </a:lnTo>
                  <a:cubicBezTo>
                    <a:pt x="763190" y="124819"/>
                    <a:pt x="738226" y="201913"/>
                    <a:pt x="710326" y="290754"/>
                  </a:cubicBezTo>
                  <a:lnTo>
                    <a:pt x="707389" y="300299"/>
                  </a:lnTo>
                  <a:cubicBezTo>
                    <a:pt x="678754" y="391343"/>
                    <a:pt x="645714" y="496338"/>
                    <a:pt x="614876" y="596193"/>
                  </a:cubicBezTo>
                  <a:lnTo>
                    <a:pt x="611205" y="608675"/>
                  </a:lnTo>
                  <a:cubicBezTo>
                    <a:pt x="611205" y="608675"/>
                    <a:pt x="611205" y="609409"/>
                    <a:pt x="611205" y="610143"/>
                  </a:cubicBezTo>
                  <a:cubicBezTo>
                    <a:pt x="587710" y="685034"/>
                    <a:pt x="565683" y="756988"/>
                    <a:pt x="548062" y="816461"/>
                  </a:cubicBezTo>
                  <a:cubicBezTo>
                    <a:pt x="523832" y="895757"/>
                    <a:pt x="450409" y="948622"/>
                    <a:pt x="365973" y="948622"/>
                  </a:cubicBezTo>
                  <a:lnTo>
                    <a:pt x="229407" y="948622"/>
                  </a:lnTo>
                  <a:cubicBezTo>
                    <a:pt x="166263" y="948622"/>
                    <a:pt x="123678" y="932469"/>
                    <a:pt x="99449" y="899429"/>
                  </a:cubicBezTo>
                  <a:close/>
                  <a:moveTo>
                    <a:pt x="633966" y="1307659"/>
                  </a:moveTo>
                  <a:cubicBezTo>
                    <a:pt x="523832" y="1307659"/>
                    <a:pt x="501071" y="1246718"/>
                    <a:pt x="472436" y="1146129"/>
                  </a:cubicBezTo>
                  <a:cubicBezTo>
                    <a:pt x="460689" y="1105747"/>
                    <a:pt x="447472" y="1060224"/>
                    <a:pt x="422509" y="1023513"/>
                  </a:cubicBezTo>
                  <a:lnTo>
                    <a:pt x="691236" y="1023513"/>
                  </a:lnTo>
                  <a:cubicBezTo>
                    <a:pt x="737492" y="1023513"/>
                    <a:pt x="781546" y="1011765"/>
                    <a:pt x="819726" y="990473"/>
                  </a:cubicBezTo>
                  <a:cubicBezTo>
                    <a:pt x="812383" y="1013234"/>
                    <a:pt x="805775" y="1035995"/>
                    <a:pt x="798433" y="1057287"/>
                  </a:cubicBezTo>
                  <a:lnTo>
                    <a:pt x="795496" y="1066098"/>
                  </a:lnTo>
                  <a:cubicBezTo>
                    <a:pt x="768330" y="1152003"/>
                    <a:pt x="744834" y="1226160"/>
                    <a:pt x="711794" y="1269479"/>
                  </a:cubicBezTo>
                  <a:cubicBezTo>
                    <a:pt x="698578" y="1286366"/>
                    <a:pt x="675083" y="1306925"/>
                    <a:pt x="633966" y="1306925"/>
                  </a:cubicBezTo>
                  <a:close/>
                  <a:moveTo>
                    <a:pt x="1423260" y="934671"/>
                  </a:moveTo>
                  <a:cubicBezTo>
                    <a:pt x="1341761" y="1185777"/>
                    <a:pt x="1247780" y="1307659"/>
                    <a:pt x="1135443" y="1307659"/>
                  </a:cubicBezTo>
                  <a:lnTo>
                    <a:pt x="773469" y="1307659"/>
                  </a:lnTo>
                  <a:cubicBezTo>
                    <a:pt x="810915" y="1254795"/>
                    <a:pt x="835879" y="1177701"/>
                    <a:pt x="863779" y="1088859"/>
                  </a:cubicBezTo>
                  <a:lnTo>
                    <a:pt x="866716" y="1080049"/>
                  </a:lnTo>
                  <a:cubicBezTo>
                    <a:pt x="895351" y="989004"/>
                    <a:pt x="928391" y="884010"/>
                    <a:pt x="959229" y="784155"/>
                  </a:cubicBezTo>
                  <a:lnTo>
                    <a:pt x="962900" y="771673"/>
                  </a:lnTo>
                  <a:lnTo>
                    <a:pt x="962900" y="770205"/>
                  </a:lnTo>
                  <a:cubicBezTo>
                    <a:pt x="986395" y="695313"/>
                    <a:pt x="1008422" y="623359"/>
                    <a:pt x="1026778" y="563887"/>
                  </a:cubicBezTo>
                  <a:cubicBezTo>
                    <a:pt x="1051007" y="484590"/>
                    <a:pt x="1123696" y="431726"/>
                    <a:pt x="1208132" y="431726"/>
                  </a:cubicBezTo>
                  <a:lnTo>
                    <a:pt x="1344698" y="431726"/>
                  </a:lnTo>
                  <a:cubicBezTo>
                    <a:pt x="1407842" y="431726"/>
                    <a:pt x="1450427" y="447879"/>
                    <a:pt x="1474656" y="480919"/>
                  </a:cubicBezTo>
                  <a:cubicBezTo>
                    <a:pt x="1540737" y="571963"/>
                    <a:pt x="1472454" y="781952"/>
                    <a:pt x="1423260" y="935406"/>
                  </a:cubicBezTo>
                  <a:close/>
                </a:path>
              </a:pathLst>
            </a:custGeom>
            <a:solidFill>
              <a:srgbClr val="FFFFFF"/>
            </a:solidFill>
            <a:ln w="19050" cap="flat" cmpd="sng" algn="ctr">
              <a:noFill/>
              <a:prstDash val="solid"/>
              <a:headEnd type="none" w="med" len="med"/>
              <a:tailEnd type="none" w="med" len="med"/>
            </a:ln>
            <a:effectLst/>
            <a:scene3d>
              <a:camera prst="orthographicFront">
                <a:rot lat="1080000" lon="3000000" rev="0"/>
              </a:camera>
              <a:lightRig rig="threePt" dir="t"/>
            </a:scene3d>
          </p:spPr>
          <p:txBody>
            <a:bodyPr rot="0" spcFirstLastPara="0" vertOverflow="overflow" horzOverflow="overflow" vert="horz" wrap="square" lIns="154819" tIns="123855" rIns="154819" bIns="123855" numCol="1" spcCol="0" rtlCol="0" fromWordArt="0" anchor="t" anchorCtr="0" forceAA="0" compatLnSpc="1">
              <a:prstTxWarp prst="textNoShape">
                <a:avLst/>
              </a:prstTxWarp>
              <a:noAutofit/>
            </a:bodyPr>
            <a:lstStyle/>
            <a:p>
              <a:pPr marL="0" marR="0" lvl="0" indent="0" algn="l" defTabSz="789400" rtl="0" eaLnBrk="1" fontAlgn="base" latinLnBrk="0" hangingPunct="1">
                <a:lnSpc>
                  <a:spcPct val="100000"/>
                </a:lnSpc>
                <a:spcBef>
                  <a:spcPct val="0"/>
                </a:spcBef>
                <a:spcAft>
                  <a:spcPct val="0"/>
                </a:spcAft>
                <a:buClrTx/>
                <a:buSzTx/>
                <a:buFontTx/>
                <a:buNone/>
                <a:tabLst/>
                <a:defRPr/>
              </a:pPr>
              <a:endParaRPr kumimoji="0" lang="en-US" sz="1693"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pic>
          <p:nvPicPr>
            <p:cNvPr id="228" name="Picture 227">
              <a:extLst>
                <a:ext uri="{FF2B5EF4-FFF2-40B4-BE49-F238E27FC236}">
                  <a16:creationId xmlns:a16="http://schemas.microsoft.com/office/drawing/2014/main" id="{5FF8CEFD-A1A3-A089-1107-7488BF15BF20}"/>
                </a:ext>
              </a:extLst>
            </p:cNvPr>
            <p:cNvPicPr>
              <a:picLocks noChangeAspect="1"/>
            </p:cNvPicPr>
            <p:nvPr/>
          </p:nvPicPr>
          <p:blipFill rotWithShape="1">
            <a:blip r:embed="rId3"/>
            <a:srcRect l="7986" t="12923" r="24479" b="42054"/>
            <a:stretch/>
          </p:blipFill>
          <p:spPr>
            <a:xfrm>
              <a:off x="681734" y="2798916"/>
              <a:ext cx="1707446" cy="1707444"/>
            </a:xfrm>
            <a:prstGeom prst="ellipse">
              <a:avLst/>
            </a:prstGeom>
            <a:solidFill>
              <a:srgbClr val="FFFFFF"/>
            </a:solidFill>
            <a:ln w="14684" cap="flat">
              <a:noFill/>
              <a:prstDash val="solid"/>
              <a:miter/>
            </a:ln>
            <a:effectLst/>
          </p:spPr>
        </p:pic>
        <p:cxnSp>
          <p:nvCxnSpPr>
            <p:cNvPr id="229" name="Straight Connector 228">
              <a:extLst>
                <a:ext uri="{FF2B5EF4-FFF2-40B4-BE49-F238E27FC236}">
                  <a16:creationId xmlns:a16="http://schemas.microsoft.com/office/drawing/2014/main" id="{FF215FF8-AE59-A62F-79E4-8179B642269F}"/>
                </a:ext>
              </a:extLst>
            </p:cNvPr>
            <p:cNvCxnSpPr>
              <a:cxnSpLocks/>
            </p:cNvCxnSpPr>
            <p:nvPr/>
          </p:nvCxnSpPr>
          <p:spPr>
            <a:xfrm>
              <a:off x="2559052" y="3477495"/>
              <a:ext cx="1014494" cy="0"/>
            </a:xfrm>
            <a:prstGeom prst="line">
              <a:avLst/>
            </a:prstGeom>
            <a:noFill/>
            <a:ln w="38100" cap="rnd" cmpd="sng" algn="ctr">
              <a:solidFill>
                <a:srgbClr val="0078D4"/>
              </a:solidFill>
              <a:prstDash val="solid"/>
              <a:headEnd type="arrow" w="lg" len="med"/>
              <a:tailEnd type="none" w="lg" len="sm"/>
            </a:ln>
            <a:effectLst/>
          </p:spPr>
        </p:cxnSp>
        <p:cxnSp>
          <p:nvCxnSpPr>
            <p:cNvPr id="230" name="Straight Connector 229">
              <a:extLst>
                <a:ext uri="{FF2B5EF4-FFF2-40B4-BE49-F238E27FC236}">
                  <a16:creationId xmlns:a16="http://schemas.microsoft.com/office/drawing/2014/main" id="{9A523933-ECFF-0DBF-2161-179242862B5D}"/>
                </a:ext>
              </a:extLst>
            </p:cNvPr>
            <p:cNvCxnSpPr>
              <a:cxnSpLocks/>
            </p:cNvCxnSpPr>
            <p:nvPr/>
          </p:nvCxnSpPr>
          <p:spPr>
            <a:xfrm rot="10800000">
              <a:off x="2552812" y="3959061"/>
              <a:ext cx="1014494" cy="0"/>
            </a:xfrm>
            <a:prstGeom prst="line">
              <a:avLst/>
            </a:prstGeom>
            <a:noFill/>
            <a:ln w="38100" cap="rnd" cmpd="sng" algn="ctr">
              <a:solidFill>
                <a:srgbClr val="0078D4"/>
              </a:solidFill>
              <a:prstDash val="solid"/>
              <a:headEnd type="arrow" w="lg" len="med"/>
              <a:tailEnd type="none" w="lg" len="med"/>
            </a:ln>
            <a:effectLst/>
          </p:spPr>
        </p:cxnSp>
        <p:sp>
          <p:nvSpPr>
            <p:cNvPr id="231" name="Rounded Rectangle 62">
              <a:extLst>
                <a:ext uri="{FF2B5EF4-FFF2-40B4-BE49-F238E27FC236}">
                  <a16:creationId xmlns:a16="http://schemas.microsoft.com/office/drawing/2014/main" id="{02941ED1-AA38-FCAE-1DEA-ADDED5A2D7F9}"/>
                </a:ext>
                <a:ext uri="{C183D7F6-B498-43B3-948B-1728B52AA6E4}">
                  <adec:decorative xmlns:adec="http://schemas.microsoft.com/office/drawing/2017/decorative" val="1"/>
                </a:ext>
              </a:extLst>
            </p:cNvPr>
            <p:cNvSpPr/>
            <p:nvPr/>
          </p:nvSpPr>
          <p:spPr bwMode="auto">
            <a:xfrm>
              <a:off x="8370218" y="1552515"/>
              <a:ext cx="1606549" cy="276999"/>
            </a:xfrm>
            <a:prstGeom prst="rect">
              <a:avLst/>
            </a:prstGeo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en-US" sz="1800" b="0" i="0" u="none" strike="noStrike" kern="0" cap="none" spc="0" normalizeH="0" baseline="0" noProof="0">
                  <a:ln>
                    <a:noFill/>
                  </a:ln>
                  <a:solidFill>
                    <a:srgbClr val="000000"/>
                  </a:solidFill>
                  <a:effectLst/>
                  <a:uLnTx/>
                  <a:uFillTx/>
                  <a:latin typeface="Segoe UI"/>
                  <a:ea typeface="+mn-ea"/>
                  <a:cs typeface="+mn-cs"/>
                </a:rPr>
                <a:t>Agents</a:t>
              </a:r>
            </a:p>
          </p:txBody>
        </p:sp>
        <p:sp>
          <p:nvSpPr>
            <p:cNvPr id="232" name="Rounded Rectangle 62">
              <a:extLst>
                <a:ext uri="{FF2B5EF4-FFF2-40B4-BE49-F238E27FC236}">
                  <a16:creationId xmlns:a16="http://schemas.microsoft.com/office/drawing/2014/main" id="{6D4872F9-2635-6D88-F75D-8DF53BD5EE20}"/>
                </a:ext>
                <a:ext uri="{C183D7F6-B498-43B3-948B-1728B52AA6E4}">
                  <adec:decorative xmlns:adec="http://schemas.microsoft.com/office/drawing/2017/decorative" val="1"/>
                </a:ext>
              </a:extLst>
            </p:cNvPr>
            <p:cNvSpPr/>
            <p:nvPr/>
          </p:nvSpPr>
          <p:spPr bwMode="auto">
            <a:xfrm>
              <a:off x="5045168" y="1552515"/>
              <a:ext cx="1550320" cy="276999"/>
            </a:xfrm>
            <a:prstGeom prst="rect">
              <a:avLst/>
            </a:prstGeo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en-US" sz="1800" b="0" i="0" u="none" strike="noStrike" kern="0" cap="none" spc="0" normalizeH="0" baseline="0" noProof="0">
                  <a:ln>
                    <a:noFill/>
                  </a:ln>
                  <a:solidFill>
                    <a:srgbClr val="000000"/>
                  </a:solidFill>
                  <a:effectLst/>
                  <a:uLnTx/>
                  <a:uFillTx/>
                  <a:latin typeface="Segoe UI"/>
                  <a:ea typeface="+mn-ea"/>
                  <a:cs typeface="+mn-cs"/>
                </a:rPr>
                <a:t>Copilot Studio</a:t>
              </a:r>
            </a:p>
          </p:txBody>
        </p:sp>
        <p:sp>
          <p:nvSpPr>
            <p:cNvPr id="233" name="Rounded Rectangle 62">
              <a:extLst>
                <a:ext uri="{FF2B5EF4-FFF2-40B4-BE49-F238E27FC236}">
                  <a16:creationId xmlns:a16="http://schemas.microsoft.com/office/drawing/2014/main" id="{46F32E60-EEBD-D865-644D-2433E4D1D5B0}"/>
                </a:ext>
                <a:ext uri="{C183D7F6-B498-43B3-948B-1728B52AA6E4}">
                  <adec:decorative xmlns:adec="http://schemas.microsoft.com/office/drawing/2017/decorative" val="1"/>
                </a:ext>
              </a:extLst>
            </p:cNvPr>
            <p:cNvSpPr/>
            <p:nvPr/>
          </p:nvSpPr>
          <p:spPr bwMode="auto">
            <a:xfrm>
              <a:off x="3492131" y="1552515"/>
              <a:ext cx="851697" cy="276999"/>
            </a:xfrm>
            <a:prstGeom prst="rect">
              <a:avLst/>
            </a:prstGeo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en-US" sz="1800" b="0" i="0" u="none" strike="noStrike" kern="0" cap="none" spc="0" normalizeH="0" baseline="0" noProof="0">
                  <a:ln>
                    <a:noFill/>
                  </a:ln>
                  <a:solidFill>
                    <a:srgbClr val="000000"/>
                  </a:solidFill>
                  <a:effectLst/>
                  <a:uLnTx/>
                  <a:uFillTx/>
                  <a:latin typeface="Segoe UI"/>
                  <a:ea typeface="+mn-ea"/>
                  <a:cs typeface="+mn-cs"/>
                </a:rPr>
                <a:t>Copilot</a:t>
              </a:r>
            </a:p>
          </p:txBody>
        </p:sp>
        <p:grpSp>
          <p:nvGrpSpPr>
            <p:cNvPr id="234" name="Group 233">
              <a:extLst>
                <a:ext uri="{FF2B5EF4-FFF2-40B4-BE49-F238E27FC236}">
                  <a16:creationId xmlns:a16="http://schemas.microsoft.com/office/drawing/2014/main" id="{7AF585EC-45C6-B194-C582-207CC77FAA66}"/>
                </a:ext>
              </a:extLst>
            </p:cNvPr>
            <p:cNvGrpSpPr/>
            <p:nvPr/>
          </p:nvGrpSpPr>
          <p:grpSpPr>
            <a:xfrm>
              <a:off x="3321374" y="5623093"/>
              <a:ext cx="8392343" cy="429402"/>
              <a:chOff x="18772514" y="14360978"/>
              <a:chExt cx="20494644" cy="1048628"/>
            </a:xfrm>
          </p:grpSpPr>
          <p:sp>
            <p:nvSpPr>
              <p:cNvPr id="237" name="Rectangle: Rounded Corners 236">
                <a:extLst>
                  <a:ext uri="{FF2B5EF4-FFF2-40B4-BE49-F238E27FC236}">
                    <a16:creationId xmlns:a16="http://schemas.microsoft.com/office/drawing/2014/main" id="{CC5A5AD5-82E1-A030-C5DA-91087F012C1A}"/>
                  </a:ext>
                </a:extLst>
              </p:cNvPr>
              <p:cNvSpPr/>
              <p:nvPr/>
            </p:nvSpPr>
            <p:spPr bwMode="auto">
              <a:xfrm>
                <a:off x="18772514" y="14360978"/>
                <a:ext cx="20494644" cy="1048628"/>
              </a:xfrm>
              <a:prstGeom prst="roundRect">
                <a:avLst>
                  <a:gd name="adj" fmla="val 22792"/>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43543" tIns="34834" rIns="43543" bIns="34834" numCol="1" spcCol="0" rtlCol="0" fromWordArt="0" anchor="t" anchorCtr="0" forceAA="0" compatLnSpc="1">
                <a:prstTxWarp prst="textNoShape">
                  <a:avLst/>
                </a:prstTxWarp>
                <a:noAutofit/>
              </a:bodyPr>
              <a:lstStyle/>
              <a:p>
                <a:pPr marL="0" marR="0" lvl="0" indent="0" algn="l" defTabSz="222022" rtl="0" eaLnBrk="1" fontAlgn="base" latinLnBrk="0" hangingPunct="1">
                  <a:lnSpc>
                    <a:spcPct val="100000"/>
                  </a:lnSpc>
                  <a:spcBef>
                    <a:spcPct val="0"/>
                  </a:spcBef>
                  <a:spcAft>
                    <a:spcPct val="0"/>
                  </a:spcAft>
                  <a:buClrTx/>
                  <a:buSzTx/>
                  <a:buFontTx/>
                  <a:buNone/>
                  <a:tabLst/>
                  <a:defRPr/>
                </a:pPr>
                <a:endParaRPr kumimoji="0" lang="en-US" sz="952"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38" name="Group 237">
                <a:extLst>
                  <a:ext uri="{FF2B5EF4-FFF2-40B4-BE49-F238E27FC236}">
                    <a16:creationId xmlns:a16="http://schemas.microsoft.com/office/drawing/2014/main" id="{0AAB1575-377A-57B1-BA09-E19348961D66}"/>
                  </a:ext>
                </a:extLst>
              </p:cNvPr>
              <p:cNvGrpSpPr/>
              <p:nvPr/>
            </p:nvGrpSpPr>
            <p:grpSpPr>
              <a:xfrm>
                <a:off x="26120935" y="14502159"/>
                <a:ext cx="5432104" cy="766273"/>
                <a:chOff x="25766155" y="14502159"/>
                <a:chExt cx="5432104" cy="766273"/>
              </a:xfrm>
            </p:grpSpPr>
            <p:sp>
              <p:nvSpPr>
                <p:cNvPr id="239" name="Rounded Rectangle 62">
                  <a:extLst>
                    <a:ext uri="{FF2B5EF4-FFF2-40B4-BE49-F238E27FC236}">
                      <a16:creationId xmlns:a16="http://schemas.microsoft.com/office/drawing/2014/main" id="{2D6C7978-E368-FADD-FA68-A7B22D241A6E}"/>
                    </a:ext>
                    <a:ext uri="{C183D7F6-B498-43B3-948B-1728B52AA6E4}">
                      <adec:decorative xmlns:adec="http://schemas.microsoft.com/office/drawing/2017/decorative" val="1"/>
                    </a:ext>
                  </a:extLst>
                </p:cNvPr>
                <p:cNvSpPr/>
                <p:nvPr/>
              </p:nvSpPr>
              <p:spPr bwMode="auto">
                <a:xfrm>
                  <a:off x="26757940" y="14627815"/>
                  <a:ext cx="4440319" cy="526128"/>
                </a:xfrm>
                <a:prstGeom prst="rect">
                  <a:avLst/>
                </a:prstGeo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en-US" sz="1400" b="0" i="0" u="none" strike="noStrike" kern="0" cap="none" spc="0" normalizeH="0" baseline="0" noProof="0">
                      <a:ln>
                        <a:noFill/>
                      </a:ln>
                      <a:solidFill>
                        <a:srgbClr val="000000"/>
                      </a:solidFill>
                      <a:effectLst/>
                      <a:uLnTx/>
                      <a:uFillTx/>
                      <a:latin typeface="Segoe UI"/>
                      <a:ea typeface="+mn-ea"/>
                      <a:cs typeface="+mn-cs"/>
                    </a:rPr>
                    <a:t>Copilot Control System</a:t>
                  </a:r>
                </a:p>
              </p:txBody>
            </p:sp>
            <p:sp>
              <p:nvSpPr>
                <p:cNvPr id="240" name="Graphic 19">
                  <a:extLst>
                    <a:ext uri="{FF2B5EF4-FFF2-40B4-BE49-F238E27FC236}">
                      <a16:creationId xmlns:a16="http://schemas.microsoft.com/office/drawing/2014/main" id="{D09E0214-58CB-169A-EC59-11E8AAF02CA2}"/>
                    </a:ext>
                  </a:extLst>
                </p:cNvPr>
                <p:cNvSpPr/>
                <p:nvPr/>
              </p:nvSpPr>
              <p:spPr>
                <a:xfrm>
                  <a:off x="25766155" y="14502159"/>
                  <a:ext cx="689654" cy="766273"/>
                </a:xfrm>
                <a:custGeom>
                  <a:avLst/>
                  <a:gdLst>
                    <a:gd name="connsiteX0" fmla="*/ 164306 w 171450"/>
                    <a:gd name="connsiteY0" fmla="*/ 28575 h 190500"/>
                    <a:gd name="connsiteX1" fmla="*/ 90011 w 171450"/>
                    <a:gd name="connsiteY1" fmla="*/ 1429 h 190500"/>
                    <a:gd name="connsiteX2" fmla="*/ 81439 w 171450"/>
                    <a:gd name="connsiteY2" fmla="*/ 1429 h 190500"/>
                    <a:gd name="connsiteX3" fmla="*/ 7144 w 171450"/>
                    <a:gd name="connsiteY3" fmla="*/ 28575 h 190500"/>
                    <a:gd name="connsiteX4" fmla="*/ 0 w 171450"/>
                    <a:gd name="connsiteY4" fmla="*/ 35719 h 190500"/>
                    <a:gd name="connsiteX5" fmla="*/ 0 w 171450"/>
                    <a:gd name="connsiteY5" fmla="*/ 85725 h 190500"/>
                    <a:gd name="connsiteX6" fmla="*/ 83107 w 171450"/>
                    <a:gd name="connsiteY6" fmla="*/ 190003 h 190500"/>
                    <a:gd name="connsiteX7" fmla="*/ 88343 w 171450"/>
                    <a:gd name="connsiteY7" fmla="*/ 190003 h 190500"/>
                    <a:gd name="connsiteX8" fmla="*/ 171450 w 171450"/>
                    <a:gd name="connsiteY8" fmla="*/ 85725 h 190500"/>
                    <a:gd name="connsiteX9" fmla="*/ 171450 w 171450"/>
                    <a:gd name="connsiteY9" fmla="*/ 35719 h 190500"/>
                    <a:gd name="connsiteX10" fmla="*/ 164306 w 171450"/>
                    <a:gd name="connsiteY10" fmla="*/ 28575 h 190500"/>
                    <a:gd name="connsiteX11" fmla="*/ 131034 w 171450"/>
                    <a:gd name="connsiteY11" fmla="*/ 69560 h 190500"/>
                    <a:gd name="connsiteX12" fmla="*/ 73884 w 171450"/>
                    <a:gd name="connsiteY12" fmla="*/ 121948 h 190500"/>
                    <a:gd name="connsiteX13" fmla="*/ 64005 w 171450"/>
                    <a:gd name="connsiteY13" fmla="*/ 121732 h 190500"/>
                    <a:gd name="connsiteX14" fmla="*/ 40192 w 171450"/>
                    <a:gd name="connsiteY14" fmla="*/ 97920 h 190500"/>
                    <a:gd name="connsiteX15" fmla="*/ 40192 w 171450"/>
                    <a:gd name="connsiteY15" fmla="*/ 87818 h 190500"/>
                    <a:gd name="connsiteX16" fmla="*/ 50295 w 171450"/>
                    <a:gd name="connsiteY16" fmla="*/ 87818 h 190500"/>
                    <a:gd name="connsiteX17" fmla="*/ 69272 w 171450"/>
                    <a:gd name="connsiteY17" fmla="*/ 106793 h 190500"/>
                    <a:gd name="connsiteX18" fmla="*/ 121379 w 171450"/>
                    <a:gd name="connsiteY18" fmla="*/ 59028 h 190500"/>
                    <a:gd name="connsiteX19" fmla="*/ 131473 w 171450"/>
                    <a:gd name="connsiteY19" fmla="*/ 59467 h 190500"/>
                    <a:gd name="connsiteX20" fmla="*/ 131034 w 171450"/>
                    <a:gd name="connsiteY20" fmla="*/ 6956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1450" h="190500">
                      <a:moveTo>
                        <a:pt x="164306" y="28575"/>
                      </a:moveTo>
                      <a:cubicBezTo>
                        <a:pt x="138937" y="28575"/>
                        <a:pt x="114224" y="19588"/>
                        <a:pt x="90011" y="1429"/>
                      </a:cubicBezTo>
                      <a:cubicBezTo>
                        <a:pt x="87471" y="-476"/>
                        <a:pt x="83979" y="-476"/>
                        <a:pt x="81439" y="1429"/>
                      </a:cubicBezTo>
                      <a:cubicBezTo>
                        <a:pt x="57226" y="19588"/>
                        <a:pt x="32513" y="28575"/>
                        <a:pt x="7144" y="28575"/>
                      </a:cubicBezTo>
                      <a:cubicBezTo>
                        <a:pt x="3198" y="28575"/>
                        <a:pt x="0" y="31773"/>
                        <a:pt x="0" y="35719"/>
                      </a:cubicBezTo>
                      <a:lnTo>
                        <a:pt x="0" y="85725"/>
                      </a:lnTo>
                      <a:cubicBezTo>
                        <a:pt x="0" y="133361"/>
                        <a:pt x="28171" y="168361"/>
                        <a:pt x="83107" y="190003"/>
                      </a:cubicBezTo>
                      <a:cubicBezTo>
                        <a:pt x="84790" y="190666"/>
                        <a:pt x="86660" y="190666"/>
                        <a:pt x="88343" y="190003"/>
                      </a:cubicBezTo>
                      <a:cubicBezTo>
                        <a:pt x="143279" y="168361"/>
                        <a:pt x="171450" y="133361"/>
                        <a:pt x="171450" y="85725"/>
                      </a:cubicBezTo>
                      <a:lnTo>
                        <a:pt x="171450" y="35719"/>
                      </a:lnTo>
                      <a:cubicBezTo>
                        <a:pt x="171450" y="31773"/>
                        <a:pt x="168252" y="28575"/>
                        <a:pt x="164306" y="28575"/>
                      </a:cubicBezTo>
                      <a:close/>
                      <a:moveTo>
                        <a:pt x="131034" y="69560"/>
                      </a:moveTo>
                      <a:lnTo>
                        <a:pt x="73884" y="121948"/>
                      </a:lnTo>
                      <a:cubicBezTo>
                        <a:pt x="71064" y="124532"/>
                        <a:pt x="66709" y="124437"/>
                        <a:pt x="64005" y="121732"/>
                      </a:cubicBezTo>
                      <a:lnTo>
                        <a:pt x="40192" y="97920"/>
                      </a:lnTo>
                      <a:cubicBezTo>
                        <a:pt x="37403" y="95130"/>
                        <a:pt x="37403" y="90608"/>
                        <a:pt x="40192" y="87818"/>
                      </a:cubicBezTo>
                      <a:cubicBezTo>
                        <a:pt x="42982" y="85028"/>
                        <a:pt x="47505" y="85028"/>
                        <a:pt x="50295" y="87818"/>
                      </a:cubicBezTo>
                      <a:lnTo>
                        <a:pt x="69272" y="106793"/>
                      </a:lnTo>
                      <a:lnTo>
                        <a:pt x="121379" y="59028"/>
                      </a:lnTo>
                      <a:cubicBezTo>
                        <a:pt x="124287" y="56362"/>
                        <a:pt x="128807" y="56558"/>
                        <a:pt x="131473" y="59467"/>
                      </a:cubicBezTo>
                      <a:cubicBezTo>
                        <a:pt x="134139" y="62375"/>
                        <a:pt x="133942" y="66894"/>
                        <a:pt x="131034" y="69560"/>
                      </a:cubicBezTo>
                      <a:close/>
                    </a:path>
                  </a:pathLst>
                </a:cu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grpSp>
        </p:grpSp>
        <p:sp>
          <p:nvSpPr>
            <p:cNvPr id="235" name="Rounded Rectangle 64">
              <a:extLst>
                <a:ext uri="{FF2B5EF4-FFF2-40B4-BE49-F238E27FC236}">
                  <a16:creationId xmlns:a16="http://schemas.microsoft.com/office/drawing/2014/main" id="{74EB128D-73EF-BDCD-13FF-F9DD5B7E1A75}"/>
                </a:ext>
                <a:ext uri="{C183D7F6-B498-43B3-948B-1728B52AA6E4}">
                  <adec:decorative xmlns:adec="http://schemas.microsoft.com/office/drawing/2017/decorative" val="1"/>
                </a:ext>
              </a:extLst>
            </p:cNvPr>
            <p:cNvSpPr>
              <a:spLocks/>
            </p:cNvSpPr>
            <p:nvPr/>
          </p:nvSpPr>
          <p:spPr bwMode="auto">
            <a:xfrm>
              <a:off x="294339" y="616858"/>
              <a:ext cx="11604625" cy="5620884"/>
            </a:xfrm>
            <a:prstGeom prst="roundRect">
              <a:avLst>
                <a:gd name="adj" fmla="val 3125"/>
              </a:avLst>
            </a:prstGeom>
            <a:noFill/>
            <a:ln w="12700" cap="rnd" cmpd="sng" algn="ctr">
              <a:solidFill>
                <a:srgbClr val="FFFFFF">
                  <a:lumMod val="75000"/>
                </a:srgbClr>
              </a:solidFill>
              <a:prstDash val="solid"/>
              <a:headEnd type="none" w="lg" len="sm"/>
              <a:tailEnd type="none" w="lg"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noFill/>
                <a:effectLst/>
                <a:uLnTx/>
                <a:uFillTx/>
                <a:latin typeface="Segoe UI Variable Small Semibol" pitchFamily="2" charset="0"/>
                <a:ea typeface="+mn-ea"/>
                <a:cs typeface="+mn-cs"/>
              </a:endParaRPr>
            </a:p>
          </p:txBody>
        </p:sp>
      </p:grpSp>
      <p:pic>
        <p:nvPicPr>
          <p:cNvPr id="1026" name="Picture 2">
            <a:extLst>
              <a:ext uri="{FF2B5EF4-FFF2-40B4-BE49-F238E27FC236}">
                <a16:creationId xmlns:a16="http://schemas.microsoft.com/office/drawing/2014/main" id="{17290008-55CB-1F5E-3836-3EE8AD27251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39249" y="3252423"/>
            <a:ext cx="923891" cy="9238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3145297"/>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34">
            <a:extLst>
              <a:ext uri="{FF2B5EF4-FFF2-40B4-BE49-F238E27FC236}">
                <a16:creationId xmlns:a16="http://schemas.microsoft.com/office/drawing/2014/main" id="{FCA13C2D-A05E-63CB-494C-4086389CEBC9}"/>
              </a:ext>
            </a:extLst>
          </p:cNvPr>
          <p:cNvSpPr/>
          <p:nvPr/>
        </p:nvSpPr>
        <p:spPr bwMode="auto">
          <a:xfrm>
            <a:off x="1126870" y="2898956"/>
            <a:ext cx="9938259" cy="1754533"/>
          </a:xfrm>
          <a:prstGeom prst="roundRect">
            <a:avLst>
              <a:gd name="adj" fmla="val 5302"/>
            </a:avLst>
          </a:prstGeom>
          <a:solidFill>
            <a:srgbClr val="FFFFFF">
              <a:alpha val="70000"/>
            </a:srgbClr>
          </a:solidFill>
          <a:ln>
            <a:solidFill>
              <a:srgbClr val="8C827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endParaRPr>
          </a:p>
        </p:txBody>
      </p:sp>
      <p:sp>
        <p:nvSpPr>
          <p:cNvPr id="19" name="TextBox 18">
            <a:extLst>
              <a:ext uri="{FF2B5EF4-FFF2-40B4-BE49-F238E27FC236}">
                <a16:creationId xmlns:a16="http://schemas.microsoft.com/office/drawing/2014/main" id="{8D61DBC6-60D1-F41A-D27A-9F5087F52E9A}"/>
              </a:ext>
            </a:extLst>
          </p:cNvPr>
          <p:cNvSpPr txBox="1"/>
          <p:nvPr/>
        </p:nvSpPr>
        <p:spPr>
          <a:xfrm>
            <a:off x="4726131" y="2698939"/>
            <a:ext cx="2739737" cy="393042"/>
          </a:xfrm>
          <a:prstGeom prst="roundRect">
            <a:avLst>
              <a:gd name="adj" fmla="val 50000"/>
            </a:avLst>
          </a:prstGeom>
          <a:gradFill flip="none" rotWithShape="1">
            <a:gsLst>
              <a:gs pos="49000">
                <a:srgbClr val="0078D4"/>
              </a:gs>
              <a:gs pos="0">
                <a:srgbClr val="49C5B1"/>
              </a:gs>
            </a:gsLst>
            <a:path path="circle">
              <a:fillToRect l="100000" t="100000"/>
            </a:path>
            <a:tileRect r="-100000" b="-100000"/>
          </a:gradFill>
          <a:ln>
            <a:noFill/>
            <a:headEnd type="none" w="med" len="med"/>
            <a:tailEnd type="none" w="med" len="med"/>
          </a:ln>
          <a:effectLst>
            <a:outerShdw blurRad="1270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45720" numCol="1" spcCol="0" rtlCol="0" fromWordArt="0" anchor="ctr" anchorCtr="0" forceAA="0" compatLnSpc="1">
            <a:prstTxWarp prst="textNoShape">
              <a:avLst/>
            </a:prstTxWarp>
            <a:noAutofit/>
          </a:bodyPr>
          <a:lstStyle>
            <a:defPPr>
              <a:defRPr lang="en-US"/>
            </a:defPPr>
            <a:lvl1pPr algn="ctr" defTabSz="914367" fontAlgn="base">
              <a:spcBef>
                <a:spcPct val="0"/>
              </a:spcBef>
              <a:spcAft>
                <a:spcPct val="0"/>
              </a:spcAft>
              <a:defRPr sz="1600" b="1">
                <a:ln w="3175">
                  <a:noFill/>
                </a:ln>
                <a:gradFill>
                  <a:gsLst>
                    <a:gs pos="53933">
                      <a:srgbClr val="FFFFFF"/>
                    </a:gs>
                    <a:gs pos="38000">
                      <a:srgbClr val="FFFFFF"/>
                    </a:gs>
                  </a:gsLst>
                  <a:path path="circle">
                    <a:fillToRect l="100000" b="100000"/>
                  </a:path>
                </a:gradFill>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w="3175">
                  <a:noFill/>
                </a:ln>
                <a:gradFill>
                  <a:gsLst>
                    <a:gs pos="53933">
                      <a:srgbClr val="FFFFFF"/>
                    </a:gs>
                    <a:gs pos="38000">
                      <a:srgbClr val="FFFFFF"/>
                    </a:gs>
                  </a:gsLst>
                  <a:path path="circle">
                    <a:fillToRect l="100000" b="100000"/>
                  </a:path>
                </a:gradFill>
                <a:effectLst/>
                <a:uLnTx/>
                <a:uFillTx/>
                <a:latin typeface="Segoe UI Variable Display Semibold" pitchFamily="2" charset="0"/>
                <a:ea typeface="+mn-ea"/>
                <a:cs typeface="Segoe UI" pitchFamily="34" charset="0"/>
              </a:rPr>
              <a:t>Natural Language</a:t>
            </a:r>
          </a:p>
        </p:txBody>
      </p:sp>
      <p:sp>
        <p:nvSpPr>
          <p:cNvPr id="8" name="Graphic 8">
            <a:extLst>
              <a:ext uri="{FF2B5EF4-FFF2-40B4-BE49-F238E27FC236}">
                <a16:creationId xmlns:a16="http://schemas.microsoft.com/office/drawing/2014/main" id="{801BD137-DD4A-B075-782F-60CD19541EFF}"/>
              </a:ext>
              <a:ext uri="{C183D7F6-B498-43B3-948B-1728B52AA6E4}">
                <adec:decorative xmlns:adec="http://schemas.microsoft.com/office/drawing/2017/decorative" val="1"/>
              </a:ext>
            </a:extLst>
          </p:cNvPr>
          <p:cNvSpPr/>
          <p:nvPr/>
        </p:nvSpPr>
        <p:spPr>
          <a:xfrm>
            <a:off x="3176204" y="34645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10" name="TextBox 9">
            <a:extLst>
              <a:ext uri="{FF2B5EF4-FFF2-40B4-BE49-F238E27FC236}">
                <a16:creationId xmlns:a16="http://schemas.microsoft.com/office/drawing/2014/main" id="{A62345C9-F0A2-E471-77F5-C79D0F69B014}"/>
              </a:ext>
            </a:extLst>
          </p:cNvPr>
          <p:cNvSpPr txBox="1"/>
          <p:nvPr/>
        </p:nvSpPr>
        <p:spPr>
          <a:xfrm>
            <a:off x="5563011" y="3991406"/>
            <a:ext cx="1106200"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Variable Display Semibold"/>
                <a:ea typeface="+mn-ea"/>
                <a:cs typeface="+mn-cs"/>
              </a:rPr>
              <a:t>Microsoft Graph*</a:t>
            </a:r>
            <a:endParaRPr kumimoji="0" lang="en-US" sz="1400" b="1" i="0" u="none" strike="noStrike" kern="1200" cap="none" spc="0" normalizeH="0" baseline="0" noProof="0">
              <a:ln>
                <a:noFill/>
              </a:ln>
              <a:solidFill>
                <a:srgbClr val="000000"/>
              </a:solidFill>
              <a:effectLst/>
              <a:uLnTx/>
              <a:uFillTx/>
              <a:latin typeface="Segoe UI Variable Display Semibold" pitchFamily="2" charset="0"/>
              <a:ea typeface="+mn-ea"/>
              <a:cs typeface="+mn-cs"/>
            </a:endParaRPr>
          </a:p>
        </p:txBody>
      </p:sp>
      <p:sp>
        <p:nvSpPr>
          <p:cNvPr id="13" name="TextBox 12">
            <a:extLst>
              <a:ext uri="{FF2B5EF4-FFF2-40B4-BE49-F238E27FC236}">
                <a16:creationId xmlns:a16="http://schemas.microsoft.com/office/drawing/2014/main" id="{210E70CB-B428-823E-D1B3-117AD146C3F6}"/>
              </a:ext>
            </a:extLst>
          </p:cNvPr>
          <p:cNvSpPr txBox="1"/>
          <p:nvPr/>
        </p:nvSpPr>
        <p:spPr>
          <a:xfrm>
            <a:off x="1595500" y="3991406"/>
            <a:ext cx="1530703"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Semibold" pitchFamily="2" charset="0"/>
                <a:ea typeface="+mn-ea"/>
                <a:cs typeface="+mn-cs"/>
              </a:rPr>
              <a:t>Large Language Models</a:t>
            </a:r>
          </a:p>
        </p:txBody>
      </p:sp>
      <p:pic>
        <p:nvPicPr>
          <p:cNvPr id="14" name="Graphic 13">
            <a:extLst>
              <a:ext uri="{FF2B5EF4-FFF2-40B4-BE49-F238E27FC236}">
                <a16:creationId xmlns:a16="http://schemas.microsoft.com/office/drawing/2014/main" id="{24CFB0D3-F71E-2351-B5A2-6303CEA66F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36978" y="3343641"/>
            <a:ext cx="447748" cy="447748"/>
          </a:xfrm>
          <a:prstGeom prst="rect">
            <a:avLst/>
          </a:prstGeom>
        </p:spPr>
      </p:pic>
      <p:sp>
        <p:nvSpPr>
          <p:cNvPr id="16" name="TextBox 15">
            <a:extLst>
              <a:ext uri="{FF2B5EF4-FFF2-40B4-BE49-F238E27FC236}">
                <a16:creationId xmlns:a16="http://schemas.microsoft.com/office/drawing/2014/main" id="{834AE1EF-09E6-9F7D-9A69-80B3443F315B}"/>
              </a:ext>
            </a:extLst>
          </p:cNvPr>
          <p:cNvSpPr txBox="1"/>
          <p:nvPr/>
        </p:nvSpPr>
        <p:spPr>
          <a:xfrm>
            <a:off x="3475060" y="3991406"/>
            <a:ext cx="1500026"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Semibold" pitchFamily="2" charset="0"/>
                <a:ea typeface="+mn-ea"/>
                <a:cs typeface="+mn-cs"/>
              </a:rPr>
              <a:t>Microsoft 365 Apps</a:t>
            </a:r>
          </a:p>
        </p:txBody>
      </p:sp>
      <p:pic>
        <p:nvPicPr>
          <p:cNvPr id="17" name="Graphic 16">
            <a:extLst>
              <a:ext uri="{FF2B5EF4-FFF2-40B4-BE49-F238E27FC236}">
                <a16:creationId xmlns:a16="http://schemas.microsoft.com/office/drawing/2014/main" id="{665219B5-FA8B-B109-72E7-6EA43E6105A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73649" y="3315464"/>
            <a:ext cx="504102" cy="504102"/>
          </a:xfrm>
          <a:prstGeom prst="rect">
            <a:avLst/>
          </a:prstGeom>
        </p:spPr>
      </p:pic>
      <p:sp>
        <p:nvSpPr>
          <p:cNvPr id="21" name="Graphic 28">
            <a:extLst>
              <a:ext uri="{FF2B5EF4-FFF2-40B4-BE49-F238E27FC236}">
                <a16:creationId xmlns:a16="http://schemas.microsoft.com/office/drawing/2014/main" id="{AD237726-906B-0D38-3E02-AE271DCDECAE}"/>
              </a:ext>
              <a:ext uri="{C183D7F6-B498-43B3-948B-1728B52AA6E4}">
                <adec:decorative xmlns:adec="http://schemas.microsoft.com/office/drawing/2017/decorative" val="1"/>
              </a:ext>
            </a:extLst>
          </p:cNvPr>
          <p:cNvSpPr/>
          <p:nvPr/>
        </p:nvSpPr>
        <p:spPr>
          <a:xfrm>
            <a:off x="6957026" y="34645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Graphic 28">
            <a:extLst>
              <a:ext uri="{FF2B5EF4-FFF2-40B4-BE49-F238E27FC236}">
                <a16:creationId xmlns:a16="http://schemas.microsoft.com/office/drawing/2014/main" id="{5F626562-6511-FAF4-1521-881441E5DEDD}"/>
              </a:ext>
              <a:ext uri="{C183D7F6-B498-43B3-948B-1728B52AA6E4}">
                <adec:decorative xmlns:adec="http://schemas.microsoft.com/office/drawing/2017/decorative" val="1"/>
              </a:ext>
            </a:extLst>
          </p:cNvPr>
          <p:cNvSpPr/>
          <p:nvPr/>
        </p:nvSpPr>
        <p:spPr>
          <a:xfrm>
            <a:off x="8808174" y="34645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D176BD6E-C6B5-2881-EE6C-A717A48F5E79}"/>
              </a:ext>
            </a:extLst>
          </p:cNvPr>
          <p:cNvSpPr txBox="1"/>
          <p:nvPr/>
        </p:nvSpPr>
        <p:spPr>
          <a:xfrm>
            <a:off x="9189804" y="3991406"/>
            <a:ext cx="1286385" cy="21544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Semibold" pitchFamily="2" charset="0"/>
                <a:ea typeface="+mn-ea"/>
                <a:cs typeface="+mn-cs"/>
              </a:rPr>
              <a:t>Web</a:t>
            </a:r>
          </a:p>
        </p:txBody>
      </p:sp>
      <p:sp>
        <p:nvSpPr>
          <p:cNvPr id="28" name="Graphic 20">
            <a:extLst>
              <a:ext uri="{FF2B5EF4-FFF2-40B4-BE49-F238E27FC236}">
                <a16:creationId xmlns:a16="http://schemas.microsoft.com/office/drawing/2014/main" id="{6D573B04-2F29-0C30-7290-D69BA3307804}"/>
              </a:ext>
            </a:extLst>
          </p:cNvPr>
          <p:cNvSpPr/>
          <p:nvPr/>
        </p:nvSpPr>
        <p:spPr>
          <a:xfrm>
            <a:off x="9605618" y="3340335"/>
            <a:ext cx="454759" cy="454361"/>
          </a:xfrm>
          <a:custGeom>
            <a:avLst/>
            <a:gdLst>
              <a:gd name="connsiteX0" fmla="*/ 13742 w 190773"/>
              <a:gd name="connsiteY0" fmla="*/ 75793 h 190606"/>
              <a:gd name="connsiteX1" fmla="*/ 13742 w 190773"/>
              <a:gd name="connsiteY1" fmla="*/ 142145 h 190606"/>
              <a:gd name="connsiteX2" fmla="*/ 73109 w 190773"/>
              <a:gd name="connsiteY2" fmla="*/ 147907 h 190606"/>
              <a:gd name="connsiteX3" fmla="*/ 113651 w 190773"/>
              <a:gd name="connsiteY3" fmla="*/ 188449 h 190606"/>
              <a:gd name="connsiteX4" fmla="*/ 124067 w 190773"/>
              <a:gd name="connsiteY4" fmla="*/ 188449 h 190606"/>
              <a:gd name="connsiteX5" fmla="*/ 124780 w 190773"/>
              <a:gd name="connsiteY5" fmla="*/ 178859 h 190606"/>
              <a:gd name="connsiteX6" fmla="*/ 124067 w 190773"/>
              <a:gd name="connsiteY6" fmla="*/ 178033 h 190606"/>
              <a:gd name="connsiteX7" fmla="*/ 83897 w 190773"/>
              <a:gd name="connsiteY7" fmla="*/ 137854 h 190606"/>
              <a:gd name="connsiteX8" fmla="*/ 80093 w 190773"/>
              <a:gd name="connsiteY8" fmla="*/ 75793 h 190606"/>
              <a:gd name="connsiteX9" fmla="*/ 13742 w 190773"/>
              <a:gd name="connsiteY9" fmla="*/ 75793 h 190606"/>
              <a:gd name="connsiteX10" fmla="*/ 95510 w 190773"/>
              <a:gd name="connsiteY10" fmla="*/ 0 h 190606"/>
              <a:gd name="connsiteX11" fmla="*/ 2632 w 190773"/>
              <a:gd name="connsiteY11" fmla="*/ 73977 h 190606"/>
              <a:gd name="connsiteX12" fmla="*/ 7007 w 190773"/>
              <a:gd name="connsiteY12" fmla="*/ 69058 h 190606"/>
              <a:gd name="connsiteX13" fmla="*/ 23920 w 190773"/>
              <a:gd name="connsiteY13" fmla="*/ 57407 h 190606"/>
              <a:gd name="connsiteX14" fmla="*/ 65791 w 190773"/>
              <a:gd name="connsiteY14" fmla="*/ 19914 h 190606"/>
              <a:gd name="connsiteX15" fmla="*/ 64774 w 190773"/>
              <a:gd name="connsiteY15" fmla="*/ 21573 h 190606"/>
              <a:gd name="connsiteX16" fmla="*/ 52628 w 190773"/>
              <a:gd name="connsiteY16" fmla="*/ 52807 h 190606"/>
              <a:gd name="connsiteX17" fmla="*/ 66588 w 190773"/>
              <a:gd name="connsiteY17" fmla="*/ 56050 h 190606"/>
              <a:gd name="connsiteX18" fmla="*/ 95510 w 190773"/>
              <a:gd name="connsiteY18" fmla="*/ 14288 h 190606"/>
              <a:gd name="connsiteX19" fmla="*/ 96611 w 190773"/>
              <a:gd name="connsiteY19" fmla="*/ 14338 h 190606"/>
              <a:gd name="connsiteX20" fmla="*/ 125716 w 190773"/>
              <a:gd name="connsiteY20" fmla="*/ 61924 h 190606"/>
              <a:gd name="connsiteX21" fmla="*/ 78113 w 190773"/>
              <a:gd name="connsiteY21" fmla="*/ 61917 h 190606"/>
              <a:gd name="connsiteX22" fmla="*/ 86829 w 190773"/>
              <a:gd name="connsiteY22" fmla="*/ 69058 h 190606"/>
              <a:gd name="connsiteX23" fmla="*/ 92878 w 190773"/>
              <a:gd name="connsiteY23" fmla="*/ 76195 h 190606"/>
              <a:gd name="connsiteX24" fmla="*/ 127865 w 190773"/>
              <a:gd name="connsiteY24" fmla="*/ 76209 h 190606"/>
              <a:gd name="connsiteX25" fmla="*/ 128861 w 190773"/>
              <a:gd name="connsiteY25" fmla="*/ 95265 h 190606"/>
              <a:gd name="connsiteX26" fmla="*/ 126578 w 190773"/>
              <a:gd name="connsiteY26" fmla="*/ 123841 h 190606"/>
              <a:gd name="connsiteX27" fmla="*/ 101381 w 190773"/>
              <a:gd name="connsiteY27" fmla="*/ 123842 h 190606"/>
              <a:gd name="connsiteX28" fmla="*/ 98533 w 190773"/>
              <a:gd name="connsiteY28" fmla="*/ 131853 h 190606"/>
              <a:gd name="connsiteX29" fmla="*/ 97305 w 190773"/>
              <a:gd name="connsiteY29" fmla="*/ 134441 h 190606"/>
              <a:gd name="connsiteX30" fmla="*/ 96137 w 190773"/>
              <a:gd name="connsiteY30" fmla="*/ 136626 h 190606"/>
              <a:gd name="connsiteX31" fmla="*/ 97648 w 190773"/>
              <a:gd name="connsiteY31" fmla="*/ 138122 h 190606"/>
              <a:gd name="connsiteX32" fmla="*/ 123503 w 190773"/>
              <a:gd name="connsiteY32" fmla="*/ 138124 h 190606"/>
              <a:gd name="connsiteX33" fmla="*/ 116534 w 190773"/>
              <a:gd name="connsiteY33" fmla="*/ 157027 h 190606"/>
              <a:gd name="connsiteX34" fmla="*/ 127064 w 190773"/>
              <a:gd name="connsiteY34" fmla="*/ 167578 h 190606"/>
              <a:gd name="connsiteX35" fmla="*/ 138293 w 190773"/>
              <a:gd name="connsiteY35" fmla="*/ 138134 h 190606"/>
              <a:gd name="connsiteX36" fmla="*/ 164226 w 190773"/>
              <a:gd name="connsiteY36" fmla="*/ 138126 h 190606"/>
              <a:gd name="connsiteX37" fmla="*/ 128661 w 190773"/>
              <a:gd name="connsiteY37" fmla="*/ 169167 h 190606"/>
              <a:gd name="connsiteX38" fmla="*/ 130803 w 190773"/>
              <a:gd name="connsiteY38" fmla="*/ 171299 h 190606"/>
              <a:gd name="connsiteX39" fmla="*/ 131989 w 190773"/>
              <a:gd name="connsiteY39" fmla="*/ 172635 h 190606"/>
              <a:gd name="connsiteX40" fmla="*/ 135591 w 190773"/>
              <a:gd name="connsiteY40" fmla="*/ 181710 h 190606"/>
              <a:gd name="connsiteX41" fmla="*/ 190774 w 190773"/>
              <a:gd name="connsiteY41" fmla="*/ 95265 h 190606"/>
              <a:gd name="connsiteX42" fmla="*/ 95510 w 190773"/>
              <a:gd name="connsiteY42" fmla="*/ 0 h 190606"/>
              <a:gd name="connsiteX43" fmla="*/ 69678 w 190773"/>
              <a:gd name="connsiteY43" fmla="*/ 86208 h 190606"/>
              <a:gd name="connsiteX44" fmla="*/ 69678 w 190773"/>
              <a:gd name="connsiteY44" fmla="*/ 131729 h 190606"/>
              <a:gd name="connsiteX45" fmla="*/ 24158 w 190773"/>
              <a:gd name="connsiteY45" fmla="*/ 131729 h 190606"/>
              <a:gd name="connsiteX46" fmla="*/ 24158 w 190773"/>
              <a:gd name="connsiteY46" fmla="*/ 86208 h 190606"/>
              <a:gd name="connsiteX47" fmla="*/ 69678 w 190773"/>
              <a:gd name="connsiteY47" fmla="*/ 86208 h 190606"/>
              <a:gd name="connsiteX48" fmla="*/ 142245 w 190773"/>
              <a:gd name="connsiteY48" fmla="*/ 76215 h 190606"/>
              <a:gd name="connsiteX49" fmla="*/ 174226 w 190773"/>
              <a:gd name="connsiteY49" fmla="*/ 76209 h 190606"/>
              <a:gd name="connsiteX50" fmla="*/ 174300 w 190773"/>
              <a:gd name="connsiteY50" fmla="*/ 76496 h 190606"/>
              <a:gd name="connsiteX51" fmla="*/ 176486 w 190773"/>
              <a:gd name="connsiteY51" fmla="*/ 95265 h 190606"/>
              <a:gd name="connsiteX52" fmla="*/ 171301 w 190773"/>
              <a:gd name="connsiteY52" fmla="*/ 123840 h 190606"/>
              <a:gd name="connsiteX53" fmla="*/ 141074 w 190773"/>
              <a:gd name="connsiteY53" fmla="*/ 123848 h 190606"/>
              <a:gd name="connsiteX54" fmla="*/ 143149 w 190773"/>
              <a:gd name="connsiteY54" fmla="*/ 95265 h 190606"/>
              <a:gd name="connsiteX55" fmla="*/ 142245 w 190773"/>
              <a:gd name="connsiteY55" fmla="*/ 76215 h 190606"/>
              <a:gd name="connsiteX56" fmla="*/ 125217 w 190773"/>
              <a:gd name="connsiteY56" fmla="*/ 19914 h 190606"/>
              <a:gd name="connsiteX57" fmla="*/ 125435 w 190773"/>
              <a:gd name="connsiteY57" fmla="*/ 19997 h 190606"/>
              <a:gd name="connsiteX58" fmla="*/ 169327 w 190773"/>
              <a:gd name="connsiteY58" fmla="*/ 61926 h 190606"/>
              <a:gd name="connsiteX59" fmla="*/ 140292 w 190773"/>
              <a:gd name="connsiteY59" fmla="*/ 61920 h 190606"/>
              <a:gd name="connsiteX60" fmla="*/ 125217 w 190773"/>
              <a:gd name="connsiteY60" fmla="*/ 19914 h 19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0773" h="190606">
                <a:moveTo>
                  <a:pt x="13742" y="75793"/>
                </a:moveTo>
                <a:cubicBezTo>
                  <a:pt x="-4581" y="94116"/>
                  <a:pt x="-4581" y="123823"/>
                  <a:pt x="13742" y="142145"/>
                </a:cubicBezTo>
                <a:cubicBezTo>
                  <a:pt x="29884" y="158288"/>
                  <a:pt x="54863" y="160208"/>
                  <a:pt x="73109" y="147907"/>
                </a:cubicBezTo>
                <a:lnTo>
                  <a:pt x="113651" y="188449"/>
                </a:lnTo>
                <a:cubicBezTo>
                  <a:pt x="116528" y="191325"/>
                  <a:pt x="121190" y="191325"/>
                  <a:pt x="124067" y="188449"/>
                </a:cubicBezTo>
                <a:cubicBezTo>
                  <a:pt x="126681" y="185834"/>
                  <a:pt x="126919" y="181742"/>
                  <a:pt x="124780" y="178859"/>
                </a:cubicBezTo>
                <a:lnTo>
                  <a:pt x="124067" y="178033"/>
                </a:lnTo>
                <a:lnTo>
                  <a:pt x="83897" y="137854"/>
                </a:lnTo>
                <a:cubicBezTo>
                  <a:pt x="98314" y="119444"/>
                  <a:pt x="97046" y="92745"/>
                  <a:pt x="80093" y="75793"/>
                </a:cubicBezTo>
                <a:cubicBezTo>
                  <a:pt x="61771" y="57471"/>
                  <a:pt x="32064" y="57471"/>
                  <a:pt x="13742" y="75793"/>
                </a:cubicBezTo>
                <a:close/>
                <a:moveTo>
                  <a:pt x="95510" y="0"/>
                </a:moveTo>
                <a:cubicBezTo>
                  <a:pt x="50214" y="0"/>
                  <a:pt x="12302" y="31612"/>
                  <a:pt x="2632" y="73977"/>
                </a:cubicBezTo>
                <a:cubicBezTo>
                  <a:pt x="3976" y="72270"/>
                  <a:pt x="5435" y="70629"/>
                  <a:pt x="7007" y="69058"/>
                </a:cubicBezTo>
                <a:cubicBezTo>
                  <a:pt x="12039" y="64026"/>
                  <a:pt x="17785" y="60142"/>
                  <a:pt x="23920" y="57407"/>
                </a:cubicBezTo>
                <a:cubicBezTo>
                  <a:pt x="32902" y="40429"/>
                  <a:pt x="47763" y="27030"/>
                  <a:pt x="65791" y="19914"/>
                </a:cubicBezTo>
                <a:lnTo>
                  <a:pt x="64774" y="21573"/>
                </a:lnTo>
                <a:cubicBezTo>
                  <a:pt x="59654" y="30084"/>
                  <a:pt x="55524" y="40730"/>
                  <a:pt x="52628" y="52807"/>
                </a:cubicBezTo>
                <a:cubicBezTo>
                  <a:pt x="57380" y="53295"/>
                  <a:pt x="62070" y="54374"/>
                  <a:pt x="66588" y="56050"/>
                </a:cubicBezTo>
                <a:cubicBezTo>
                  <a:pt x="72606" y="31022"/>
                  <a:pt x="83951" y="14288"/>
                  <a:pt x="95510" y="14288"/>
                </a:cubicBezTo>
                <a:lnTo>
                  <a:pt x="96611" y="14338"/>
                </a:lnTo>
                <a:cubicBezTo>
                  <a:pt x="108665" y="15441"/>
                  <a:pt x="120308" y="34509"/>
                  <a:pt x="125716" y="61924"/>
                </a:cubicBezTo>
                <a:lnTo>
                  <a:pt x="78113" y="61917"/>
                </a:lnTo>
                <a:cubicBezTo>
                  <a:pt x="81193" y="63963"/>
                  <a:pt x="84115" y="66343"/>
                  <a:pt x="86829" y="69058"/>
                </a:cubicBezTo>
                <a:cubicBezTo>
                  <a:pt x="89072" y="71301"/>
                  <a:pt x="91089" y="73690"/>
                  <a:pt x="92878" y="76195"/>
                </a:cubicBezTo>
                <a:lnTo>
                  <a:pt x="127865" y="76209"/>
                </a:lnTo>
                <a:cubicBezTo>
                  <a:pt x="128513" y="82308"/>
                  <a:pt x="128861" y="88687"/>
                  <a:pt x="128861" y="95265"/>
                </a:cubicBezTo>
                <a:cubicBezTo>
                  <a:pt x="128861" y="105357"/>
                  <a:pt x="128041" y="114980"/>
                  <a:pt x="126578" y="123841"/>
                </a:cubicBezTo>
                <a:lnTo>
                  <a:pt x="101381" y="123842"/>
                </a:lnTo>
                <a:cubicBezTo>
                  <a:pt x="100641" y="126563"/>
                  <a:pt x="99691" y="129241"/>
                  <a:pt x="98533" y="131853"/>
                </a:cubicBezTo>
                <a:lnTo>
                  <a:pt x="97305" y="134441"/>
                </a:lnTo>
                <a:lnTo>
                  <a:pt x="96137" y="136626"/>
                </a:lnTo>
                <a:lnTo>
                  <a:pt x="97648" y="138122"/>
                </a:lnTo>
                <a:lnTo>
                  <a:pt x="123503" y="138124"/>
                </a:lnTo>
                <a:cubicBezTo>
                  <a:pt x="121577" y="145254"/>
                  <a:pt x="119211" y="151627"/>
                  <a:pt x="116534" y="157027"/>
                </a:cubicBezTo>
                <a:lnTo>
                  <a:pt x="127064" y="167578"/>
                </a:lnTo>
                <a:cubicBezTo>
                  <a:pt x="131749" y="159405"/>
                  <a:pt x="135559" y="149398"/>
                  <a:pt x="138293" y="138134"/>
                </a:cubicBezTo>
                <a:lnTo>
                  <a:pt x="164226" y="138126"/>
                </a:lnTo>
                <a:cubicBezTo>
                  <a:pt x="155750" y="151687"/>
                  <a:pt x="143370" y="162558"/>
                  <a:pt x="128661" y="169167"/>
                </a:cubicBezTo>
                <a:lnTo>
                  <a:pt x="130803" y="171299"/>
                </a:lnTo>
                <a:lnTo>
                  <a:pt x="131989" y="172635"/>
                </a:lnTo>
                <a:cubicBezTo>
                  <a:pt x="134089" y="175447"/>
                  <a:pt x="135275" y="178581"/>
                  <a:pt x="135591" y="181710"/>
                </a:cubicBezTo>
                <a:cubicBezTo>
                  <a:pt x="168175" y="166583"/>
                  <a:pt x="190774" y="133563"/>
                  <a:pt x="190774" y="95265"/>
                </a:cubicBezTo>
                <a:cubicBezTo>
                  <a:pt x="190774" y="42651"/>
                  <a:pt x="148123" y="0"/>
                  <a:pt x="95510" y="0"/>
                </a:cubicBezTo>
                <a:close/>
                <a:moveTo>
                  <a:pt x="69678" y="86208"/>
                </a:moveTo>
                <a:cubicBezTo>
                  <a:pt x="82248" y="98779"/>
                  <a:pt x="82248" y="119159"/>
                  <a:pt x="69678" y="131729"/>
                </a:cubicBezTo>
                <a:cubicBezTo>
                  <a:pt x="57108" y="144299"/>
                  <a:pt x="36728" y="144299"/>
                  <a:pt x="24158" y="131729"/>
                </a:cubicBezTo>
                <a:cubicBezTo>
                  <a:pt x="11587" y="119159"/>
                  <a:pt x="11587" y="98779"/>
                  <a:pt x="24158" y="86208"/>
                </a:cubicBezTo>
                <a:cubicBezTo>
                  <a:pt x="36728" y="73639"/>
                  <a:pt x="57108" y="73639"/>
                  <a:pt x="69678" y="86208"/>
                </a:cubicBezTo>
                <a:close/>
                <a:moveTo>
                  <a:pt x="142245" y="76215"/>
                </a:moveTo>
                <a:lnTo>
                  <a:pt x="174226" y="76209"/>
                </a:lnTo>
                <a:lnTo>
                  <a:pt x="174300" y="76496"/>
                </a:lnTo>
                <a:cubicBezTo>
                  <a:pt x="175730" y="82519"/>
                  <a:pt x="176486" y="88804"/>
                  <a:pt x="176486" y="95265"/>
                </a:cubicBezTo>
                <a:cubicBezTo>
                  <a:pt x="176486" y="105323"/>
                  <a:pt x="174653" y="114954"/>
                  <a:pt x="171301" y="123840"/>
                </a:cubicBezTo>
                <a:lnTo>
                  <a:pt x="141074" y="123848"/>
                </a:lnTo>
                <a:cubicBezTo>
                  <a:pt x="142430" y="114806"/>
                  <a:pt x="143149" y="105199"/>
                  <a:pt x="143149" y="95265"/>
                </a:cubicBezTo>
                <a:cubicBezTo>
                  <a:pt x="143149" y="88752"/>
                  <a:pt x="142840" y="82380"/>
                  <a:pt x="142245" y="76215"/>
                </a:cubicBezTo>
                <a:close/>
                <a:moveTo>
                  <a:pt x="125217" y="19914"/>
                </a:moveTo>
                <a:lnTo>
                  <a:pt x="125435" y="19997"/>
                </a:lnTo>
                <a:cubicBezTo>
                  <a:pt x="144937" y="27757"/>
                  <a:pt x="160710" y="42877"/>
                  <a:pt x="169327" y="61926"/>
                </a:cubicBezTo>
                <a:lnTo>
                  <a:pt x="140292" y="61920"/>
                </a:lnTo>
                <a:cubicBezTo>
                  <a:pt x="137307" y="45228"/>
                  <a:pt x="132099" y="30697"/>
                  <a:pt x="125217" y="19914"/>
                </a:cubicBezTo>
                <a:close/>
              </a:path>
            </a:pathLst>
          </a:custGeom>
          <a:solidFill>
            <a:srgbClr val="21212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Segoe UI Variable Display Semibold" pitchFamily="2" charset="0"/>
              <a:ea typeface="+mn-ea"/>
              <a:cs typeface="+mn-cs"/>
            </a:endParaRPr>
          </a:p>
        </p:txBody>
      </p:sp>
      <p:sp>
        <p:nvSpPr>
          <p:cNvPr id="22" name="Title 20">
            <a:extLst>
              <a:ext uri="{FF2B5EF4-FFF2-40B4-BE49-F238E27FC236}">
                <a16:creationId xmlns:a16="http://schemas.microsoft.com/office/drawing/2014/main" id="{9B67D835-11FB-3B76-6758-B603B5949CDA}"/>
              </a:ext>
            </a:extLst>
          </p:cNvPr>
          <p:cNvSpPr txBox="1">
            <a:spLocks/>
          </p:cNvSpPr>
          <p:nvPr/>
        </p:nvSpPr>
        <p:spPr>
          <a:xfrm>
            <a:off x="2438400" y="1617299"/>
            <a:ext cx="7315200"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100" normalizeH="0" baseline="0" noProof="0">
                <a:ln>
                  <a:noFill/>
                </a:ln>
                <a:solidFill>
                  <a:prstClr val="black"/>
                </a:solidFill>
                <a:effectLst/>
                <a:uLnTx/>
                <a:uFillTx/>
                <a:latin typeface="Segoe UI Variable Display Semibold" pitchFamily="2" charset="0"/>
                <a:ea typeface="+mn-ea"/>
                <a:cs typeface="Segoe UI Semibold" panose="020B0702040204020203" pitchFamily="34" charset="0"/>
              </a:rPr>
              <a:t>Microsoft 365 Copilot</a:t>
            </a:r>
          </a:p>
        </p:txBody>
      </p:sp>
      <p:pic>
        <p:nvPicPr>
          <p:cNvPr id="2" name="!Copilot" descr="A rainbow colored logo on a black background&#10;&#10;Description automatically generated">
            <a:extLst>
              <a:ext uri="{FF2B5EF4-FFF2-40B4-BE49-F238E27FC236}">
                <a16:creationId xmlns:a16="http://schemas.microsoft.com/office/drawing/2014/main" id="{2C8C644F-DC9C-2AD3-949D-D2EB97F2B1A1}"/>
              </a:ext>
            </a:extLst>
          </p:cNvPr>
          <p:cNvPicPr>
            <a:picLocks noChangeAspect="1"/>
          </p:cNvPicPr>
          <p:nvPr/>
        </p:nvPicPr>
        <p:blipFill>
          <a:blip r:embed="rId7"/>
          <a:stretch>
            <a:fillRect/>
          </a:stretch>
        </p:blipFill>
        <p:spPr>
          <a:xfrm>
            <a:off x="5588810" y="450024"/>
            <a:ext cx="1014380" cy="1014380"/>
          </a:xfrm>
          <a:prstGeom prst="rect">
            <a:avLst/>
          </a:prstGeom>
          <a:noFill/>
          <a:ln>
            <a:noFill/>
            <a:headEnd type="none" w="med" len="med"/>
            <a:tailEnd type="none" w="med" len="med"/>
          </a:ln>
          <a:effectLst/>
        </p:spPr>
      </p:pic>
      <p:sp>
        <p:nvSpPr>
          <p:cNvPr id="6" name="TextBox 5">
            <a:extLst>
              <a:ext uri="{FF2B5EF4-FFF2-40B4-BE49-F238E27FC236}">
                <a16:creationId xmlns:a16="http://schemas.microsoft.com/office/drawing/2014/main" id="{57ACAA0B-107D-9921-E4A5-7D8855B37A15}"/>
              </a:ext>
            </a:extLst>
          </p:cNvPr>
          <p:cNvSpPr txBox="1"/>
          <p:nvPr/>
        </p:nvSpPr>
        <p:spPr>
          <a:xfrm>
            <a:off x="3002194" y="5240701"/>
            <a:ext cx="6187610" cy="646331"/>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a:ea typeface="+mn-ea"/>
                <a:cs typeface="Segoe UI Semibold"/>
              </a:rPr>
              <a:t>*Grounded out-of-box in your personal and company data from Microsoft Graph &amp; Microsoft Datavers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TextBox 6">
            <a:extLst>
              <a:ext uri="{FF2B5EF4-FFF2-40B4-BE49-F238E27FC236}">
                <a16:creationId xmlns:a16="http://schemas.microsoft.com/office/drawing/2014/main" id="{1CA9EEFA-4782-2BD8-E292-35CE31D1D478}"/>
              </a:ext>
            </a:extLst>
          </p:cNvPr>
          <p:cNvSpPr txBox="1"/>
          <p:nvPr/>
        </p:nvSpPr>
        <p:spPr>
          <a:xfrm>
            <a:off x="7452898" y="3991406"/>
            <a:ext cx="1056796"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Variable Display Semibold"/>
                <a:ea typeface="+mn-ea"/>
                <a:cs typeface="+mn-cs"/>
              </a:rPr>
              <a:t>Microsoft Dataverse*</a:t>
            </a:r>
          </a:p>
        </p:txBody>
      </p:sp>
      <p:sp>
        <p:nvSpPr>
          <p:cNvPr id="30" name="Graphic 28">
            <a:extLst>
              <a:ext uri="{FF2B5EF4-FFF2-40B4-BE49-F238E27FC236}">
                <a16:creationId xmlns:a16="http://schemas.microsoft.com/office/drawing/2014/main" id="{D47429F0-EBAD-7947-A7BA-D759159F275E}"/>
              </a:ext>
              <a:ext uri="{C183D7F6-B498-43B3-948B-1728B52AA6E4}">
                <adec:decorative xmlns:adec="http://schemas.microsoft.com/office/drawing/2017/decorative" val="1"/>
              </a:ext>
            </a:extLst>
          </p:cNvPr>
          <p:cNvSpPr/>
          <p:nvPr/>
        </p:nvSpPr>
        <p:spPr>
          <a:xfrm>
            <a:off x="5069229" y="34645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3" name="Graphic 2">
            <a:extLst>
              <a:ext uri="{FF2B5EF4-FFF2-40B4-BE49-F238E27FC236}">
                <a16:creationId xmlns:a16="http://schemas.microsoft.com/office/drawing/2014/main" id="{3CBDD474-283B-66C6-228B-D24EB1E536C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54471" y="3338078"/>
            <a:ext cx="462225" cy="458875"/>
          </a:xfrm>
          <a:prstGeom prst="rect">
            <a:avLst/>
          </a:prstGeom>
        </p:spPr>
      </p:pic>
      <p:pic>
        <p:nvPicPr>
          <p:cNvPr id="9" name="Graphic 8">
            <a:extLst>
              <a:ext uri="{FF2B5EF4-FFF2-40B4-BE49-F238E27FC236}">
                <a16:creationId xmlns:a16="http://schemas.microsoft.com/office/drawing/2014/main" id="{57F1B1AA-BA0B-DE44-9FA8-4949F89382A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66674" y="3318078"/>
            <a:ext cx="498874" cy="498874"/>
          </a:xfrm>
          <a:prstGeom prst="rect">
            <a:avLst/>
          </a:prstGeom>
        </p:spPr>
      </p:pic>
    </p:spTree>
    <p:extLst>
      <p:ext uri="{BB962C8B-B14F-4D97-AF65-F5344CB8AC3E}">
        <p14:creationId xmlns:p14="http://schemas.microsoft.com/office/powerpoint/2010/main" val="16795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0 -1.85185E-6 L 0 0.03542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grpId="0" nodeType="withEffect">
                                  <p:stCondLst>
                                    <p:cond delay="20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42" presetClass="path" presetSubtype="0" decel="100000" fill="hold" grpId="1" nodeType="withEffect">
                                  <p:stCondLst>
                                    <p:cond delay="200"/>
                                  </p:stCondLst>
                                  <p:childTnLst>
                                    <p:animMotion origin="layout" path="M 0 -4.44444E-6 L 0 0.03542 " pathEditMode="relative" rAng="0" ptsTypes="AA">
                                      <p:cBhvr>
                                        <p:cTn id="14" dur="700" spd="-100000" fill="hold"/>
                                        <p:tgtEl>
                                          <p:spTgt spid="2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A26928-089B-21CE-4034-8342AF04E6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90C255A-B677-0C81-F9D1-7EE9193A19E9}"/>
              </a:ext>
            </a:extLst>
          </p:cNvPr>
          <p:cNvSpPr>
            <a:spLocks noGrp="1"/>
          </p:cNvSpPr>
          <p:nvPr>
            <p:ph type="title"/>
          </p:nvPr>
        </p:nvSpPr>
        <p:spPr>
          <a:xfrm>
            <a:off x="571500" y="2792795"/>
            <a:ext cx="4179404" cy="1200329"/>
          </a:xfrm>
          <a:prstGeom prst="rect">
            <a:avLst/>
          </a:prstGeom>
        </p:spPr>
        <p:txBody>
          <a:bodyPr/>
          <a:lstStyle/>
          <a:p>
            <a:r>
              <a:rPr lang="en-US" spc="0"/>
              <a:t>Introduction to Copilot Agents</a:t>
            </a:r>
          </a:p>
        </p:txBody>
      </p:sp>
    </p:spTree>
    <p:extLst>
      <p:ext uri="{BB962C8B-B14F-4D97-AF65-F5344CB8AC3E}">
        <p14:creationId xmlns:p14="http://schemas.microsoft.com/office/powerpoint/2010/main" val="370748665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rcRect/>
          <a:stretch/>
        </p:blipFill>
        <p:spPr>
          <a:xfrm>
            <a:off x="0" y="0"/>
            <a:ext cx="12192000" cy="6858000"/>
          </a:xfrm>
          <a:prstGeom prst="rect">
            <a:avLst/>
          </a:prstGeom>
        </p:spPr>
      </p:pic>
      <p:pic>
        <p:nvPicPr>
          <p:cNvPr id="3" name="Image 1" descr="preencoded.png"/>
          <p:cNvPicPr>
            <a:picLocks noChangeAspect="1"/>
          </p:cNvPicPr>
          <p:nvPr/>
        </p:nvPicPr>
        <p:blipFill>
          <a:blip r:embed="rId4"/>
          <a:srcRect/>
          <a:stretch/>
        </p:blipFill>
        <p:spPr>
          <a:xfrm>
            <a:off x="5511800" y="682369"/>
            <a:ext cx="5201965" cy="5106277"/>
          </a:xfrm>
          <a:prstGeom prst="rect">
            <a:avLst/>
          </a:prstGeom>
        </p:spPr>
      </p:pic>
      <p:sp>
        <p:nvSpPr>
          <p:cNvPr id="4" name="Text 0"/>
          <p:cNvSpPr/>
          <p:nvPr/>
        </p:nvSpPr>
        <p:spPr>
          <a:xfrm>
            <a:off x="1024664" y="2389018"/>
            <a:ext cx="3863360" cy="3474655"/>
          </a:xfrm>
          <a:prstGeom prst="rect">
            <a:avLst/>
          </a:prstGeom>
          <a:noFill/>
          <a:ln/>
        </p:spPr>
        <p:txBody>
          <a:bodyPr wrap="square" lIns="0" tIns="0" rIns="0" bIns="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1000"/>
              </a:spcAft>
              <a:buClrTx/>
              <a:buSzTx/>
              <a:buFontTx/>
              <a:buNone/>
              <a:tabLst/>
              <a:defRPr/>
            </a:pPr>
            <a:r>
              <a:rPr kumimoji="0" lang="en-US" sz="3000" b="0" i="0" u="none" strike="noStrike" kern="0" cap="none" spc="-50" normalizeH="0" baseline="0" noProof="0">
                <a:ln>
                  <a:noFill/>
                </a:ln>
                <a:solidFill>
                  <a:srgbClr val="242424"/>
                </a:solidFill>
                <a:effectLst/>
                <a:uLnTx/>
                <a:uFillTx/>
                <a:latin typeface="Segoe UI Semibold" pitchFamily="34" charset="0"/>
                <a:ea typeface="Segoe UI Semibold" pitchFamily="34" charset="-122"/>
                <a:cs typeface="Segoe UI Semibold" pitchFamily="34" charset="-120"/>
              </a:rPr>
              <a:t>Microsoft 365 Copilot can be extended using Copilot agents to bring custom knowledge, skills, and process automation</a:t>
            </a:r>
            <a:endParaRPr kumimoji="0" lang="en-US" sz="30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 1"/>
          <p:cNvSpPr/>
          <p:nvPr/>
        </p:nvSpPr>
        <p:spPr>
          <a:xfrm>
            <a:off x="7373744" y="1550289"/>
            <a:ext cx="2394055" cy="325488"/>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755" b="0" i="0" u="none" strike="noStrike" kern="1200" cap="none" spc="0" normalizeH="0" baseline="0" noProof="0">
                <a:ln>
                  <a:noFill/>
                </a:ln>
                <a:solidFill>
                  <a:srgbClr val="1F1F1E"/>
                </a:solidFill>
                <a:effectLst/>
                <a:uLnTx/>
                <a:uFillTx/>
                <a:latin typeface="Segoe UI Semibold" pitchFamily="34" charset="0"/>
                <a:ea typeface="Segoe UI Semibold" pitchFamily="34" charset="-122"/>
                <a:cs typeface="Segoe UI Semibold" pitchFamily="34" charset="-120"/>
              </a:rPr>
              <a:t>+ Copilot agents</a:t>
            </a:r>
            <a:endParaRPr kumimoji="0" lang="en-US" sz="1755"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Text 2"/>
          <p:cNvSpPr/>
          <p:nvPr/>
        </p:nvSpPr>
        <p:spPr>
          <a:xfrm rot="16200000">
            <a:off x="5842000" y="2549040"/>
            <a:ext cx="1423048" cy="291288"/>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78124"/>
              </a:lnSpc>
              <a:spcBef>
                <a:spcPts val="0"/>
              </a:spcBef>
              <a:spcAft>
                <a:spcPts val="0"/>
              </a:spcAft>
              <a:buClrTx/>
              <a:buSzTx/>
              <a:buFontTx/>
              <a:buNone/>
              <a:tabLst/>
              <a:defRPr/>
            </a:pPr>
            <a:r>
              <a:rPr kumimoji="0" lang="en-US" sz="1648" b="0" i="0" u="none" strike="noStrike" kern="1200" cap="none" spc="0" normalizeH="0" baseline="0" noProof="0">
                <a:ln>
                  <a:noFill/>
                </a:ln>
                <a:solidFill>
                  <a:srgbClr val="1F1F1E"/>
                </a:solidFill>
                <a:effectLst/>
                <a:uLnTx/>
                <a:uFillTx/>
                <a:latin typeface="Segoe UI Semibold" pitchFamily="34" charset="0"/>
                <a:ea typeface="Segoe UI Semibold" pitchFamily="34" charset="-122"/>
                <a:cs typeface="Segoe UI Semibold" pitchFamily="34" charset="-120"/>
              </a:rPr>
              <a:t>Skills</a:t>
            </a:r>
            <a:endParaRPr kumimoji="0" lang="en-US" sz="1648"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Text 3"/>
          <p:cNvSpPr/>
          <p:nvPr/>
        </p:nvSpPr>
        <p:spPr>
          <a:xfrm>
            <a:off x="7340600" y="4554594"/>
            <a:ext cx="2421565" cy="279400"/>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78124"/>
              </a:lnSpc>
              <a:spcBef>
                <a:spcPts val="0"/>
              </a:spcBef>
              <a:spcAft>
                <a:spcPts val="0"/>
              </a:spcAft>
              <a:buClrTx/>
              <a:buSzTx/>
              <a:buFontTx/>
              <a:buNone/>
              <a:tabLst/>
              <a:defRPr/>
            </a:pPr>
            <a:r>
              <a:rPr kumimoji="0" lang="en-US" sz="1648" b="0" i="0" u="none" strike="noStrike" kern="1200" cap="none" spc="0" normalizeH="0" baseline="0" noProof="0">
                <a:ln>
                  <a:noFill/>
                </a:ln>
                <a:solidFill>
                  <a:srgbClr val="1F1F1E"/>
                </a:solidFill>
                <a:effectLst/>
                <a:uLnTx/>
                <a:uFillTx/>
                <a:latin typeface="Segoe UI Semibold" pitchFamily="34" charset="0"/>
                <a:ea typeface="Segoe UI Semibold" pitchFamily="34" charset="-122"/>
                <a:cs typeface="Segoe UI Semibold" pitchFamily="34" charset="-120"/>
              </a:rPr>
              <a:t>Knowledge</a:t>
            </a:r>
            <a:endParaRPr kumimoji="0" lang="en-US" sz="1648"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Text 4"/>
          <p:cNvSpPr/>
          <p:nvPr/>
        </p:nvSpPr>
        <p:spPr>
          <a:xfrm>
            <a:off x="7322944" y="2825619"/>
            <a:ext cx="1462558" cy="869950"/>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755" b="0" i="0" u="none" strike="noStrike" kern="1200" cap="none" spc="0" normalizeH="0" baseline="0" noProof="0">
                <a:ln>
                  <a:noFill/>
                </a:ln>
                <a:solidFill>
                  <a:srgbClr val="FFFFFF"/>
                </a:solidFill>
                <a:effectLst/>
                <a:uLnTx/>
                <a:uFillTx/>
                <a:latin typeface="Segoe UI Semibold" pitchFamily="34" charset="0"/>
                <a:ea typeface="Segoe UI Semibold" pitchFamily="34" charset="-122"/>
                <a:cs typeface="Segoe UI Semibold" pitchFamily="34" charset="-120"/>
              </a:rPr>
              <a:t>Copilot for Microsoft 365</a:t>
            </a:r>
            <a:endParaRPr kumimoji="0" lang="en-US" sz="1755"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 name="Text 5"/>
          <p:cNvSpPr/>
          <p:nvPr/>
        </p:nvSpPr>
        <p:spPr>
          <a:xfrm>
            <a:off x="5625170" y="1978202"/>
            <a:ext cx="604366" cy="299451"/>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81749"/>
              </a:lnSpc>
              <a:spcBef>
                <a:spcPts val="0"/>
              </a:spcBef>
              <a:spcAft>
                <a:spcPts val="0"/>
              </a:spcAft>
              <a:buClrTx/>
              <a:buSzTx/>
              <a:buFontTx/>
              <a:buNone/>
              <a:tabLst/>
              <a:defRPr/>
            </a:pPr>
            <a:r>
              <a:rPr kumimoji="0" lang="en-US" sz="1000" b="0" i="0" u="none" strike="noStrike" kern="1200" cap="none" spc="0" normalizeH="0" baseline="0" noProof="0">
                <a:ln>
                  <a:noFill/>
                </a:ln>
                <a:solidFill>
                  <a:srgbClr val="575751"/>
                </a:solidFill>
                <a:effectLst/>
                <a:uLnTx/>
                <a:uFillTx/>
                <a:latin typeface="Segoe UI"/>
                <a:ea typeface="Segoe UI Variable Display Semibold" pitchFamily="34" charset="-122"/>
                <a:cs typeface="Segoe UI Variable Display Semibold" pitchFamily="34" charset="-120"/>
              </a:rPr>
              <a:t>Business Apps</a:t>
            </a:r>
            <a:endParaRPr kumimoji="0" lang="en-US" sz="1000" b="0" i="0" u="none" strike="noStrike" kern="1200" cap="none" spc="0" normalizeH="0" baseline="0" noProof="0">
              <a:ln>
                <a:noFill/>
              </a:ln>
              <a:solidFill>
                <a:prstClr val="black"/>
              </a:solidFill>
              <a:effectLst/>
              <a:uLnTx/>
              <a:uFillTx/>
              <a:latin typeface="Segoe UI"/>
              <a:ea typeface="+mn-ea"/>
              <a:cs typeface="Segoe UI"/>
            </a:endParaRPr>
          </a:p>
        </p:txBody>
      </p:sp>
      <p:sp>
        <p:nvSpPr>
          <p:cNvPr id="10" name="Text 6"/>
          <p:cNvSpPr/>
          <p:nvPr/>
        </p:nvSpPr>
        <p:spPr>
          <a:xfrm>
            <a:off x="5631986" y="3089919"/>
            <a:ext cx="606669" cy="314093"/>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75751"/>
                </a:solidFill>
                <a:effectLst/>
                <a:uLnTx/>
                <a:uFillTx/>
                <a:latin typeface="Segoe UI"/>
                <a:ea typeface="Segoe UI Semibold" pitchFamily="34" charset="-122"/>
                <a:cs typeface="Segoe UI Semibold"/>
              </a:rPr>
              <a:t>Microsoft 365 apps</a:t>
            </a:r>
            <a:endParaRPr kumimoji="0" lang="en-US" sz="1000" b="0" i="0" u="none" strike="noStrike" kern="1200" cap="none" spc="0" normalizeH="0" baseline="0" noProof="0">
              <a:ln>
                <a:noFill/>
              </a:ln>
              <a:solidFill>
                <a:prstClr val="black"/>
              </a:solidFill>
              <a:effectLst/>
              <a:uLnTx/>
              <a:uFillTx/>
              <a:latin typeface="Segoe UI"/>
              <a:ea typeface="+mn-ea"/>
              <a:cs typeface="Segoe UI Semibold"/>
            </a:endParaRPr>
          </a:p>
        </p:txBody>
      </p:sp>
      <p:sp>
        <p:nvSpPr>
          <p:cNvPr id="12" name="Text 8"/>
          <p:cNvSpPr/>
          <p:nvPr/>
        </p:nvSpPr>
        <p:spPr>
          <a:xfrm>
            <a:off x="9353550" y="5185093"/>
            <a:ext cx="725652" cy="372992"/>
          </a:xfrm>
          <a:prstGeom prst="rect">
            <a:avLst/>
          </a:prstGeom>
          <a:noFill/>
          <a:ln/>
        </p:spPr>
        <p:txBody>
          <a:bodyPr wrap="square" lIns="0" tIns="0" rIns="0" bIns="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75751"/>
                </a:solidFill>
                <a:effectLst/>
                <a:uLnTx/>
                <a:uFillTx/>
                <a:latin typeface="Segoe UI"/>
                <a:ea typeface="Segoe UI Semibold" pitchFamily="34" charset="-122"/>
                <a:cs typeface="Segoe UI"/>
              </a:rPr>
              <a:t>Web
Knowledge</a:t>
            </a:r>
            <a:endParaRPr kumimoji="0" lang="en-US" sz="1000" b="0" i="0" u="none" strike="noStrike" kern="1200" cap="none" spc="0" normalizeH="0" baseline="0" noProof="0">
              <a:ln>
                <a:noFill/>
              </a:ln>
              <a:solidFill>
                <a:prstClr val="black"/>
              </a:solidFill>
              <a:effectLst/>
              <a:uLnTx/>
              <a:uFillTx/>
              <a:latin typeface="Segoe UI"/>
              <a:ea typeface="+mn-ea"/>
              <a:cs typeface="Segoe UI"/>
            </a:endParaRPr>
          </a:p>
        </p:txBody>
      </p:sp>
      <p:sp>
        <p:nvSpPr>
          <p:cNvPr id="13" name="Text 9"/>
          <p:cNvSpPr/>
          <p:nvPr/>
        </p:nvSpPr>
        <p:spPr>
          <a:xfrm>
            <a:off x="8191500" y="5222273"/>
            <a:ext cx="736600" cy="330200"/>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006" b="0" i="0" u="none" strike="noStrike" kern="1200" cap="none" spc="0" normalizeH="0" baseline="0" noProof="0">
                <a:ln>
                  <a:noFill/>
                </a:ln>
                <a:solidFill>
                  <a:srgbClr val="575751"/>
                </a:solidFill>
                <a:effectLst/>
                <a:uLnTx/>
                <a:uFillTx/>
                <a:latin typeface="Segoe UI"/>
                <a:ea typeface="Segoe UI Variable Display Semibold" pitchFamily="34" charset="-122"/>
                <a:cs typeface="Segoe UI"/>
              </a:rPr>
              <a:t>Business Knowledge</a:t>
            </a:r>
            <a:endParaRPr kumimoji="0" lang="en-US" sz="1006" b="0" i="0" u="none" strike="noStrike" kern="1200" cap="none" spc="0" normalizeH="0" baseline="0" noProof="0">
              <a:ln>
                <a:noFill/>
              </a:ln>
              <a:solidFill>
                <a:prstClr val="black"/>
              </a:solidFill>
              <a:effectLst/>
              <a:uLnTx/>
              <a:uFillTx/>
              <a:latin typeface="Segoe UI"/>
              <a:ea typeface="+mn-ea"/>
              <a:cs typeface="Segoe UI"/>
            </a:endParaRPr>
          </a:p>
        </p:txBody>
      </p:sp>
      <p:sp>
        <p:nvSpPr>
          <p:cNvPr id="14" name="Text 10"/>
          <p:cNvSpPr/>
          <p:nvPr/>
        </p:nvSpPr>
        <p:spPr>
          <a:xfrm>
            <a:off x="7054850" y="5223204"/>
            <a:ext cx="737305" cy="338894"/>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006" b="0" i="0" u="none" strike="noStrike" kern="1200" cap="none" spc="0" normalizeH="0" baseline="0" noProof="0">
                <a:ln>
                  <a:noFill/>
                </a:ln>
                <a:solidFill>
                  <a:srgbClr val="575751"/>
                </a:solidFill>
                <a:effectLst/>
                <a:uLnTx/>
                <a:uFillTx/>
                <a:latin typeface="Segoe UI"/>
                <a:ea typeface="Segoe UI Semibold" pitchFamily="34" charset="-122"/>
                <a:cs typeface="Segoe UI"/>
              </a:rPr>
              <a:t>Microsoft 365 data</a:t>
            </a:r>
            <a:endParaRPr kumimoji="0" lang="en-US" sz="1006" b="0" i="0" u="none" strike="noStrike" kern="1200" cap="none" spc="0" normalizeH="0" baseline="0" noProof="0">
              <a:ln>
                <a:noFill/>
              </a:ln>
              <a:solidFill>
                <a:prstClr val="black"/>
              </a:solidFill>
              <a:effectLst/>
              <a:uLnTx/>
              <a:uFillTx/>
              <a:latin typeface="Segoe UI"/>
              <a:ea typeface="+mn-ea"/>
              <a:cs typeface="Segoe UI"/>
            </a:endParaRPr>
          </a:p>
        </p:txBody>
      </p:sp>
      <p:sp>
        <p:nvSpPr>
          <p:cNvPr id="18" name="Text 6">
            <a:extLst>
              <a:ext uri="{FF2B5EF4-FFF2-40B4-BE49-F238E27FC236}">
                <a16:creationId xmlns:a16="http://schemas.microsoft.com/office/drawing/2014/main" id="{F0963198-FE71-AABC-9142-4BCEE2D415A0}"/>
              </a:ext>
            </a:extLst>
          </p:cNvPr>
          <p:cNvSpPr/>
          <p:nvPr/>
        </p:nvSpPr>
        <p:spPr>
          <a:xfrm>
            <a:off x="5829108" y="2553773"/>
            <a:ext cx="205786" cy="244197"/>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81249"/>
              </a:lnSpc>
              <a:spcBef>
                <a:spcPts val="0"/>
              </a:spcBef>
              <a:spcAft>
                <a:spcPts val="700"/>
              </a:spcAft>
              <a:buClrTx/>
              <a:buSzTx/>
              <a:buFontTx/>
              <a:buNone/>
              <a:tabLst/>
              <a:defRPr/>
            </a:pPr>
            <a:r>
              <a:rPr kumimoji="0" lang="en-US" sz="1900" b="0" i="0" u="none" strike="noStrike" kern="0" cap="none" spc="285" normalizeH="0" baseline="0" noProof="0">
                <a:ln>
                  <a:noFill/>
                </a:ln>
                <a:solidFill>
                  <a:srgbClr val="A6A6A6"/>
                </a:solidFill>
                <a:effectLst/>
                <a:uLnTx/>
                <a:uFillTx/>
                <a:latin typeface="Segoe UI Variable Bold Small" pitchFamily="34" charset="0"/>
                <a:ea typeface="Segoe UI Variable Bold Small" pitchFamily="34" charset="-122"/>
                <a:cs typeface="Segoe UI Variable Bold Small" pitchFamily="34" charset="-120"/>
              </a:rPr>
              <a:t>+</a:t>
            </a:r>
            <a:endParaRPr kumimoji="0" lang="en-US" sz="19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 name="Text 10">
            <a:extLst>
              <a:ext uri="{FF2B5EF4-FFF2-40B4-BE49-F238E27FC236}">
                <a16:creationId xmlns:a16="http://schemas.microsoft.com/office/drawing/2014/main" id="{118F33EA-F6DA-8E88-8D0D-06080C2E273B}"/>
              </a:ext>
            </a:extLst>
          </p:cNvPr>
          <p:cNvSpPr/>
          <p:nvPr/>
        </p:nvSpPr>
        <p:spPr>
          <a:xfrm>
            <a:off x="7897676" y="5284673"/>
            <a:ext cx="205786" cy="244197"/>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81249"/>
              </a:lnSpc>
              <a:spcBef>
                <a:spcPts val="0"/>
              </a:spcBef>
              <a:spcAft>
                <a:spcPts val="700"/>
              </a:spcAft>
              <a:buClrTx/>
              <a:buSzTx/>
              <a:buFontTx/>
              <a:buNone/>
              <a:tabLst/>
              <a:defRPr/>
            </a:pPr>
            <a:r>
              <a:rPr kumimoji="0" lang="en-US" sz="1900" b="0" i="0" u="none" strike="noStrike" kern="0" cap="none" spc="285" normalizeH="0" baseline="0" noProof="0">
                <a:ln>
                  <a:noFill/>
                </a:ln>
                <a:solidFill>
                  <a:srgbClr val="A6A6A6"/>
                </a:solidFill>
                <a:effectLst/>
                <a:uLnTx/>
                <a:uFillTx/>
                <a:latin typeface="Segoe UI Variable Bold Small" pitchFamily="34" charset="0"/>
                <a:ea typeface="Segoe UI Variable Bold Small" pitchFamily="34" charset="-122"/>
                <a:cs typeface="Segoe UI Variable Bold Small" pitchFamily="34" charset="-120"/>
              </a:rPr>
              <a:t>+</a:t>
            </a:r>
            <a:endParaRPr kumimoji="0" lang="en-US" sz="19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2" name="Text 11">
            <a:extLst>
              <a:ext uri="{FF2B5EF4-FFF2-40B4-BE49-F238E27FC236}">
                <a16:creationId xmlns:a16="http://schemas.microsoft.com/office/drawing/2014/main" id="{45B9267C-9EA5-D2F3-5290-0199162432C3}"/>
              </a:ext>
            </a:extLst>
          </p:cNvPr>
          <p:cNvSpPr/>
          <p:nvPr/>
        </p:nvSpPr>
        <p:spPr>
          <a:xfrm>
            <a:off x="9055018" y="5284673"/>
            <a:ext cx="205786" cy="244197"/>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81249"/>
              </a:lnSpc>
              <a:spcBef>
                <a:spcPts val="0"/>
              </a:spcBef>
              <a:spcAft>
                <a:spcPts val="700"/>
              </a:spcAft>
              <a:buClrTx/>
              <a:buSzTx/>
              <a:buFontTx/>
              <a:buNone/>
              <a:tabLst/>
              <a:defRPr/>
            </a:pPr>
            <a:r>
              <a:rPr kumimoji="0" lang="en-US" sz="1900" b="0" i="0" u="none" strike="noStrike" kern="0" cap="none" spc="285" normalizeH="0" baseline="0" noProof="0">
                <a:ln>
                  <a:noFill/>
                </a:ln>
                <a:solidFill>
                  <a:srgbClr val="A6A6A6"/>
                </a:solidFill>
                <a:effectLst/>
                <a:uLnTx/>
                <a:uFillTx/>
                <a:latin typeface="Segoe UI Variable Bold Small" pitchFamily="34" charset="0"/>
                <a:ea typeface="Segoe UI Variable Bold Small" pitchFamily="34" charset="-122"/>
                <a:cs typeface="Segoe UI Variable Bold Small" pitchFamily="34" charset="-120"/>
              </a:rPr>
              <a:t>+</a:t>
            </a:r>
            <a:endParaRPr kumimoji="0" lang="en-US" sz="19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Graphic 127" descr="Icon of a bulb">
            <a:extLst>
              <a:ext uri="{FF2B5EF4-FFF2-40B4-BE49-F238E27FC236}">
                <a16:creationId xmlns:a16="http://schemas.microsoft.com/office/drawing/2014/main" id="{15858523-CBBC-C92F-904C-82E841B92C6A}"/>
              </a:ext>
            </a:extLst>
          </p:cNvPr>
          <p:cNvSpPr>
            <a:spLocks/>
          </p:cNvSpPr>
          <p:nvPr/>
        </p:nvSpPr>
        <p:spPr>
          <a:xfrm>
            <a:off x="948245" y="1520657"/>
            <a:ext cx="657175" cy="915090"/>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32042 w 138112"/>
              <a:gd name="connsiteY14" fmla="*/ 147618 h 190490"/>
              <a:gd name="connsiteX15" fmla="*/ 27032 w 138112"/>
              <a:gd name="connsiteY15" fmla="*/ 125873 h 190490"/>
              <a:gd name="connsiteX16" fmla="*/ 26356 w 138112"/>
              <a:gd name="connsiteY16" fmla="*/ 124692 h 190490"/>
              <a:gd name="connsiteX17" fmla="*/ 0 w 138112"/>
              <a:gd name="connsiteY17" fmla="*/ 69047 h 190490"/>
              <a:gd name="connsiteX18" fmla="*/ 69056 w 138112"/>
              <a:gd name="connsiteY18" fmla="*/ 0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32042" y="147618"/>
                </a:lnTo>
                <a:lnTo>
                  <a:pt x="27032" y="125873"/>
                </a:lnTo>
                <a:cubicBezTo>
                  <a:pt x="26926" y="125421"/>
                  <a:pt x="26691" y="125011"/>
                  <a:pt x="26356" y="124692"/>
                </a:cubicBezTo>
                <a:cubicBezTo>
                  <a:pt x="8925" y="108042"/>
                  <a:pt x="0" y="89402"/>
                  <a:pt x="0" y="69047"/>
                </a:cubicBezTo>
                <a:cubicBezTo>
                  <a:pt x="5" y="30912"/>
                  <a:pt x="30921" y="0"/>
                  <a:pt x="69056"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3691539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par>
                                <p:cTn id="8" presetID="42" presetClass="path" presetSubtype="0" decel="100000" fill="hold" grpId="1" nodeType="withEffect">
                                  <p:stCondLst>
                                    <p:cond delay="0"/>
                                  </p:stCondLst>
                                  <p:childTnLst>
                                    <p:animMotion origin="layout" path="M 2.5E-6 -0.03473 L 2.5E-6 4.07407E-6 " pathEditMode="relative" rAng="0" ptsTypes="AA">
                                      <p:cBhvr>
                                        <p:cTn id="9" dur="500" fill="hold"/>
                                        <p:tgtEl>
                                          <p:spTgt spid="11"/>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Hub Template">
  <a:themeElements>
    <a:clrScheme name="Customer Hub">
      <a:dk1>
        <a:srgbClr val="091F2C"/>
      </a:dk1>
      <a:lt1>
        <a:sysClr val="window" lastClr="FFFFFF"/>
      </a:lt1>
      <a:dk2>
        <a:srgbClr val="091F2C"/>
      </a:dk2>
      <a:lt2>
        <a:srgbClr val="EFF8FF"/>
      </a:lt2>
      <a:accent1>
        <a:srgbClr val="8DC8E8"/>
      </a:accent1>
      <a:accent2>
        <a:srgbClr val="0078D4"/>
      </a:accent2>
      <a:accent3>
        <a:srgbClr val="D59ED7"/>
      </a:accent3>
      <a:accent4>
        <a:srgbClr val="C03BC4"/>
      </a:accent4>
      <a:accent5>
        <a:srgbClr val="FFA38B"/>
      </a:accent5>
      <a:accent6>
        <a:srgbClr val="702573"/>
      </a:accent6>
      <a:hlink>
        <a:srgbClr val="006ECC"/>
      </a:hlink>
      <a:folHlink>
        <a:srgbClr val="3399F0"/>
      </a:folHlink>
    </a:clrScheme>
    <a:fontScheme name="Customer Hub">
      <a:majorFont>
        <a:latin typeface="Segoe Sans Display"/>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2.xml><?xml version="1.0" encoding="utf-8"?>
<a:theme xmlns:a="http://schemas.openxmlformats.org/drawingml/2006/main" name="Copilot Studio Template">
  <a:themeElements>
    <a:clrScheme name="Copilot Studio">
      <a:dk1>
        <a:srgbClr val="000000"/>
      </a:dk1>
      <a:lt1>
        <a:srgbClr val="FFFFFF"/>
      </a:lt1>
      <a:dk2>
        <a:srgbClr val="14938C"/>
      </a:dk2>
      <a:lt2>
        <a:srgbClr val="0090A8"/>
      </a:lt2>
      <a:accent1>
        <a:srgbClr val="374649"/>
      </a:accent1>
      <a:accent2>
        <a:srgbClr val="50E6FF"/>
      </a:accent2>
      <a:accent3>
        <a:srgbClr val="742774"/>
      </a:accent3>
      <a:accent4>
        <a:srgbClr val="2A446F"/>
      </a:accent4>
      <a:accent5>
        <a:srgbClr val="222043"/>
      </a:accent5>
      <a:accent6>
        <a:srgbClr val="0078D4"/>
      </a:accent6>
      <a:hlink>
        <a:srgbClr val="0078D4"/>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A38B"/>
    </a:custClr>
    <a:custClr name="Light Red">
      <a:srgbClr val="FF5C39"/>
    </a:custClr>
    <a:custClr name="Red">
      <a:srgbClr val="F4364C"/>
    </a:custClr>
    <a:custClr name="Dark Red">
      <a:srgbClr val="73262F"/>
    </a:custClr>
    <a:custClr name="Light Purple">
      <a:srgbClr val="C5B4E3"/>
    </a:custClr>
    <a:custClr name="Light Violet">
      <a:srgbClr val="D59ED7"/>
    </a:custClr>
    <a:custClr name="Red Violet">
      <a:srgbClr val="C03BC4"/>
    </a:custClr>
    <a:custClr name="Dark Violet">
      <a:srgbClr val="702573"/>
    </a:custClr>
    <a:custClr name="Light Teal">
      <a:srgbClr val="B9DCD2"/>
    </a:custClr>
    <a:custClr name="Light Blue">
      <a:srgbClr val="8DC8E8"/>
    </a:custClr>
    <a:custClr name="Brilliant Blue">
      <a:srgbClr val="0078D4"/>
    </a:custClr>
    <a:custClr name="Dark Blue">
      <a:srgbClr val="2A446F"/>
    </a:custClr>
    <a:custClr name="Light Green">
      <a:srgbClr val="D4EC8E"/>
    </a:custClr>
    <a:custClr name="Green">
      <a:srgbClr val="8DE971"/>
    </a:custClr>
    <a:custClr name="Biscay Green">
      <a:srgbClr val="49C5B1"/>
    </a:custClr>
    <a:custClr name="Dark Teal">
      <a:srgbClr val="225B62"/>
    </a:custClr>
    <a:custClr name="Pure White">
      <a:srgbClr val="FFFFFF"/>
    </a:custClr>
    <a:custClr name="Off White">
      <a:srgbClr val="F4F3F5"/>
    </a:custClr>
    <a:custClr name="Extra Light Gray">
      <a:srgbClr val="F2F2F2"/>
    </a:custClr>
    <a:custClr name="Pure Black">
      <a:srgbClr val="000000"/>
    </a:custClr>
  </a:custClrLst>
  <a:extLst>
    <a:ext uri="{05A4C25C-085E-4340-85A3-A5531E510DB2}">
      <thm15:themeFamily xmlns:thm15="http://schemas.microsoft.com/office/thememl/2012/main" name="Presentation1" id="{652C1184-2488-449E-A844-5E413F9B44B9}" vid="{6D0986AC-F46A-4ED2-8B22-83492290F949}"/>
    </a:ext>
  </a:extLst>
</a:theme>
</file>

<file path=ppt/theme/theme3.xml><?xml version="1.0" encoding="utf-8"?>
<a:theme xmlns:a="http://schemas.openxmlformats.org/drawingml/2006/main" name="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365-Copilot-Powerpoint-Template" id="{45D8A70D-BF6C-4093-9EF8-5CF445DB7997}" vid="{24F93973-1432-4153-82CC-4E851EBE8185}"/>
    </a:ext>
  </a:extLst>
</a:theme>
</file>

<file path=ppt/theme/theme4.xml><?xml version="1.0" encoding="utf-8"?>
<a:theme xmlns:a="http://schemas.openxmlformats.org/drawingml/2006/main" name="2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5.xml><?xml version="1.0" encoding="utf-8"?>
<a:theme xmlns:a="http://schemas.openxmlformats.org/drawingml/2006/main" name="4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0" id="{6B613F45-8EC8-42F9-932C-3D812BC0A41E}" vid="{731B3710-7283-4EED-B3B1-B5DA5FEB4743}"/>
    </a:ext>
  </a:extLst>
</a:theme>
</file>

<file path=ppt/theme/theme6.xml><?xml version="1.0" encoding="utf-8"?>
<a:theme xmlns:a="http://schemas.openxmlformats.org/drawingml/2006/main" name="1_Customer Hub Template">
  <a:themeElements>
    <a:clrScheme name="Customer Hub">
      <a:dk1>
        <a:srgbClr val="091F2C"/>
      </a:dk1>
      <a:lt1>
        <a:sysClr val="window" lastClr="FFFFFF"/>
      </a:lt1>
      <a:dk2>
        <a:srgbClr val="091F2C"/>
      </a:dk2>
      <a:lt2>
        <a:srgbClr val="EFF8FF"/>
      </a:lt2>
      <a:accent1>
        <a:srgbClr val="8DC8E8"/>
      </a:accent1>
      <a:accent2>
        <a:srgbClr val="0078D4"/>
      </a:accent2>
      <a:accent3>
        <a:srgbClr val="D59ED7"/>
      </a:accent3>
      <a:accent4>
        <a:srgbClr val="C03BC4"/>
      </a:accent4>
      <a:accent5>
        <a:srgbClr val="FFA38B"/>
      </a:accent5>
      <a:accent6>
        <a:srgbClr val="702573"/>
      </a:accent6>
      <a:hlink>
        <a:srgbClr val="006ECC"/>
      </a:hlink>
      <a:folHlink>
        <a:srgbClr val="3399F0"/>
      </a:folHlink>
    </a:clrScheme>
    <a:fontScheme name="Customer Hub">
      <a:majorFont>
        <a:latin typeface="Segoe Sans Display"/>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6adfd4c8-54de-4fa2-b73e-b8636989580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D2BB8FCA7FEB347BAC36A8D039FB81C" ma:contentTypeVersion="14" ma:contentTypeDescription="Create a new document." ma:contentTypeScope="" ma:versionID="f2a0b8957ab5fa9de4fbd953ee5e964c">
  <xsd:schema xmlns:xsd="http://www.w3.org/2001/XMLSchema" xmlns:xs="http://www.w3.org/2001/XMLSchema" xmlns:p="http://schemas.microsoft.com/office/2006/metadata/properties" xmlns:ns1="http://schemas.microsoft.com/sharepoint/v3" xmlns:ns2="6adfd4c8-54de-4fa2-b73e-b86369895801" targetNamespace="http://schemas.microsoft.com/office/2006/metadata/properties" ma:root="true" ma:fieldsID="6ffd9ea1e3518e6e0782accd3cd1fd75" ns1:_="" ns2:_="">
    <xsd:import namespace="http://schemas.microsoft.com/sharepoint/v3"/>
    <xsd:import namespace="6adfd4c8-54de-4fa2-b73e-b8636989580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MediaServiceOCR"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dfd4c8-54de-4fa2-b73e-b863698958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BillingMetadata" ma:index="21" nillable="true" ma:displayName="MediaServiceBillingMetadata" ma:hidden="true" ma:internalName="MediaServiceBillingMetadata"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086BFB6-8A47-46DA-8DD3-7B06530064CC}">
  <ds:schemaRefs>
    <ds:schemaRef ds:uri="http://schemas.microsoft.com/sharepoint/v3/contenttype/forms"/>
  </ds:schemaRefs>
</ds:datastoreItem>
</file>

<file path=customXml/itemProps2.xml><?xml version="1.0" encoding="utf-8"?>
<ds:datastoreItem xmlns:ds="http://schemas.openxmlformats.org/officeDocument/2006/customXml" ds:itemID="{996B4EDF-C8A5-4FA8-A4BD-72E6761AF4A4}">
  <ds:schemaRefs>
    <ds:schemaRef ds:uri="http://schemas.microsoft.com/office/2006/metadata/properties"/>
    <ds:schemaRef ds:uri="http://schemas.microsoft.com/office/infopath/2007/PartnerControls"/>
    <ds:schemaRef ds:uri="http://schemas.microsoft.com/sharepoint/v3"/>
    <ds:schemaRef ds:uri="6adfd4c8-54de-4fa2-b73e-b86369895801"/>
  </ds:schemaRefs>
</ds:datastoreItem>
</file>

<file path=customXml/itemProps3.xml><?xml version="1.0" encoding="utf-8"?>
<ds:datastoreItem xmlns:ds="http://schemas.openxmlformats.org/officeDocument/2006/customXml" ds:itemID="{52B5C186-E5DB-4017-87C7-C3D32903FF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adfd4c8-54de-4fa2-b73e-b863698958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3008</Words>
  <Application>Microsoft Office PowerPoint</Application>
  <PresentationFormat>Widescreen</PresentationFormat>
  <Paragraphs>502</Paragraphs>
  <Slides>44</Slides>
  <Notes>34</Notes>
  <HiddenSlides>0</HiddenSlides>
  <MMClips>1</MMClips>
  <ScaleCrop>false</ScaleCrop>
  <HeadingPairs>
    <vt:vector size="4" baseType="variant">
      <vt:variant>
        <vt:lpstr>Theme</vt:lpstr>
      </vt:variant>
      <vt:variant>
        <vt:i4>6</vt:i4>
      </vt:variant>
      <vt:variant>
        <vt:lpstr>Slide Titles</vt:lpstr>
      </vt:variant>
      <vt:variant>
        <vt:i4>44</vt:i4>
      </vt:variant>
    </vt:vector>
  </HeadingPairs>
  <TitlesOfParts>
    <vt:vector size="50" baseType="lpstr">
      <vt:lpstr>Customer Hub Template</vt:lpstr>
      <vt:lpstr>Copilot Studio Template</vt:lpstr>
      <vt:lpstr>Microsoft 365 Copilot Template</vt:lpstr>
      <vt:lpstr>2_Microsoft 365 Copilot Template</vt:lpstr>
      <vt:lpstr>4_Microsoft 365 Copilot Template</vt:lpstr>
      <vt:lpstr>1_Customer Hub Template</vt:lpstr>
      <vt:lpstr>Agents in an hour</vt:lpstr>
      <vt:lpstr>PowerPoint Presentation</vt:lpstr>
      <vt:lpstr>PowerPoint Presentation</vt:lpstr>
      <vt:lpstr>Agenda</vt:lpstr>
      <vt:lpstr>Introduction to Microsoft 365 Copilot </vt:lpstr>
      <vt:lpstr>PowerPoint Presentation</vt:lpstr>
      <vt:lpstr>PowerPoint Presentation</vt:lpstr>
      <vt:lpstr>Introduction to Copilot Agents</vt:lpstr>
      <vt:lpstr>PowerPoint Presentation</vt:lpstr>
      <vt:lpstr>What are Copilot agents</vt:lpstr>
      <vt:lpstr>PowerPoint Presentation</vt:lpstr>
      <vt:lpstr>The bones of an agent</vt:lpstr>
      <vt:lpstr>PowerPoint Presentation</vt:lpstr>
      <vt:lpstr>Choose your path</vt:lpstr>
      <vt:lpstr>Prebuilt agents available to you on Microsoft 365 Copilot</vt:lpstr>
      <vt:lpstr>Researcher</vt:lpstr>
      <vt:lpstr>Analyst</vt:lpstr>
      <vt:lpstr>Word, Excel, and PowerPoint Agents</vt:lpstr>
      <vt:lpstr>Title </vt:lpstr>
      <vt:lpstr>Discover agents that are relevant for you</vt:lpstr>
      <vt:lpstr>Agent Store</vt:lpstr>
      <vt:lpstr>Introduction to Agent Templates in Copilot Studio agent builder </vt:lpstr>
      <vt:lpstr>Start creating agents using Agent Templates </vt:lpstr>
      <vt:lpstr>Creating agents using Agent Templates </vt:lpstr>
      <vt:lpstr>Configuration Settings/Options in Agent Builder</vt:lpstr>
      <vt:lpstr>PowerPoint Presentation</vt:lpstr>
      <vt:lpstr>Writing Great Agent Instructions</vt:lpstr>
      <vt:lpstr>Agent Template demo </vt:lpstr>
      <vt:lpstr>Introduction to Agent Examples</vt:lpstr>
      <vt:lpstr>Start creating agents using Agent Examples </vt:lpstr>
      <vt:lpstr>Agent Examples</vt:lpstr>
      <vt:lpstr>Creating agents using Agent Examples </vt:lpstr>
      <vt:lpstr>Agent Examples demo:- Story Telling Agent </vt:lpstr>
      <vt:lpstr>Using agents together to enhance your workflow !</vt:lpstr>
      <vt:lpstr>Microsoft 365 Agent Sharing</vt:lpstr>
      <vt:lpstr>PowerPoint Presentation</vt:lpstr>
      <vt:lpstr>PowerPoint Presentation</vt:lpstr>
      <vt:lpstr>PowerPoint Presentation</vt:lpstr>
      <vt:lpstr>Microsoft investments to accelerate your time to value</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2</cp:revision>
  <dcterms:created xsi:type="dcterms:W3CDTF">2026-02-06T18:36:14Z</dcterms:created>
  <dcterms:modified xsi:type="dcterms:W3CDTF">2026-02-10T16:07:2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1dbacbd0e564fc293d11b6c4775302e">
    <vt:lpwstr/>
  </property>
  <property fmtid="{D5CDD505-2E9C-101B-9397-08002B2CF9AE}" pid="3" name="MSIP_Label_f42aa342-8706-4288-bd11-ebb85995028c_Enabled">
    <vt:lpwstr>True</vt:lpwstr>
  </property>
  <property fmtid="{D5CDD505-2E9C-101B-9397-08002B2CF9AE}" pid="4" name="MediaServiceImageTags">
    <vt:lpwstr/>
  </property>
  <property fmtid="{D5CDD505-2E9C-101B-9397-08002B2CF9AE}" pid="5" name="j7ed6b1749d644c580569ee38d7710d7">
    <vt:lpwstr/>
  </property>
  <property fmtid="{D5CDD505-2E9C-101B-9397-08002B2CF9AE}" pid="6" name="ContentTypeId">
    <vt:lpwstr>0x0101000D2BB8FCA7FEB347BAC36A8D039FB81C</vt:lpwstr>
  </property>
  <property fmtid="{D5CDD505-2E9C-101B-9397-08002B2CF9AE}" pid="7" name="Audience">
    <vt:lpwstr/>
  </property>
  <property fmtid="{D5CDD505-2E9C-101B-9397-08002B2CF9AE}" pid="8" name="MSIP_Label_f42aa342-8706-4288-bd11-ebb85995028c_SetDate">
    <vt:lpwstr>2017-08-29T14:27:20.8568347-07:00</vt:lpwstr>
  </property>
  <property fmtid="{D5CDD505-2E9C-101B-9397-08002B2CF9AE}" pid="9" name="MSIP_Label_f42aa342-8706-4288-bd11-ebb85995028c_Name">
    <vt:lpwstr>General</vt:lpwstr>
  </property>
  <property fmtid="{D5CDD505-2E9C-101B-9397-08002B2CF9AE}" pid="10" name="MSIP_Label_f42aa342-8706-4288-bd11-ebb85995028c_SiteId">
    <vt:lpwstr>72f988bf-86f1-41af-91ab-2d7cd011db47</vt:lpwstr>
  </property>
  <property fmtid="{D5CDD505-2E9C-101B-9397-08002B2CF9AE}" pid="11" name="Campaign">
    <vt:lpwstr/>
  </property>
  <property fmtid="{D5CDD505-2E9C-101B-9397-08002B2CF9AE}" pid="12" name="MSIP_Label_f42aa342-8706-4288-bd11-ebb85995028c_Extended_MSFT_Method">
    <vt:lpwstr>Automatic</vt:lpwstr>
  </property>
  <property fmtid="{D5CDD505-2E9C-101B-9397-08002B2CF9AE}" pid="13" name="Track">
    <vt:lpwstr/>
  </property>
  <property fmtid="{D5CDD505-2E9C-101B-9397-08002B2CF9AE}" pid="14" name="Event Venue">
    <vt:lpwstr/>
  </property>
  <property fmtid="{D5CDD505-2E9C-101B-9397-08002B2CF9AE}" pid="15" name="o92d4232daec467abb08246282070aa9">
    <vt:lpwstr/>
  </property>
  <property fmtid="{D5CDD505-2E9C-101B-9397-08002B2CF9AE}" pid="16" name="IsMyDocuments">
    <vt:bool>true</vt:bool>
  </property>
  <property fmtid="{D5CDD505-2E9C-101B-9397-08002B2CF9AE}" pid="17" name="Sensitivity">
    <vt:lpwstr>General</vt:lpwstr>
  </property>
  <property fmtid="{D5CDD505-2E9C-101B-9397-08002B2CF9AE}" pid="18" name="bc8cca776fa8455c8c00307ee3c527ad">
    <vt:lpwstr/>
  </property>
  <property fmtid="{D5CDD505-2E9C-101B-9397-08002B2CF9AE}" pid="19" name="MSIP_Label_f42aa342-8706-4288-bd11-ebb85995028c_Ref">
    <vt:lpwstr>https://api.informationprotection.azure.com/api/72f988bf-86f1-41af-91ab-2d7cd011db47</vt:lpwstr>
  </property>
  <property fmtid="{D5CDD505-2E9C-101B-9397-08002B2CF9AE}" pid="20" name="Product">
    <vt:lpwstr/>
  </property>
  <property fmtid="{D5CDD505-2E9C-101B-9397-08002B2CF9AE}" pid="21" name="epPlatforms">
    <vt:lpwstr/>
  </property>
  <property fmtid="{D5CDD505-2E9C-101B-9397-08002B2CF9AE}" pid="22" name="Event Location">
    <vt:lpwstr/>
  </property>
  <property fmtid="{D5CDD505-2E9C-101B-9397-08002B2CF9AE}" pid="23" name="Event1">
    <vt:lpwstr>622;#Unassigned|2c8af875-f38a-40b8-a0a9-056aed3fc8c0</vt:lpwstr>
  </property>
  <property fmtid="{D5CDD505-2E9C-101B-9397-08002B2CF9AE}" pid="24" name="_dlc_DocIdItemGuid">
    <vt:lpwstr>4230617f-e31b-4f22-8a5a-7761a22ded76</vt:lpwstr>
  </property>
  <property fmtid="{D5CDD505-2E9C-101B-9397-08002B2CF9AE}" pid="25" name="e93e2550f0ac4199ae3cf1406d72085e">
    <vt:lpwstr/>
  </property>
</Properties>
</file>